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notesSlides/notesSlide11.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notesSlides/notesSlide12.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notesSlides/notesSlide13.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92" r:id="rId5"/>
    <p:sldMasterId id="2147483712" r:id="rId6"/>
    <p:sldMasterId id="2147483732" r:id="rId7"/>
    <p:sldMasterId id="2147483783" r:id="rId8"/>
    <p:sldMasterId id="2147483809" r:id="rId9"/>
    <p:sldMasterId id="2147483833" r:id="rId10"/>
  </p:sldMasterIdLst>
  <p:notesMasterIdLst>
    <p:notesMasterId r:id="rId40"/>
  </p:notesMasterIdLst>
  <p:sldIdLst>
    <p:sldId id="256" r:id="rId11"/>
    <p:sldId id="2145706992" r:id="rId12"/>
    <p:sldId id="2145706993" r:id="rId13"/>
    <p:sldId id="2145706994" r:id="rId14"/>
    <p:sldId id="2145707031" r:id="rId15"/>
    <p:sldId id="2145707021" r:id="rId16"/>
    <p:sldId id="2145706995" r:id="rId17"/>
    <p:sldId id="2145707013" r:id="rId18"/>
    <p:sldId id="2145707035" r:id="rId19"/>
    <p:sldId id="2145706996" r:id="rId20"/>
    <p:sldId id="2145707014" r:id="rId21"/>
    <p:sldId id="2145707015" r:id="rId22"/>
    <p:sldId id="2145707016" r:id="rId23"/>
    <p:sldId id="2145707022" r:id="rId24"/>
    <p:sldId id="2145707023" r:id="rId25"/>
    <p:sldId id="2145707017" r:id="rId26"/>
    <p:sldId id="2145707032" r:id="rId27"/>
    <p:sldId id="2145707002" r:id="rId28"/>
    <p:sldId id="2145707005" r:id="rId29"/>
    <p:sldId id="2145707008" r:id="rId30"/>
    <p:sldId id="2145707009" r:id="rId31"/>
    <p:sldId id="2145706986" r:id="rId32"/>
    <p:sldId id="2145707033" r:id="rId33"/>
    <p:sldId id="2145707036" r:id="rId34"/>
    <p:sldId id="2145707037" r:id="rId35"/>
    <p:sldId id="2145707038" r:id="rId36"/>
    <p:sldId id="2145707039" r:id="rId37"/>
    <p:sldId id="2145707034" r:id="rId38"/>
    <p:sldId id="2145707003" r:id="rId39"/>
  </p:sldIdLst>
  <p:sldSz cx="12192000" cy="6858000"/>
  <p:notesSz cx="6810375" cy="99425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oudewijn Chalmers" initials="BC" lastIdx="10" clrIdx="0">
    <p:extLst>
      <p:ext uri="{19B8F6BF-5375-455C-9EA6-DF929625EA0E}">
        <p15:presenceInfo xmlns:p15="http://schemas.microsoft.com/office/powerpoint/2012/main" userId="S::Boudewijn.Chalmers@nl.ey.com::06e56bc6-43ee-46c1-a6de-78bc967092d8" providerId="AD"/>
      </p:ext>
    </p:extLst>
  </p:cmAuthor>
  <p:cmAuthor id="2" name="Jennifer Allermann" initials="JA" lastIdx="12" clrIdx="1">
    <p:extLst>
      <p:ext uri="{19B8F6BF-5375-455C-9EA6-DF929625EA0E}">
        <p15:presenceInfo xmlns:p15="http://schemas.microsoft.com/office/powerpoint/2012/main" userId="S::jennifer.allermann@nl.ey.com::60ccbaa0-0a58-4b2f-879a-2a7d2e796cae" providerId="AD"/>
      </p:ext>
    </p:extLst>
  </p:cmAuthor>
  <p:cmAuthor id="3" name="Asli Aksekili" initials="AA" lastIdx="19" clrIdx="2">
    <p:extLst>
      <p:ext uri="{19B8F6BF-5375-455C-9EA6-DF929625EA0E}">
        <p15:presenceInfo xmlns:p15="http://schemas.microsoft.com/office/powerpoint/2012/main" userId="S::Asli.Aksekili@nl.ey.com::eada6874-4660-4341-adf6-11cc48d918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B15E"/>
    <a:srgbClr val="0069B4"/>
    <a:srgbClr val="001F5B"/>
    <a:srgbClr val="63A70A"/>
    <a:srgbClr val="00355A"/>
    <a:srgbClr val="2BAEA3"/>
    <a:srgbClr val="3395D3"/>
    <a:srgbClr val="7F7F7F"/>
    <a:srgbClr val="764AA0"/>
    <a:srgbClr val="93BF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948148-2A13-4E05-89E6-45E90AD8080E}" v="1681" dt="2022-03-08T19:53:34.356"/>
    <p1510:client id="{9D478DDE-9505-48D0-8691-4A19DEF61EF1}" v="42109" dt="2022-03-08T19:44:49.868"/>
    <p1510:client id="{E269B5DB-229F-4D77-AB94-4B8FE494321E}" v="12928" vWet="13644" dt="2022-03-08T18:53:24.375"/>
    <p1510:client id="{E98F7C16-240A-4823-8234-834F026535D9}" v="7" dt="2022-03-08T19:55:32.681"/>
    <p1510:client id="{F661F65E-7B86-4D22-AE02-DED41FD63B97}" v="3219" dt="2022-03-08T18:57:51.7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201" autoAdjust="0"/>
  </p:normalViewPr>
  <p:slideViewPr>
    <p:cSldViewPr snapToGrid="0">
      <p:cViewPr varScale="1">
        <p:scale>
          <a:sx n="109" d="100"/>
          <a:sy n="109" d="100"/>
        </p:scale>
        <p:origin x="63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Allermann" userId="60ccbaa0-0a58-4b2f-879a-2a7d2e796cae" providerId="ADAL" clId="{E98F7C16-240A-4823-8234-834F026535D9}"/>
    <pc:docChg chg="modSld">
      <pc:chgData name="Jennifer Allermann" userId="60ccbaa0-0a58-4b2f-879a-2a7d2e796cae" providerId="ADAL" clId="{E98F7C16-240A-4823-8234-834F026535D9}" dt="2022-03-08T19:55:32.681" v="5"/>
      <pc:docMkLst>
        <pc:docMk/>
      </pc:docMkLst>
      <pc:sldChg chg="modSp">
        <pc:chgData name="Jennifer Allermann" userId="60ccbaa0-0a58-4b2f-879a-2a7d2e796cae" providerId="ADAL" clId="{E98F7C16-240A-4823-8234-834F026535D9}" dt="2022-03-08T19:55:32.681" v="5"/>
        <pc:sldMkLst>
          <pc:docMk/>
          <pc:sldMk cId="2896474152" sldId="256"/>
        </pc:sldMkLst>
        <pc:spChg chg="mod">
          <ac:chgData name="Jennifer Allermann" userId="60ccbaa0-0a58-4b2f-879a-2a7d2e796cae" providerId="ADAL" clId="{E98F7C16-240A-4823-8234-834F026535D9}" dt="2022-03-08T19:55:32.681" v="5"/>
          <ac:spMkLst>
            <pc:docMk/>
            <pc:sldMk cId="2896474152" sldId="256"/>
            <ac:spMk id="4" creationId="{0ED719E8-A8F3-43BC-83A1-412A8B111F3F}"/>
          </ac:spMkLst>
        </pc:spChg>
        <pc:spChg chg="mod">
          <ac:chgData name="Jennifer Allermann" userId="60ccbaa0-0a58-4b2f-879a-2a7d2e796cae" providerId="ADAL" clId="{E98F7C16-240A-4823-8234-834F026535D9}" dt="2022-03-08T19:55:32.680" v="3"/>
          <ac:spMkLst>
            <pc:docMk/>
            <pc:sldMk cId="2896474152" sldId="256"/>
            <ac:spMk id="8" creationId="{D8AB7AF0-EEA9-4FF3-8261-1BC1B376059F}"/>
          </ac:spMkLst>
        </pc:spChg>
        <pc:spChg chg="mod">
          <ac:chgData name="Jennifer Allermann" userId="60ccbaa0-0a58-4b2f-879a-2a7d2e796cae" providerId="ADAL" clId="{E98F7C16-240A-4823-8234-834F026535D9}" dt="2022-03-08T19:55:32.681" v="4"/>
          <ac:spMkLst>
            <pc:docMk/>
            <pc:sldMk cId="2896474152" sldId="256"/>
            <ac:spMk id="10" creationId="{2CF10346-BB29-4856-A57E-C8B9409971C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885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7636" y="0"/>
            <a:ext cx="2951163" cy="498852"/>
          </a:xfrm>
          <a:prstGeom prst="rect">
            <a:avLst/>
          </a:prstGeom>
        </p:spPr>
        <p:txBody>
          <a:bodyPr vert="horz" lIns="91440" tIns="45720" rIns="91440" bIns="45720" rtlCol="0"/>
          <a:lstStyle>
            <a:lvl1pPr algn="r">
              <a:defRPr sz="1200"/>
            </a:lvl1pPr>
          </a:lstStyle>
          <a:p>
            <a:fld id="{A6C14CF5-0C20-47CE-B312-E77756D2426F}" type="datetimeFigureOut">
              <a:rPr lang="en-US" smtClean="0"/>
              <a:t>3/8/2022</a:t>
            </a:fld>
            <a:endParaRPr lang="en-US"/>
          </a:p>
        </p:txBody>
      </p:sp>
      <p:sp>
        <p:nvSpPr>
          <p:cNvPr id="4" name="Slide Image Placeholder 3"/>
          <p:cNvSpPr>
            <a:spLocks noGrp="1" noRot="1" noChangeAspect="1"/>
          </p:cNvSpPr>
          <p:nvPr>
            <p:ph type="sldImg" idx="2"/>
          </p:nvPr>
        </p:nvSpPr>
        <p:spPr>
          <a:xfrm>
            <a:off x="422275" y="1243013"/>
            <a:ext cx="5965825" cy="33559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1038" y="4784835"/>
            <a:ext cx="5448300" cy="391486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3662"/>
            <a:ext cx="2951163" cy="49885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7636" y="9443662"/>
            <a:ext cx="2951163" cy="498851"/>
          </a:xfrm>
          <a:prstGeom prst="rect">
            <a:avLst/>
          </a:prstGeom>
        </p:spPr>
        <p:txBody>
          <a:bodyPr vert="horz" lIns="91440" tIns="45720" rIns="91440" bIns="45720" rtlCol="0" anchor="b"/>
          <a:lstStyle>
            <a:lvl1pPr algn="r">
              <a:defRPr sz="1200"/>
            </a:lvl1pPr>
          </a:lstStyle>
          <a:p>
            <a:fld id="{99440C0B-4736-481E-B3D1-FB052E85CCB3}" type="slidenum">
              <a:rPr lang="en-US" smtClean="0"/>
              <a:t>‹#›</a:t>
            </a:fld>
            <a:endParaRPr lang="en-US"/>
          </a:p>
        </p:txBody>
      </p:sp>
    </p:spTree>
    <p:extLst>
      <p:ext uri="{BB962C8B-B14F-4D97-AF65-F5344CB8AC3E}">
        <p14:creationId xmlns:p14="http://schemas.microsoft.com/office/powerpoint/2010/main" val="3084758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440C0B-4736-481E-B3D1-FB052E85CCB3}" type="slidenum">
              <a:rPr lang="en-US" smtClean="0"/>
              <a:t>1</a:t>
            </a:fld>
            <a:endParaRPr lang="en-US"/>
          </a:p>
        </p:txBody>
      </p:sp>
    </p:spTree>
    <p:extLst>
      <p:ext uri="{BB962C8B-B14F-4D97-AF65-F5344CB8AC3E}">
        <p14:creationId xmlns:p14="http://schemas.microsoft.com/office/powerpoint/2010/main" val="41067903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440C0B-4736-481E-B3D1-FB052E85CCB3}" type="slidenum">
              <a:rPr lang="en-US" smtClean="0"/>
              <a:t>18</a:t>
            </a:fld>
            <a:endParaRPr lang="en-US"/>
          </a:p>
        </p:txBody>
      </p:sp>
    </p:spTree>
    <p:extLst>
      <p:ext uri="{BB962C8B-B14F-4D97-AF65-F5344CB8AC3E}">
        <p14:creationId xmlns:p14="http://schemas.microsoft.com/office/powerpoint/2010/main" val="711290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45699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9896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45699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34938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45699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31026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45699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3068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699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Strategy statement</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AAM needs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ignificant investment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o catch up to its competitors’ data capabilities in order to realize its business strategy of making responsible investment decisions every day.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e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hared ambition</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 among AAM business units’ is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get in control and understand what is currently happening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in the firm to move from gut-feel management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driven decision-making</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e first step is to move from the current data silos to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enterprise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incl.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ingle source of truth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o gain control (trust &amp; access to the relevant data)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free up the capacity to dream about applied analytics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in business processes.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is will make AAM an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attractive employer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for knowledge workers scarce in the market.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When the foundational work is done, the data strategy should be evaluated and updated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keep on growing and accelerating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e use of data &amp; analytic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440C0B-4736-481E-B3D1-FB052E85CC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8482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699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Strategy statement</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AAM needs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ignificant investment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o catch up to its competitors’ data capabilities in order to realize its business strategy of making responsible investment decisions every day.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e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hared ambition</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 among AAM business units’ is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get in control and understand what is currently happening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in the firm to move from gut-feel management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driven decision-making</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e first step is to move from the current data silos to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enterprise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incl.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ingle source of truth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o gain control (trust &amp; access to the relevant data)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free up the capacity to dream about applied analytics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in business processes.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is will make AAM an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attractive employer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for knowledge workers scarce in the market. </a:t>
            </a:r>
          </a:p>
          <a:p>
            <a:pPr marL="171450" marR="0" lvl="0" indent="-171450"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When the foundational work is done, the data strategy should be evaluated and updated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keep on growing and accelerating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the use of data &amp; analytic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440C0B-4736-481E-B3D1-FB052E85CC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7477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spcBef>
                <a:spcPct val="0"/>
              </a:spcBef>
              <a:buClr>
                <a:srgbClr val="808080"/>
              </a:buClr>
              <a:buFont typeface="Arial" panose="020B0604020202020204" pitchFamily="34" charset="0"/>
              <a:buNone/>
            </a:pPr>
            <a:endParaRPr lang="en-US" sz="1200" noProof="1"/>
          </a:p>
        </p:txBody>
      </p:sp>
      <p:sp>
        <p:nvSpPr>
          <p:cNvPr id="4" name="Slide Number Placeholder 3"/>
          <p:cNvSpPr>
            <a:spLocks noGrp="1"/>
          </p:cNvSpPr>
          <p:nvPr>
            <p:ph type="sldNum" sz="quarter" idx="5"/>
          </p:nvPr>
        </p:nvSpPr>
        <p:spPr/>
        <p:txBody>
          <a:bodyPr/>
          <a:lstStyle/>
          <a:p>
            <a:pPr marL="0" marR="0" lvl="0" indent="0" algn="r" defTabSz="45699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9473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spcBef>
                <a:spcPct val="0"/>
              </a:spcBef>
              <a:buClr>
                <a:srgbClr val="808080"/>
              </a:buClr>
              <a:buFont typeface="Arial" panose="020B0604020202020204" pitchFamily="34" charset="0"/>
              <a:buNone/>
            </a:pPr>
            <a:endParaRPr lang="en-US" sz="1200" noProof="1"/>
          </a:p>
        </p:txBody>
      </p:sp>
      <p:sp>
        <p:nvSpPr>
          <p:cNvPr id="4" name="Slide Number Placeholder 3"/>
          <p:cNvSpPr>
            <a:spLocks noGrp="1"/>
          </p:cNvSpPr>
          <p:nvPr>
            <p:ph type="sldNum" sz="quarter" idx="5"/>
          </p:nvPr>
        </p:nvSpPr>
        <p:spPr/>
        <p:txBody>
          <a:bodyPr/>
          <a:lstStyle/>
          <a:p>
            <a:pPr marL="0" marR="0" lvl="0" indent="0" algn="r" defTabSz="45699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012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spcBef>
                <a:spcPct val="0"/>
              </a:spcBef>
              <a:buClr>
                <a:srgbClr val="808080"/>
              </a:buClr>
              <a:buFont typeface="Arial" panose="020B0604020202020204" pitchFamily="34" charset="0"/>
              <a:buNone/>
            </a:pPr>
            <a:endParaRPr lang="en-US" sz="1200" noProof="1"/>
          </a:p>
        </p:txBody>
      </p:sp>
      <p:sp>
        <p:nvSpPr>
          <p:cNvPr id="4" name="Slide Number Placeholder 3"/>
          <p:cNvSpPr>
            <a:spLocks noGrp="1"/>
          </p:cNvSpPr>
          <p:nvPr>
            <p:ph type="sldNum" sz="quarter" idx="5"/>
          </p:nvPr>
        </p:nvSpPr>
        <p:spPr/>
        <p:txBody>
          <a:bodyPr/>
          <a:lstStyle/>
          <a:p>
            <a:pPr marL="0" marR="0" lvl="0" indent="0" algn="r" defTabSz="45699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6656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spcBef>
                <a:spcPct val="0"/>
              </a:spcBef>
              <a:buClr>
                <a:srgbClr val="808080"/>
              </a:buClr>
              <a:buFont typeface="Arial" panose="020B0604020202020204" pitchFamily="34" charset="0"/>
              <a:buNone/>
            </a:pPr>
            <a:endParaRPr lang="en-US" sz="1200" noProof="1"/>
          </a:p>
        </p:txBody>
      </p:sp>
      <p:sp>
        <p:nvSpPr>
          <p:cNvPr id="4" name="Slide Number Placeholder 3"/>
          <p:cNvSpPr>
            <a:spLocks noGrp="1"/>
          </p:cNvSpPr>
          <p:nvPr>
            <p:ph type="sldNum" sz="quarter" idx="5"/>
          </p:nvPr>
        </p:nvSpPr>
        <p:spPr/>
        <p:txBody>
          <a:bodyPr/>
          <a:lstStyle/>
          <a:p>
            <a:pPr marL="0" marR="0" lvl="0" indent="0" algn="r" defTabSz="45699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686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440C0B-4736-481E-B3D1-FB052E85CC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7788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spcBef>
                <a:spcPct val="0"/>
              </a:spcBef>
              <a:buClr>
                <a:srgbClr val="808080"/>
              </a:buClr>
              <a:buFont typeface="Arial" panose="020B0604020202020204" pitchFamily="34" charset="0"/>
              <a:buNone/>
            </a:pPr>
            <a:endParaRPr lang="en-US" sz="1200" noProof="1"/>
          </a:p>
        </p:txBody>
      </p:sp>
      <p:sp>
        <p:nvSpPr>
          <p:cNvPr id="4" name="Slide Number Placeholder 3"/>
          <p:cNvSpPr>
            <a:spLocks noGrp="1"/>
          </p:cNvSpPr>
          <p:nvPr>
            <p:ph type="sldNum" sz="quarter" idx="5"/>
          </p:nvPr>
        </p:nvSpPr>
        <p:spPr/>
        <p:txBody>
          <a:bodyPr/>
          <a:lstStyle/>
          <a:p>
            <a:pPr marL="0" marR="0" lvl="0" indent="0" algn="r" defTabSz="45699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72485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oleObject" Target="../embeddings/oleObject4.bin"/><Relationship Id="rId3" Type="http://schemas.openxmlformats.org/officeDocument/2006/relationships/tags" Target="../tags/tag7.xml"/><Relationship Id="rId21" Type="http://schemas.openxmlformats.org/officeDocument/2006/relationships/image" Target="../media/image25.wmf"/><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slideMaster" Target="../slideMasters/slideMaster5.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image" Target="../media/image24.jpe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image" Target="../media/image23.emf"/><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3.emf"/><Relationship Id="rId5" Type="http://schemas.openxmlformats.org/officeDocument/2006/relationships/oleObject" Target="../embeddings/oleObject5.bin"/><Relationship Id="rId4"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4.xml"/><Relationship Id="rId4" Type="http://schemas.openxmlformats.org/officeDocument/2006/relationships/image" Target="../media/image23.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3.emf"/><Relationship Id="rId5" Type="http://schemas.openxmlformats.org/officeDocument/2006/relationships/oleObject" Target="../embeddings/oleObject7.bin"/><Relationship Id="rId4"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tags" Target="../tags/tag53.xml"/><Relationship Id="rId39" Type="http://schemas.openxmlformats.org/officeDocument/2006/relationships/oleObject" Target="../embeddings/oleObject10.bin"/><Relationship Id="rId3" Type="http://schemas.openxmlformats.org/officeDocument/2006/relationships/tags" Target="../tags/tag30.xml"/><Relationship Id="rId21" Type="http://schemas.openxmlformats.org/officeDocument/2006/relationships/tags" Target="../tags/tag48.xml"/><Relationship Id="rId34" Type="http://schemas.openxmlformats.org/officeDocument/2006/relationships/oleObject" Target="../embeddings/oleObject8.bin"/><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tags" Target="../tags/tag52.xml"/><Relationship Id="rId33" Type="http://schemas.openxmlformats.org/officeDocument/2006/relationships/slideMaster" Target="../slideMasters/slideMaster5.xml"/><Relationship Id="rId38" Type="http://schemas.openxmlformats.org/officeDocument/2006/relationships/image" Target="../media/image23.emf"/><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29" Type="http://schemas.openxmlformats.org/officeDocument/2006/relationships/tags" Target="../tags/tag56.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tags" Target="../tags/tag51.xml"/><Relationship Id="rId32" Type="http://schemas.openxmlformats.org/officeDocument/2006/relationships/tags" Target="../tags/tag59.xml"/><Relationship Id="rId37" Type="http://schemas.openxmlformats.org/officeDocument/2006/relationships/oleObject" Target="../embeddings/oleObject9.bin"/><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tags" Target="../tags/tag55.xml"/><Relationship Id="rId36" Type="http://schemas.openxmlformats.org/officeDocument/2006/relationships/image" Target="../media/image25.wmf"/><Relationship Id="rId10" Type="http://schemas.openxmlformats.org/officeDocument/2006/relationships/tags" Target="../tags/tag37.xml"/><Relationship Id="rId19" Type="http://schemas.openxmlformats.org/officeDocument/2006/relationships/tags" Target="../tags/tag46.xml"/><Relationship Id="rId31" Type="http://schemas.openxmlformats.org/officeDocument/2006/relationships/tags" Target="../tags/tag58.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tags" Target="../tags/tag54.xml"/><Relationship Id="rId30" Type="http://schemas.openxmlformats.org/officeDocument/2006/relationships/tags" Target="../tags/tag57.xml"/><Relationship Id="rId35" Type="http://schemas.openxmlformats.org/officeDocument/2006/relationships/image" Target="../media/image26.emf"/></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oleObject" Target="../embeddings/oleObject13.bin"/><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slideMaster" Target="../slideMasters/slideMaster7.xml"/><Relationship Id="rId5" Type="http://schemas.openxmlformats.org/officeDocument/2006/relationships/tags" Target="../tags/tag86.xml"/><Relationship Id="rId10" Type="http://schemas.openxmlformats.org/officeDocument/2006/relationships/image" Target="../media/image2.png"/><Relationship Id="rId4" Type="http://schemas.openxmlformats.org/officeDocument/2006/relationships/tags" Target="../tags/tag85.xml"/><Relationship Id="rId9" Type="http://schemas.openxmlformats.org/officeDocument/2006/relationships/image" Target="../media/image30.jpeg"/></Relationships>
</file>

<file path=ppt/slideLayouts/_rels/slideLayout15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5" Type="http://schemas.openxmlformats.org/officeDocument/2006/relationships/tags" Target="../tags/tag91.xml"/><Relationship Id="rId10" Type="http://schemas.openxmlformats.org/officeDocument/2006/relationships/image" Target="../media/image29.emf"/><Relationship Id="rId4" Type="http://schemas.openxmlformats.org/officeDocument/2006/relationships/tags" Target="../tags/tag90.xml"/><Relationship Id="rId9" Type="http://schemas.openxmlformats.org/officeDocument/2006/relationships/oleObject" Target="../embeddings/oleObject14.bin"/></Relationships>
</file>

<file path=ppt/slideLayouts/_rels/slideLayout156.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96.xml"/><Relationship Id="rId7"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1.emf"/></Relationships>
</file>

<file path=ppt/slideLayouts/_rels/slideLayout157.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02.xml"/><Relationship Id="rId7" Type="http://schemas.openxmlformats.org/officeDocument/2006/relationships/slideMaster" Target="../slideMasters/slideMaster7.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08.xml"/><Relationship Id="rId7" Type="http://schemas.openxmlformats.org/officeDocument/2006/relationships/slideMaster" Target="../slideMasters/slideMaster7.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9"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1.emf"/><Relationship Id="rId4" Type="http://schemas.openxmlformats.org/officeDocument/2006/relationships/tags" Target="../tags/tag115.xml"/><Relationship Id="rId9"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image" Target="../media/image29.emf"/><Relationship Id="rId5" Type="http://schemas.openxmlformats.org/officeDocument/2006/relationships/tags" Target="../tags/tag123.xml"/><Relationship Id="rId10" Type="http://schemas.openxmlformats.org/officeDocument/2006/relationships/oleObject" Target="../embeddings/oleObject19.bin"/><Relationship Id="rId4" Type="http://schemas.openxmlformats.org/officeDocument/2006/relationships/tags" Target="../tags/tag122.xml"/><Relationship Id="rId9"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8" Type="http://schemas.openxmlformats.org/officeDocument/2006/relationships/tags" Target="../tags/tag134.xml"/><Relationship Id="rId3" Type="http://schemas.openxmlformats.org/officeDocument/2006/relationships/tags" Target="../tags/tag129.xml"/><Relationship Id="rId7" Type="http://schemas.openxmlformats.org/officeDocument/2006/relationships/tags" Target="../tags/tag133.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image" Target="../media/image29.emf"/><Relationship Id="rId5" Type="http://schemas.openxmlformats.org/officeDocument/2006/relationships/tags" Target="../tags/tag131.xml"/><Relationship Id="rId10" Type="http://schemas.openxmlformats.org/officeDocument/2006/relationships/oleObject" Target="../embeddings/oleObject20.bin"/><Relationship Id="rId4" Type="http://schemas.openxmlformats.org/officeDocument/2006/relationships/tags" Target="../tags/tag130.xml"/><Relationship Id="rId9"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8" Type="http://schemas.openxmlformats.org/officeDocument/2006/relationships/tags" Target="../tags/tag142.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image" Target="../media/image29.emf"/><Relationship Id="rId5" Type="http://schemas.openxmlformats.org/officeDocument/2006/relationships/tags" Target="../tags/tag139.xml"/><Relationship Id="rId10" Type="http://schemas.openxmlformats.org/officeDocument/2006/relationships/oleObject" Target="../embeddings/oleObject21.bin"/><Relationship Id="rId4" Type="http://schemas.openxmlformats.org/officeDocument/2006/relationships/tags" Target="../tags/tag138.xml"/><Relationship Id="rId9"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150.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image" Target="../media/image31.emf"/><Relationship Id="rId5" Type="http://schemas.openxmlformats.org/officeDocument/2006/relationships/tags" Target="../tags/tag147.xml"/><Relationship Id="rId10" Type="http://schemas.openxmlformats.org/officeDocument/2006/relationships/oleObject" Target="../embeddings/oleObject22.bin"/><Relationship Id="rId4" Type="http://schemas.openxmlformats.org/officeDocument/2006/relationships/tags" Target="../tags/tag146.xml"/><Relationship Id="rId9"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158.xml"/><Relationship Id="rId3" Type="http://schemas.openxmlformats.org/officeDocument/2006/relationships/tags" Target="../tags/tag153.xml"/><Relationship Id="rId7" Type="http://schemas.openxmlformats.org/officeDocument/2006/relationships/tags" Target="../tags/tag157.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image" Target="../media/image29.emf"/><Relationship Id="rId5" Type="http://schemas.openxmlformats.org/officeDocument/2006/relationships/tags" Target="../tags/tag155.xml"/><Relationship Id="rId10" Type="http://schemas.openxmlformats.org/officeDocument/2006/relationships/oleObject" Target="../embeddings/oleObject23.bin"/><Relationship Id="rId4" Type="http://schemas.openxmlformats.org/officeDocument/2006/relationships/tags" Target="../tags/tag154.xml"/><Relationship Id="rId9"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image" Target="../media/image32.jpeg"/><Relationship Id="rId5" Type="http://schemas.openxmlformats.org/officeDocument/2006/relationships/tags" Target="../tags/tag163.xml"/><Relationship Id="rId10" Type="http://schemas.openxmlformats.org/officeDocument/2006/relationships/image" Target="../media/image29.emf"/><Relationship Id="rId4" Type="http://schemas.openxmlformats.org/officeDocument/2006/relationships/tags" Target="../tags/tag162.xml"/><Relationship Id="rId9" Type="http://schemas.openxmlformats.org/officeDocument/2006/relationships/oleObject" Target="../embeddings/oleObject24.bin"/></Relationships>
</file>

<file path=ppt/slideLayouts/_rels/slideLayout16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image" Target="../media/image33.jpeg"/><Relationship Id="rId5" Type="http://schemas.openxmlformats.org/officeDocument/2006/relationships/tags" Target="../tags/tag170.xml"/><Relationship Id="rId10" Type="http://schemas.openxmlformats.org/officeDocument/2006/relationships/image" Target="../media/image29.emf"/><Relationship Id="rId4" Type="http://schemas.openxmlformats.org/officeDocument/2006/relationships/tags" Target="../tags/tag169.xml"/><Relationship Id="rId9" Type="http://schemas.openxmlformats.org/officeDocument/2006/relationships/oleObject" Target="../embeddings/oleObject25.bin"/></Relationships>
</file>

<file path=ppt/slideLayouts/_rels/slideLayout16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5.xml"/><Relationship Id="rId7" Type="http://schemas.openxmlformats.org/officeDocument/2006/relationships/tags" Target="../tags/tag179.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5" Type="http://schemas.openxmlformats.org/officeDocument/2006/relationships/tags" Target="../tags/tag177.xml"/><Relationship Id="rId10" Type="http://schemas.openxmlformats.org/officeDocument/2006/relationships/image" Target="../media/image29.emf"/><Relationship Id="rId4" Type="http://schemas.openxmlformats.org/officeDocument/2006/relationships/tags" Target="../tags/tag176.xml"/><Relationship Id="rId9" Type="http://schemas.openxmlformats.org/officeDocument/2006/relationships/oleObject" Target="../embeddings/oleObject26.bin"/></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82.xml"/><Relationship Id="rId7" Type="http://schemas.openxmlformats.org/officeDocument/2006/relationships/tags" Target="../tags/tag186.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image" Target="../media/image34.jpeg"/><Relationship Id="rId5" Type="http://schemas.openxmlformats.org/officeDocument/2006/relationships/tags" Target="../tags/tag184.xml"/><Relationship Id="rId10" Type="http://schemas.openxmlformats.org/officeDocument/2006/relationships/image" Target="../media/image29.emf"/><Relationship Id="rId4" Type="http://schemas.openxmlformats.org/officeDocument/2006/relationships/tags" Target="../tags/tag183.xml"/><Relationship Id="rId9" Type="http://schemas.openxmlformats.org/officeDocument/2006/relationships/oleObject" Target="../embeddings/oleObject27.bin"/></Relationships>
</file>

<file path=ppt/slideLayouts/_rels/slideLayout16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image" Target="../media/image35.jpeg"/><Relationship Id="rId5" Type="http://schemas.openxmlformats.org/officeDocument/2006/relationships/tags" Target="../tags/tag191.xml"/><Relationship Id="rId10" Type="http://schemas.openxmlformats.org/officeDocument/2006/relationships/image" Target="../media/image29.emf"/><Relationship Id="rId4" Type="http://schemas.openxmlformats.org/officeDocument/2006/relationships/tags" Target="../tags/tag190.xml"/><Relationship Id="rId9" Type="http://schemas.openxmlformats.org/officeDocument/2006/relationships/oleObject" Target="../embeddings/oleObject28.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196.xml"/><Relationship Id="rId7"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4" Type="http://schemas.openxmlformats.org/officeDocument/2006/relationships/tags" Target="../tags/tag197.xml"/><Relationship Id="rId9"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202.xml"/><Relationship Id="rId7" Type="http://schemas.openxmlformats.org/officeDocument/2006/relationships/image" Target="../media/image1.emf"/><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oleObject" Target="../embeddings/oleObject30.bin"/><Relationship Id="rId5" Type="http://schemas.openxmlformats.org/officeDocument/2006/relationships/slideMaster" Target="../slideMasters/slideMaster7.xml"/><Relationship Id="rId4" Type="http://schemas.openxmlformats.org/officeDocument/2006/relationships/tags" Target="../tags/tag203.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206.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09.xml"/><Relationship Id="rId7" Type="http://schemas.openxmlformats.org/officeDocument/2006/relationships/tags" Target="../tags/tag213.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5" Type="http://schemas.openxmlformats.org/officeDocument/2006/relationships/tags" Target="../tags/tag211.xml"/><Relationship Id="rId10" Type="http://schemas.openxmlformats.org/officeDocument/2006/relationships/image" Target="../media/image29.emf"/><Relationship Id="rId4" Type="http://schemas.openxmlformats.org/officeDocument/2006/relationships/tags" Target="../tags/tag210.xml"/><Relationship Id="rId9" Type="http://schemas.openxmlformats.org/officeDocument/2006/relationships/oleObject" Target="../embeddings/oleObject32.bin"/></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5.xml"/><Relationship Id="rId1" Type="http://schemas.openxmlformats.org/officeDocument/2006/relationships/tags" Target="../tags/tag214.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17.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88817" y="1312072"/>
            <a:ext cx="4641551" cy="1807539"/>
          </a:xfrm>
          <a:prstGeom prst="rect">
            <a:avLst/>
          </a:prstGeom>
        </p:spPr>
        <p:txBody>
          <a:bodyPr lIns="0" tIns="0" rIns="0" bIns="0" anchor="ctr"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5241130"/>
            <a:ext cx="3708862" cy="304800"/>
          </a:xfrm>
          <a:prstGeom prst="rect">
            <a:avLst/>
          </a:prstGeom>
        </p:spPr>
        <p:txBody>
          <a:bodyPr lIns="0" anchor="ctr"/>
          <a:lstStyle>
            <a:lvl1pPr marL="0" indent="0">
              <a:buNone/>
              <a:defRPr sz="1199" b="0" i="0">
                <a:solidFill>
                  <a:schemeClr val="tx1">
                    <a:lumMod val="75000"/>
                    <a:lumOff val="25000"/>
                  </a:schemeClr>
                </a:solidFill>
              </a:defRPr>
            </a:lvl1pPr>
            <a:lvl2pPr marL="456971" indent="0">
              <a:buNone/>
              <a:defRPr sz="800" b="1" i="0">
                <a:solidFill>
                  <a:schemeClr val="bg1"/>
                </a:solidFill>
              </a:defRPr>
            </a:lvl2pPr>
            <a:lvl3pPr marL="913943" indent="0">
              <a:buNone/>
              <a:defRPr sz="800" i="1"/>
            </a:lvl3pPr>
            <a:lvl4pPr marL="1370914" indent="0">
              <a:buNone/>
              <a:defRPr sz="800" i="1"/>
            </a:lvl4pPr>
            <a:lvl5pPr marL="1827886" indent="0">
              <a:buNone/>
              <a:defRPr sz="800" i="1"/>
            </a:lvl5pPr>
          </a:lstStyle>
          <a:p>
            <a:pPr lvl="0"/>
            <a:r>
              <a:rPr lang="nl-NL" noProof="0"/>
              <a:t>Stad, Land, Datum, Jaar</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3661068"/>
            <a:ext cx="4641551" cy="325447"/>
          </a:xfrm>
          <a:prstGeom prst="rect">
            <a:avLst/>
          </a:prstGeom>
        </p:spPr>
        <p:txBody>
          <a:bodyPr lIns="0" tIns="0" rIns="0" bIns="0" anchor="ctr" anchorCtr="0"/>
          <a:lstStyle>
            <a:lvl1pPr marL="0" indent="0">
              <a:buNone/>
              <a:defRPr sz="1599" b="1">
                <a:solidFill>
                  <a:schemeClr val="accent1"/>
                </a:solidFill>
              </a:defRPr>
            </a:lvl1pPr>
            <a:lvl2pPr marL="0" indent="0">
              <a:buNone/>
              <a:defRPr sz="1399">
                <a:solidFill>
                  <a:schemeClr val="bg2"/>
                </a:solidFill>
              </a:defRPr>
            </a:lvl2pPr>
          </a:lstStyle>
          <a:p>
            <a:pPr lvl="0"/>
            <a:r>
              <a:rPr lang="nl-NL" noProof="0"/>
              <a:t>Zet afdeling hier</a:t>
            </a:r>
          </a:p>
        </p:txBody>
      </p:sp>
      <p:sp>
        <p:nvSpPr>
          <p:cNvPr id="61" name="Tijdelijke aanduiding voor afbeelding 60">
            <a:extLst>
              <a:ext uri="{FF2B5EF4-FFF2-40B4-BE49-F238E27FC236}">
                <a16:creationId xmlns:a16="http://schemas.microsoft.com/office/drawing/2014/main" id="{8F4F692A-378F-44E7-A1C8-941AAE1217A2}"/>
              </a:ext>
            </a:extLst>
          </p:cNvPr>
          <p:cNvSpPr>
            <a:spLocks noGrp="1"/>
          </p:cNvSpPr>
          <p:nvPr>
            <p:ph type="pic" sz="quarter" idx="12" hasCustomPrompt="1"/>
          </p:nvPr>
        </p:nvSpPr>
        <p:spPr>
          <a:xfrm>
            <a:off x="4550735" y="-6312"/>
            <a:ext cx="7639203" cy="6864312"/>
          </a:xfrm>
          <a:custGeom>
            <a:avLst/>
            <a:gdLst>
              <a:gd name="connsiteX0" fmla="*/ 2118250 w 7771920"/>
              <a:gd name="connsiteY0" fmla="*/ 0 h 6225314"/>
              <a:gd name="connsiteX1" fmla="*/ 7768034 w 7771920"/>
              <a:gd name="connsiteY1" fmla="*/ 1151 h 6225314"/>
              <a:gd name="connsiteX2" fmla="*/ 7771920 w 7771920"/>
              <a:gd name="connsiteY2" fmla="*/ 3349434 h 6225314"/>
              <a:gd name="connsiteX3" fmla="*/ 7771478 w 7771920"/>
              <a:gd name="connsiteY3" fmla="*/ 3938492 h 6225314"/>
              <a:gd name="connsiteX4" fmla="*/ 6989256 w 7771920"/>
              <a:gd name="connsiteY4" fmla="*/ 6225314 h 6225314"/>
              <a:gd name="connsiteX5" fmla="*/ 0 w 7771920"/>
              <a:gd name="connsiteY5" fmla="*/ 6192693 h 6225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1920" h="6225314">
                <a:moveTo>
                  <a:pt x="2118250" y="0"/>
                </a:moveTo>
                <a:lnTo>
                  <a:pt x="7768034" y="1151"/>
                </a:lnTo>
                <a:cubicBezTo>
                  <a:pt x="7764526" y="1126594"/>
                  <a:pt x="7770624" y="2233340"/>
                  <a:pt x="7771920" y="3349434"/>
                </a:cubicBezTo>
                <a:lnTo>
                  <a:pt x="7771478" y="3938492"/>
                </a:lnTo>
                <a:lnTo>
                  <a:pt x="6989256" y="6225314"/>
                </a:lnTo>
                <a:lnTo>
                  <a:pt x="0" y="619269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r">
              <a:buFont typeface="Arial" panose="020B0604020202020204" pitchFamily="34" charset="0"/>
              <a:buNone/>
              <a:defRPr lang="nl-NL" sz="1599"/>
            </a:lvl1pPr>
          </a:lstStyle>
          <a:p>
            <a:pPr marL="228486" lvl="0" indent="-228486" algn="ctr"/>
            <a:r>
              <a:rPr lang="nl-NL" noProof="0"/>
              <a:t>Klik op pictogram om een afbeelding in te voegen
</a:t>
            </a:r>
          </a:p>
        </p:txBody>
      </p:sp>
      <p:pic>
        <p:nvPicPr>
          <p:cNvPr id="32" name="Picture 31" descr="A close up of a logo&#10;&#10;Description automatically generated">
            <a:extLst>
              <a:ext uri="{FF2B5EF4-FFF2-40B4-BE49-F238E27FC236}">
                <a16:creationId xmlns:a16="http://schemas.microsoft.com/office/drawing/2014/main" id="{1493A41B-8A8D-ED4A-A236-E590C2AA41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5" y="-8305"/>
            <a:ext cx="2321311" cy="1332543"/>
          </a:xfrm>
          <a:prstGeom prst="rect">
            <a:avLst/>
          </a:prstGeom>
        </p:spPr>
      </p:pic>
      <p:sp>
        <p:nvSpPr>
          <p:cNvPr id="13" name="Tijdelijke aanduiding voor tekst 12">
            <a:extLst>
              <a:ext uri="{FF2B5EF4-FFF2-40B4-BE49-F238E27FC236}">
                <a16:creationId xmlns:a16="http://schemas.microsoft.com/office/drawing/2014/main" id="{D1D1B9CC-7A37-4B19-AEAE-B3F3C09EB1E4}"/>
              </a:ext>
            </a:extLst>
          </p:cNvPr>
          <p:cNvSpPr>
            <a:spLocks noGrp="1"/>
          </p:cNvSpPr>
          <p:nvPr>
            <p:ph type="body" sz="quarter" idx="13" hasCustomPrompt="1"/>
          </p:nvPr>
        </p:nvSpPr>
        <p:spPr>
          <a:xfrm>
            <a:off x="588964" y="4182186"/>
            <a:ext cx="4397375" cy="288925"/>
          </a:xfrm>
          <a:prstGeom prst="rect">
            <a:avLst/>
          </a:prstGeom>
        </p:spPr>
        <p:txBody>
          <a:bodyPr lIns="0" tIns="0" rIns="0" bIns="0" anchor="ctr" anchorCtr="0"/>
          <a:lstStyle>
            <a:lvl1pPr marL="0" indent="0">
              <a:buNone/>
              <a:defRPr lang="nl-NL" sz="1599" b="1" kern="1200" dirty="0">
                <a:solidFill>
                  <a:schemeClr val="tx2"/>
                </a:solidFill>
                <a:latin typeface="+mn-lt"/>
                <a:ea typeface="+mn-ea"/>
                <a:cs typeface="+mn-cs"/>
              </a:defRPr>
            </a:lvl1pPr>
          </a:lstStyle>
          <a:p>
            <a:pPr lvl="0"/>
            <a:r>
              <a:rPr lang="nl-NL" noProof="0"/>
              <a:t>Naam Spreker</a:t>
            </a:r>
          </a:p>
        </p:txBody>
      </p:sp>
      <p:sp>
        <p:nvSpPr>
          <p:cNvPr id="44" name="Tijdelijke aanduiding voor tekst 12">
            <a:extLst>
              <a:ext uri="{FF2B5EF4-FFF2-40B4-BE49-F238E27FC236}">
                <a16:creationId xmlns:a16="http://schemas.microsoft.com/office/drawing/2014/main" id="{610F4E30-8C76-49D0-906F-40210A812200}"/>
              </a:ext>
            </a:extLst>
          </p:cNvPr>
          <p:cNvSpPr>
            <a:spLocks noGrp="1"/>
          </p:cNvSpPr>
          <p:nvPr>
            <p:ph type="body" sz="quarter" idx="14" hasCustomPrompt="1"/>
          </p:nvPr>
        </p:nvSpPr>
        <p:spPr>
          <a:xfrm>
            <a:off x="588964" y="4511751"/>
            <a:ext cx="4397375" cy="288925"/>
          </a:xfrm>
          <a:prstGeom prst="rect">
            <a:avLst/>
          </a:prstGeom>
        </p:spPr>
        <p:txBody>
          <a:bodyPr lIns="0" tIns="0" rIns="0" bIns="0" anchor="ctr" anchorCtr="0"/>
          <a:lstStyle>
            <a:lvl1pPr marL="0" indent="0">
              <a:buNone/>
              <a:defRPr lang="nl-NL" sz="1599" b="0" kern="1200" dirty="0">
                <a:solidFill>
                  <a:schemeClr val="bg2"/>
                </a:solidFill>
                <a:latin typeface="+mn-lt"/>
                <a:ea typeface="+mn-ea"/>
                <a:cs typeface="+mn-cs"/>
              </a:defRPr>
            </a:lvl1pPr>
          </a:lstStyle>
          <a:p>
            <a:pPr lvl="0"/>
            <a:r>
              <a:rPr lang="nl-NL" noProof="0"/>
              <a:t>Functietitel</a:t>
            </a:r>
          </a:p>
        </p:txBody>
      </p:sp>
      <p:sp>
        <p:nvSpPr>
          <p:cNvPr id="57" name="Rectangle 3">
            <a:extLst>
              <a:ext uri="{FF2B5EF4-FFF2-40B4-BE49-F238E27FC236}">
                <a16:creationId xmlns:a16="http://schemas.microsoft.com/office/drawing/2014/main" id="{FFB26F9B-BD1C-4057-BB96-BCEFD94FFDCC}"/>
              </a:ext>
            </a:extLst>
          </p:cNvPr>
          <p:cNvSpPr/>
          <p:nvPr userDrawn="1"/>
        </p:nvSpPr>
        <p:spPr>
          <a:xfrm>
            <a:off x="11188702" y="3887731"/>
            <a:ext cx="1016000" cy="2970271"/>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noProof="0"/>
          </a:p>
        </p:txBody>
      </p:sp>
    </p:spTree>
    <p:extLst>
      <p:ext uri="{BB962C8B-B14F-4D97-AF65-F5344CB8AC3E}">
        <p14:creationId xmlns:p14="http://schemas.microsoft.com/office/powerpoint/2010/main" val="1569174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4112">
          <p15:clr>
            <a:srgbClr val="FBAE40"/>
          </p15:clr>
        </p15:guide>
        <p15:guide id="3" pos="2593">
          <p15:clr>
            <a:srgbClr val="FBAE40"/>
          </p15:clr>
        </p15:guide>
        <p15:guide id="4" orient="horz" pos="406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ptop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endParaRPr lang="en-US" noProof="0"/>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endParaRPr lang="en-US" noProof="0"/>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3277319" y="1898249"/>
            <a:ext cx="5718742" cy="3755982"/>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noProof="0"/>
            </a:p>
          </p:txBody>
        </p:sp>
      </p:grpSp>
      <p:sp>
        <p:nvSpPr>
          <p:cNvPr id="9" name="Picture Placeholder 8">
            <a:extLst>
              <a:ext uri="{FF2B5EF4-FFF2-40B4-BE49-F238E27FC236}">
                <a16:creationId xmlns:a16="http://schemas.microsoft.com/office/drawing/2014/main" id="{F8E80370-8790-4863-AB9C-02FC64D074B3}"/>
              </a:ext>
            </a:extLst>
          </p:cNvPr>
          <p:cNvSpPr>
            <a:spLocks noGrp="1"/>
          </p:cNvSpPr>
          <p:nvPr>
            <p:ph type="pic" sz="quarter" idx="12" hasCustomPrompt="1"/>
          </p:nvPr>
        </p:nvSpPr>
        <p:spPr>
          <a:xfrm>
            <a:off x="4017964" y="2287588"/>
            <a:ext cx="4191000" cy="2595562"/>
          </a:xfrm>
          <a:prstGeom prst="rect">
            <a:avLst/>
          </a:prstGeom>
          <a:pattFill prst="dkUpDiag">
            <a:fgClr>
              <a:schemeClr val="bg1">
                <a:lumMod val="75000"/>
              </a:schemeClr>
            </a:fgClr>
            <a:bgClr>
              <a:schemeClr val="bg1">
                <a:lumMod val="95000"/>
              </a:schemeClr>
            </a:bgClr>
          </a:pattFill>
        </p:spPr>
        <p:txBody>
          <a:bodyPr tIns="180000"/>
          <a:lstStyle>
            <a:lvl1pPr marL="0" indent="0" algn="ctr">
              <a:buFont typeface="Arial" panose="020B0604020202020204" pitchFamily="34" charset="0"/>
              <a:buNone/>
              <a:defRPr sz="1599"/>
            </a:lvl1pPr>
          </a:lstStyle>
          <a:p>
            <a:r>
              <a:rPr lang="nl-NL" noProof="0"/>
              <a:t>Klik op pictogram om een afbeelding in te voegen
</a:t>
            </a:r>
            <a:endParaRPr lang="en-US" noProof="0"/>
          </a:p>
        </p:txBody>
      </p:sp>
    </p:spTree>
    <p:extLst>
      <p:ext uri="{BB962C8B-B14F-4D97-AF65-F5344CB8AC3E}">
        <p14:creationId xmlns:p14="http://schemas.microsoft.com/office/powerpoint/2010/main" val="74234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DAA78-4D23-4CC8-A7DC-3E10FB028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E98A42-70FE-44CE-9012-C30A1D3B14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D0D6E-1259-4056-A7BD-2408AE8426AA}"/>
              </a:ext>
            </a:extLst>
          </p:cNvPr>
          <p:cNvSpPr>
            <a:spLocks noGrp="1"/>
          </p:cNvSpPr>
          <p:nvPr>
            <p:ph type="dt" sz="half" idx="10"/>
          </p:nvPr>
        </p:nvSpPr>
        <p:spPr/>
        <p:txBody>
          <a:bodyPr/>
          <a:lstStyle/>
          <a:p>
            <a:fld id="{DE051DB0-50E2-4A45-98CE-CCBBB311233A}" type="datetimeFigureOut">
              <a:rPr lang="en-US" smtClean="0"/>
              <a:t>3/8/2022</a:t>
            </a:fld>
            <a:endParaRPr lang="en-US"/>
          </a:p>
        </p:txBody>
      </p:sp>
      <p:sp>
        <p:nvSpPr>
          <p:cNvPr id="5" name="Footer Placeholder 4">
            <a:extLst>
              <a:ext uri="{FF2B5EF4-FFF2-40B4-BE49-F238E27FC236}">
                <a16:creationId xmlns:a16="http://schemas.microsoft.com/office/drawing/2014/main" id="{1098AF86-B46F-469D-96DE-2B1B87A3C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35B76D-2619-48E5-A84C-534A4365C39F}"/>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24579800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8BB97-AD3A-4553-9FBD-8319D15E87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51A36D-2C2E-4B00-813F-1E0059429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0025DE-A5FA-4DCA-8EB9-692CBB72F80F}"/>
              </a:ext>
            </a:extLst>
          </p:cNvPr>
          <p:cNvSpPr>
            <a:spLocks noGrp="1"/>
          </p:cNvSpPr>
          <p:nvPr>
            <p:ph type="dt" sz="half" idx="10"/>
          </p:nvPr>
        </p:nvSpPr>
        <p:spPr/>
        <p:txBody>
          <a:bodyPr/>
          <a:lstStyle/>
          <a:p>
            <a:fld id="{DE051DB0-50E2-4A45-98CE-CCBBB311233A}" type="datetimeFigureOut">
              <a:rPr lang="en-US" smtClean="0"/>
              <a:t>3/8/2022</a:t>
            </a:fld>
            <a:endParaRPr lang="en-US"/>
          </a:p>
        </p:txBody>
      </p:sp>
      <p:sp>
        <p:nvSpPr>
          <p:cNvPr id="5" name="Footer Placeholder 4">
            <a:extLst>
              <a:ext uri="{FF2B5EF4-FFF2-40B4-BE49-F238E27FC236}">
                <a16:creationId xmlns:a16="http://schemas.microsoft.com/office/drawing/2014/main" id="{DD321FB0-A704-4448-AEBB-A1647DDE3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E3183-259F-4D76-BCE1-E2C6D7377353}"/>
              </a:ext>
            </a:extLst>
          </p:cNvPr>
          <p:cNvSpPr>
            <a:spLocks noGrp="1"/>
          </p:cNvSpPr>
          <p:nvPr>
            <p:ph type="sldNum" sz="quarter" idx="12"/>
          </p:nvPr>
        </p:nvSpPr>
        <p:spPr/>
        <p:txBody>
          <a:bodyPr/>
          <a:lstStyle/>
          <a:p>
            <a:fld id="{026E61C6-9579-4B5D-A38A-8463637922FF}" type="slidenum">
              <a:rPr lang="en-US" smtClean="0"/>
              <a:t>‹#›</a:t>
            </a:fld>
            <a:endParaRPr lang="en-US"/>
          </a:p>
        </p:txBody>
      </p:sp>
    </p:spTree>
    <p:extLst>
      <p:ext uri="{BB962C8B-B14F-4D97-AF65-F5344CB8AC3E}">
        <p14:creationId xmlns:p14="http://schemas.microsoft.com/office/powerpoint/2010/main" val="63546099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print"/>
          <a:srcRect l="35652"/>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256329403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289470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Divider Page">
    <p:spTree>
      <p:nvGrpSpPr>
        <p:cNvPr id="1" name=""/>
        <p:cNvGrpSpPr/>
        <p:nvPr/>
      </p:nvGrpSpPr>
      <p:grpSpPr>
        <a:xfrm>
          <a:off x="0" y="0"/>
          <a:ext cx="0" cy="0"/>
          <a:chOff x="0" y="0"/>
          <a:chExt cx="0" cy="0"/>
        </a:xfrm>
      </p:grpSpPr>
      <p:sp>
        <p:nvSpPr>
          <p:cNvPr id="11" name="Rechthoek 10"/>
          <p:cNvSpPr/>
          <p:nvPr userDrawn="1"/>
        </p:nvSpPr>
        <p:spPr>
          <a:xfrm rot="10800000">
            <a:off x="1735575" y="6266757"/>
            <a:ext cx="10456424"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15" name="Rechthoek 14"/>
          <p:cNvSpPr/>
          <p:nvPr userDrawn="1"/>
        </p:nvSpPr>
        <p:spPr>
          <a:xfrm>
            <a:off x="1" y="6516394"/>
            <a:ext cx="12191999"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pic>
        <p:nvPicPr>
          <p:cNvPr id="17" name="Afbeelding 16"/>
          <p:cNvPicPr>
            <a:picLocks noChangeAspect="1"/>
          </p:cNvPicPr>
          <p:nvPr userDrawn="1"/>
        </p:nvPicPr>
        <p:blipFill rotWithShape="1">
          <a:blip r:embed="rId2" cstate="screen">
            <a:extLst>
              <a:ext uri="{28A0092B-C50C-407E-A947-70E740481C1C}">
                <a14:useLocalDpi xmlns:a14="http://schemas.microsoft.com/office/drawing/2010/main"/>
              </a:ext>
            </a:extLst>
          </a:blip>
          <a:srcRect l="235" r="67421" b="54133"/>
          <a:stretch/>
        </p:blipFill>
        <p:spPr>
          <a:xfrm>
            <a:off x="746713" y="5659481"/>
            <a:ext cx="2039551" cy="1192307"/>
          </a:xfrm>
          <a:prstGeom prst="rect">
            <a:avLst/>
          </a:prstGeom>
        </p:spPr>
      </p:pic>
      <p:sp>
        <p:nvSpPr>
          <p:cNvPr id="18" name="Rechthoek 17"/>
          <p:cNvSpPr/>
          <p:nvPr userDrawn="1"/>
        </p:nvSpPr>
        <p:spPr>
          <a:xfrm>
            <a:off x="0" y="6170642"/>
            <a:ext cx="821292" cy="681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4"/>
          </a:p>
        </p:txBody>
      </p:sp>
      <p:sp>
        <p:nvSpPr>
          <p:cNvPr id="20" name="Rechthoek 19"/>
          <p:cNvSpPr/>
          <p:nvPr userDrawn="1"/>
        </p:nvSpPr>
        <p:spPr>
          <a:xfrm>
            <a:off x="272955" y="6403809"/>
            <a:ext cx="327334" cy="236219"/>
          </a:xfrm>
          <a:prstGeom prst="rect">
            <a:avLst/>
          </a:prstGeom>
        </p:spPr>
        <p:txBody>
          <a:bodyPr wrap="none">
            <a:spAutoFit/>
          </a:bodyPr>
          <a:lstStyle/>
          <a:p>
            <a:pPr fontAlgn="auto">
              <a:spcBef>
                <a:spcPts val="0"/>
              </a:spcBef>
              <a:spcAft>
                <a:spcPts val="0"/>
              </a:spcAft>
              <a:defRPr/>
            </a:pPr>
            <a:fld id="{478F02DA-AB65-4DE3-8C32-C1DFFF12922F}" type="slidenum">
              <a:rPr lang="nl-NL" sz="935" b="1">
                <a:solidFill>
                  <a:schemeClr val="accent1"/>
                </a:solidFill>
                <a:cs typeface="Arial" pitchFamily="34" charset="0"/>
              </a:rPr>
              <a:pPr fontAlgn="auto">
                <a:spcBef>
                  <a:spcPts val="0"/>
                </a:spcBef>
                <a:spcAft>
                  <a:spcPts val="0"/>
                </a:spcAft>
                <a:defRPr/>
              </a:pPr>
              <a:t>‹#›</a:t>
            </a:fld>
            <a:endParaRPr lang="nl-NL" sz="935" b="1">
              <a:solidFill>
                <a:schemeClr val="accent1"/>
              </a:solidFill>
              <a:cs typeface="Arial" pitchFamily="34" charset="0"/>
            </a:endParaRPr>
          </a:p>
        </p:txBody>
      </p:sp>
      <p:sp>
        <p:nvSpPr>
          <p:cNvPr id="21" name="Tijdelijke aanduiding voor afbeelding 3"/>
          <p:cNvSpPr>
            <a:spLocks noGrp="1"/>
          </p:cNvSpPr>
          <p:nvPr>
            <p:ph type="pic" sz="quarter" idx="10"/>
          </p:nvPr>
        </p:nvSpPr>
        <p:spPr>
          <a:xfrm>
            <a:off x="-17439" y="-6444"/>
            <a:ext cx="12226394" cy="6276079"/>
          </a:xfrm>
          <a:custGeom>
            <a:avLst/>
            <a:gdLst>
              <a:gd name="connsiteX0" fmla="*/ 0 w 10423525"/>
              <a:gd name="connsiteY0" fmla="*/ 0 h 4027956"/>
              <a:gd name="connsiteX1" fmla="*/ 10423525 w 10423525"/>
              <a:gd name="connsiteY1" fmla="*/ 0 h 4027956"/>
              <a:gd name="connsiteX2" fmla="*/ 10423525 w 10423525"/>
              <a:gd name="connsiteY2" fmla="*/ 4027956 h 4027956"/>
              <a:gd name="connsiteX3" fmla="*/ 0 w 10423525"/>
              <a:gd name="connsiteY3" fmla="*/ 4027956 h 4027956"/>
              <a:gd name="connsiteX4" fmla="*/ 0 w 10423525"/>
              <a:gd name="connsiteY4" fmla="*/ 0 h 4027956"/>
              <a:gd name="connsiteX0" fmla="*/ 0 w 10423525"/>
              <a:gd name="connsiteY0" fmla="*/ 0 h 4028749"/>
              <a:gd name="connsiteX1" fmla="*/ 10423525 w 10423525"/>
              <a:gd name="connsiteY1" fmla="*/ 0 h 4028749"/>
              <a:gd name="connsiteX2" fmla="*/ 10423525 w 10423525"/>
              <a:gd name="connsiteY2" fmla="*/ 4027956 h 4028749"/>
              <a:gd name="connsiteX3" fmla="*/ 604838 w 10423525"/>
              <a:gd name="connsiteY3" fmla="*/ 4028749 h 4028749"/>
              <a:gd name="connsiteX4" fmla="*/ 0 w 10423525"/>
              <a:gd name="connsiteY4" fmla="*/ 4027956 h 4028749"/>
              <a:gd name="connsiteX5" fmla="*/ 0 w 10423525"/>
              <a:gd name="connsiteY5"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1947863 w 10423525"/>
              <a:gd name="connsiteY3" fmla="*/ 4028749 h 4028749"/>
              <a:gd name="connsiteX4" fmla="*/ 604838 w 10423525"/>
              <a:gd name="connsiteY4" fmla="*/ 4028749 h 4028749"/>
              <a:gd name="connsiteX5" fmla="*/ 0 w 10423525"/>
              <a:gd name="connsiteY5" fmla="*/ 4027956 h 4028749"/>
              <a:gd name="connsiteX6" fmla="*/ 0 w 10423525"/>
              <a:gd name="connsiteY6"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47863 w 10423525"/>
              <a:gd name="connsiteY4" fmla="*/ 40287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23525"/>
              <a:gd name="connsiteY0" fmla="*/ 0 h 4028749"/>
              <a:gd name="connsiteX1" fmla="*/ 10423525 w 10423525"/>
              <a:gd name="connsiteY1" fmla="*/ 0 h 4028749"/>
              <a:gd name="connsiteX2" fmla="*/ 10423525 w 10423525"/>
              <a:gd name="connsiteY2" fmla="*/ 4027956 h 4028749"/>
              <a:gd name="connsiteX3" fmla="*/ 2100263 w 10423525"/>
              <a:gd name="connsiteY3" fmla="*/ 4026368 h 4028749"/>
              <a:gd name="connsiteX4" fmla="*/ 1950244 w 10423525"/>
              <a:gd name="connsiteY4" fmla="*/ 3571549 h 4028749"/>
              <a:gd name="connsiteX5" fmla="*/ 604838 w 10423525"/>
              <a:gd name="connsiteY5" fmla="*/ 4028749 h 4028749"/>
              <a:gd name="connsiteX6" fmla="*/ 0 w 10423525"/>
              <a:gd name="connsiteY6" fmla="*/ 4027956 h 4028749"/>
              <a:gd name="connsiteX7" fmla="*/ 0 w 10423525"/>
              <a:gd name="connsiteY7" fmla="*/ 0 h 4028749"/>
              <a:gd name="connsiteX0" fmla="*/ 0 w 10438434"/>
              <a:gd name="connsiteY0" fmla="*/ 69574 h 4028749"/>
              <a:gd name="connsiteX1" fmla="*/ 10438434 w 10438434"/>
              <a:gd name="connsiteY1" fmla="*/ 0 h 4028749"/>
              <a:gd name="connsiteX2" fmla="*/ 10438434 w 10438434"/>
              <a:gd name="connsiteY2" fmla="*/ 4027956 h 4028749"/>
              <a:gd name="connsiteX3" fmla="*/ 2115172 w 10438434"/>
              <a:gd name="connsiteY3" fmla="*/ 4026368 h 4028749"/>
              <a:gd name="connsiteX4" fmla="*/ 1965153 w 10438434"/>
              <a:gd name="connsiteY4" fmla="*/ 3571549 h 4028749"/>
              <a:gd name="connsiteX5" fmla="*/ 619747 w 10438434"/>
              <a:gd name="connsiteY5" fmla="*/ 4028749 h 4028749"/>
              <a:gd name="connsiteX6" fmla="*/ 14909 w 10438434"/>
              <a:gd name="connsiteY6" fmla="*/ 4027956 h 4028749"/>
              <a:gd name="connsiteX7" fmla="*/ 0 w 10438434"/>
              <a:gd name="connsiteY7" fmla="*/ 69574 h 4028749"/>
              <a:gd name="connsiteX0" fmla="*/ 0 w 10443404"/>
              <a:gd name="connsiteY0" fmla="*/ 0 h 3959175"/>
              <a:gd name="connsiteX1" fmla="*/ 10443404 w 10443404"/>
              <a:gd name="connsiteY1" fmla="*/ 4969 h 3959175"/>
              <a:gd name="connsiteX2" fmla="*/ 10438434 w 10443404"/>
              <a:gd name="connsiteY2" fmla="*/ 3958382 h 3959175"/>
              <a:gd name="connsiteX3" fmla="*/ 2115172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65153 w 10443404"/>
              <a:gd name="connsiteY4" fmla="*/ 3501975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9175"/>
              <a:gd name="connsiteX1" fmla="*/ 10443404 w 10443404"/>
              <a:gd name="connsiteY1" fmla="*/ 4969 h 3959175"/>
              <a:gd name="connsiteX2" fmla="*/ 10438434 w 10443404"/>
              <a:gd name="connsiteY2" fmla="*/ 3958382 h 3959175"/>
              <a:gd name="connsiteX3" fmla="*/ 2165179 w 10443404"/>
              <a:gd name="connsiteY3" fmla="*/ 3956794 h 3959175"/>
              <a:gd name="connsiteX4" fmla="*/ 1993728 w 10443404"/>
              <a:gd name="connsiteY4" fmla="*/ 3435300 h 3959175"/>
              <a:gd name="connsiteX5" fmla="*/ 619747 w 10443404"/>
              <a:gd name="connsiteY5" fmla="*/ 3959175 h 3959175"/>
              <a:gd name="connsiteX6" fmla="*/ 14909 w 10443404"/>
              <a:gd name="connsiteY6" fmla="*/ 3958382 h 3959175"/>
              <a:gd name="connsiteX7" fmla="*/ 0 w 10443404"/>
              <a:gd name="connsiteY7" fmla="*/ 0 h 3959175"/>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958382 h 3958382"/>
              <a:gd name="connsiteX7" fmla="*/ 0 w 10443404"/>
              <a:gd name="connsiteY7" fmla="*/ 0 h 3958382"/>
              <a:gd name="connsiteX0" fmla="*/ 0 w 10443404"/>
              <a:gd name="connsiteY0" fmla="*/ 0 h 3958382"/>
              <a:gd name="connsiteX1" fmla="*/ 10443404 w 10443404"/>
              <a:gd name="connsiteY1" fmla="*/ 4969 h 3958382"/>
              <a:gd name="connsiteX2" fmla="*/ 10438434 w 10443404"/>
              <a:gd name="connsiteY2" fmla="*/ 3958382 h 3958382"/>
              <a:gd name="connsiteX3" fmla="*/ 2165179 w 10443404"/>
              <a:gd name="connsiteY3" fmla="*/ 3956794 h 3958382"/>
              <a:gd name="connsiteX4" fmla="*/ 1993728 w 10443404"/>
              <a:gd name="connsiteY4" fmla="*/ 3435300 h 3958382"/>
              <a:gd name="connsiteX5" fmla="*/ 695947 w 10443404"/>
              <a:gd name="connsiteY5" fmla="*/ 3868688 h 3958382"/>
              <a:gd name="connsiteX6" fmla="*/ 14909 w 10443404"/>
              <a:gd name="connsiteY6" fmla="*/ 3872657 h 3958382"/>
              <a:gd name="connsiteX7" fmla="*/ 0 w 10443404"/>
              <a:gd name="connsiteY7" fmla="*/ 0 h 3958382"/>
              <a:gd name="connsiteX0" fmla="*/ 0 w 10438642"/>
              <a:gd name="connsiteY0" fmla="*/ 0 h 5353795"/>
              <a:gd name="connsiteX1" fmla="*/ 10438642 w 10438642"/>
              <a:gd name="connsiteY1" fmla="*/ 1400382 h 5353795"/>
              <a:gd name="connsiteX2" fmla="*/ 10433672 w 10438642"/>
              <a:gd name="connsiteY2" fmla="*/ 5353795 h 5353795"/>
              <a:gd name="connsiteX3" fmla="*/ 2160417 w 10438642"/>
              <a:gd name="connsiteY3" fmla="*/ 5352207 h 5353795"/>
              <a:gd name="connsiteX4" fmla="*/ 1988966 w 10438642"/>
              <a:gd name="connsiteY4" fmla="*/ 4830713 h 5353795"/>
              <a:gd name="connsiteX5" fmla="*/ 691185 w 10438642"/>
              <a:gd name="connsiteY5" fmla="*/ 5264101 h 5353795"/>
              <a:gd name="connsiteX6" fmla="*/ 10147 w 10438642"/>
              <a:gd name="connsiteY6" fmla="*/ 5268070 h 5353795"/>
              <a:gd name="connsiteX7" fmla="*/ 0 w 10438642"/>
              <a:gd name="connsiteY7" fmla="*/ 0 h 5353795"/>
              <a:gd name="connsiteX0" fmla="*/ 0 w 10438642"/>
              <a:gd name="connsiteY0" fmla="*/ 9318 h 5363113"/>
              <a:gd name="connsiteX1" fmla="*/ 10438642 w 10438642"/>
              <a:gd name="connsiteY1" fmla="*/ 0 h 5363113"/>
              <a:gd name="connsiteX2" fmla="*/ 10433672 w 10438642"/>
              <a:gd name="connsiteY2" fmla="*/ 5363113 h 5363113"/>
              <a:gd name="connsiteX3" fmla="*/ 2160417 w 10438642"/>
              <a:gd name="connsiteY3" fmla="*/ 5361525 h 5363113"/>
              <a:gd name="connsiteX4" fmla="*/ 1988966 w 10438642"/>
              <a:gd name="connsiteY4" fmla="*/ 4840031 h 5363113"/>
              <a:gd name="connsiteX5" fmla="*/ 691185 w 10438642"/>
              <a:gd name="connsiteY5" fmla="*/ 5273419 h 5363113"/>
              <a:gd name="connsiteX6" fmla="*/ 10147 w 10438642"/>
              <a:gd name="connsiteY6" fmla="*/ 5277388 h 5363113"/>
              <a:gd name="connsiteX7" fmla="*/ 0 w 10438642"/>
              <a:gd name="connsiteY7" fmla="*/ 9318 h 5363113"/>
              <a:gd name="connsiteX0" fmla="*/ 0 w 10443404"/>
              <a:gd name="connsiteY0" fmla="*/ 0 h 5368082"/>
              <a:gd name="connsiteX1" fmla="*/ 10443404 w 10443404"/>
              <a:gd name="connsiteY1" fmla="*/ 4969 h 5368082"/>
              <a:gd name="connsiteX2" fmla="*/ 10438434 w 10443404"/>
              <a:gd name="connsiteY2" fmla="*/ 5368082 h 5368082"/>
              <a:gd name="connsiteX3" fmla="*/ 2165179 w 10443404"/>
              <a:gd name="connsiteY3" fmla="*/ 5366494 h 5368082"/>
              <a:gd name="connsiteX4" fmla="*/ 1993728 w 10443404"/>
              <a:gd name="connsiteY4" fmla="*/ 4845000 h 5368082"/>
              <a:gd name="connsiteX5" fmla="*/ 695947 w 10443404"/>
              <a:gd name="connsiteY5" fmla="*/ 5278388 h 5368082"/>
              <a:gd name="connsiteX6" fmla="*/ 14909 w 10443404"/>
              <a:gd name="connsiteY6" fmla="*/ 5282357 h 5368082"/>
              <a:gd name="connsiteX7" fmla="*/ 0 w 10443404"/>
              <a:gd name="connsiteY7" fmla="*/ 0 h 5368082"/>
              <a:gd name="connsiteX0" fmla="*/ 0 w 10476742"/>
              <a:gd name="connsiteY0" fmla="*/ 66469 h 5434551"/>
              <a:gd name="connsiteX1" fmla="*/ 10476742 w 10476742"/>
              <a:gd name="connsiteY1" fmla="*/ 0 h 5434551"/>
              <a:gd name="connsiteX2" fmla="*/ 10438434 w 10476742"/>
              <a:gd name="connsiteY2" fmla="*/ 5434551 h 5434551"/>
              <a:gd name="connsiteX3" fmla="*/ 2165179 w 10476742"/>
              <a:gd name="connsiteY3" fmla="*/ 5432963 h 5434551"/>
              <a:gd name="connsiteX4" fmla="*/ 1993728 w 10476742"/>
              <a:gd name="connsiteY4" fmla="*/ 4911469 h 5434551"/>
              <a:gd name="connsiteX5" fmla="*/ 695947 w 10476742"/>
              <a:gd name="connsiteY5" fmla="*/ 5344857 h 5434551"/>
              <a:gd name="connsiteX6" fmla="*/ 14909 w 10476742"/>
              <a:gd name="connsiteY6" fmla="*/ 5348826 h 5434551"/>
              <a:gd name="connsiteX7" fmla="*/ 0 w 10476742"/>
              <a:gd name="connsiteY7" fmla="*/ 66469 h 5434551"/>
              <a:gd name="connsiteX0" fmla="*/ 0 w 10452930"/>
              <a:gd name="connsiteY0" fmla="*/ 0 h 5368082"/>
              <a:gd name="connsiteX1" fmla="*/ 10452930 w 10452930"/>
              <a:gd name="connsiteY1" fmla="*/ 206 h 5368082"/>
              <a:gd name="connsiteX2" fmla="*/ 10438434 w 10452930"/>
              <a:gd name="connsiteY2" fmla="*/ 5368082 h 5368082"/>
              <a:gd name="connsiteX3" fmla="*/ 2165179 w 10452930"/>
              <a:gd name="connsiteY3" fmla="*/ 5366494 h 5368082"/>
              <a:gd name="connsiteX4" fmla="*/ 1993728 w 10452930"/>
              <a:gd name="connsiteY4" fmla="*/ 4845000 h 5368082"/>
              <a:gd name="connsiteX5" fmla="*/ 695947 w 10452930"/>
              <a:gd name="connsiteY5" fmla="*/ 5278388 h 5368082"/>
              <a:gd name="connsiteX6" fmla="*/ 14909 w 10452930"/>
              <a:gd name="connsiteY6" fmla="*/ 5282357 h 5368082"/>
              <a:gd name="connsiteX7" fmla="*/ 0 w 10452930"/>
              <a:gd name="connsiteY7" fmla="*/ 0 h 536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2930" h="5368082">
                <a:moveTo>
                  <a:pt x="0" y="0"/>
                </a:moveTo>
                <a:lnTo>
                  <a:pt x="10452930" y="206"/>
                </a:lnTo>
                <a:cubicBezTo>
                  <a:pt x="10451273" y="1318010"/>
                  <a:pt x="10440091" y="4050278"/>
                  <a:pt x="10438434" y="5368082"/>
                </a:cubicBezTo>
                <a:lnTo>
                  <a:pt x="2165179" y="5366494"/>
                </a:lnTo>
                <a:lnTo>
                  <a:pt x="1993728" y="4845000"/>
                </a:lnTo>
                <a:lnTo>
                  <a:pt x="695947" y="5278388"/>
                </a:lnTo>
                <a:lnTo>
                  <a:pt x="14909" y="5282357"/>
                </a:lnTo>
                <a:cubicBezTo>
                  <a:pt x="9939" y="3962896"/>
                  <a:pt x="4970" y="1319461"/>
                  <a:pt x="0" y="0"/>
                </a:cubicBezTo>
                <a:close/>
              </a:path>
            </a:pathLst>
          </a:custGeom>
        </p:spPr>
        <p:txBody>
          <a:bodyPr>
            <a:normAutofit/>
          </a:bodyPr>
          <a:lstStyle>
            <a:lvl1pPr marL="0" indent="0">
              <a:buNone/>
              <a:defRPr sz="1403"/>
            </a:lvl1pPr>
          </a:lstStyle>
          <a:p>
            <a:endParaRPr lang="en-US"/>
          </a:p>
        </p:txBody>
      </p:sp>
      <p:sp>
        <p:nvSpPr>
          <p:cNvPr id="22" name="Tijdelijke aanduiding voor tekst 3"/>
          <p:cNvSpPr>
            <a:spLocks noGrp="1"/>
          </p:cNvSpPr>
          <p:nvPr>
            <p:ph type="body" sz="quarter" idx="11"/>
          </p:nvPr>
        </p:nvSpPr>
        <p:spPr>
          <a:xfrm>
            <a:off x="935279" y="688585"/>
            <a:ext cx="5090163" cy="1826325"/>
          </a:xfrm>
        </p:spPr>
        <p:txBody>
          <a:bodyPr/>
          <a:lstStyle>
            <a:lvl1pPr marL="0" indent="0">
              <a:buNone/>
              <a:defRPr b="1">
                <a:solidFill>
                  <a:schemeClr val="bg1"/>
                </a:solidFill>
              </a:defRPr>
            </a:lvl1pPr>
            <a:lvl2pPr marL="534513" indent="0">
              <a:buNone/>
              <a:defRPr/>
            </a:lvl2pPr>
            <a:lvl3pPr marL="1069025" indent="0">
              <a:buNone/>
              <a:defRPr/>
            </a:lvl3pPr>
            <a:lvl4pPr marL="1358553" indent="0">
              <a:buNone/>
              <a:defRPr/>
            </a:lvl4pPr>
            <a:lvl5pPr marL="1681487" indent="0">
              <a:buNone/>
              <a:defRPr/>
            </a:lvl5pPr>
          </a:lstStyle>
          <a:p>
            <a:pPr lvl="0"/>
            <a:r>
              <a:rPr lang="nl-NL"/>
              <a:t>Klik om de modelstijlen te bewerken</a:t>
            </a:r>
          </a:p>
        </p:txBody>
      </p:sp>
      <p:pic>
        <p:nvPicPr>
          <p:cNvPr id="9" name="Picture 8" descr="AEGON_BU_AM 300 dpi.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54257" y="6598553"/>
            <a:ext cx="1293845" cy="267597"/>
          </a:xfrm>
          <a:prstGeom prst="rect">
            <a:avLst/>
          </a:prstGeom>
        </p:spPr>
      </p:pic>
    </p:spTree>
    <p:extLst>
      <p:ext uri="{BB962C8B-B14F-4D97-AF65-F5344CB8AC3E}">
        <p14:creationId xmlns:p14="http://schemas.microsoft.com/office/powerpoint/2010/main" val="44043484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ext Slide Prism">
    <p:spTree>
      <p:nvGrpSpPr>
        <p:cNvPr id="1" name=""/>
        <p:cNvGrpSpPr/>
        <p:nvPr/>
      </p:nvGrpSpPr>
      <p:grpSpPr>
        <a:xfrm>
          <a:off x="0" y="0"/>
          <a:ext cx="0" cy="0"/>
          <a:chOff x="0" y="0"/>
          <a:chExt cx="0" cy="0"/>
        </a:xfrm>
      </p:grpSpPr>
      <p:sp>
        <p:nvSpPr>
          <p:cNvPr id="15" name="Tijdelijke aanduiding voor tekst 14"/>
          <p:cNvSpPr>
            <a:spLocks noGrp="1"/>
          </p:cNvSpPr>
          <p:nvPr>
            <p:ph type="body" sz="quarter" idx="16" hasCustomPrompt="1"/>
          </p:nvPr>
        </p:nvSpPr>
        <p:spPr>
          <a:xfrm>
            <a:off x="618879" y="428625"/>
            <a:ext cx="10907946" cy="515863"/>
          </a:xfrm>
          <a:prstGeom prst="rect">
            <a:avLst/>
          </a:prstGeom>
        </p:spPr>
        <p:txBody>
          <a:bodyPr lIns="0" tIns="0" rIns="0" bIns="0" anchor="b" anchorCtr="0"/>
          <a:lstStyle>
            <a:lvl1pPr marL="0" indent="0">
              <a:lnSpc>
                <a:spcPts val="2954"/>
              </a:lnSpc>
              <a:spcBef>
                <a:spcPts val="0"/>
              </a:spcBef>
              <a:buNone/>
              <a:defRPr sz="2450" b="0" baseline="0">
                <a:solidFill>
                  <a:schemeClr val="tx1"/>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7" hasCustomPrompt="1"/>
          </p:nvPr>
        </p:nvSpPr>
        <p:spPr>
          <a:xfrm>
            <a:off x="618430" y="1000125"/>
            <a:ext cx="10919844" cy="291067"/>
          </a:xfrm>
          <a:prstGeom prst="rect">
            <a:avLst/>
          </a:prstGeom>
        </p:spPr>
        <p:txBody>
          <a:bodyPr lIns="0" tIns="0" rIns="0" bIns="0" anchor="t"/>
          <a:lstStyle>
            <a:lvl1pPr marL="0" indent="0">
              <a:lnSpc>
                <a:spcPts val="1564"/>
              </a:lnSpc>
              <a:spcBef>
                <a:spcPts val="0"/>
              </a:spcBef>
              <a:buNone/>
              <a:defRPr sz="1307">
                <a:solidFill>
                  <a:schemeClr val="tx2"/>
                </a:solidFill>
                <a:latin typeface="+mj-lt"/>
                <a:ea typeface="Verdana" panose="020B0604030504040204" pitchFamily="34" charset="0"/>
                <a:cs typeface="Verdana" panose="020B0604030504040204" pitchFamily="34" charset="0"/>
              </a:defRPr>
            </a:lvl1pPr>
            <a:lvl2pPr marL="44809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96187"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44281"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92374" indent="0">
              <a:buNone/>
              <a:defRPr sz="155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10" name="Tijdelijke aanduiding voor tekst 14"/>
          <p:cNvSpPr>
            <a:spLocks noGrp="1"/>
          </p:cNvSpPr>
          <p:nvPr>
            <p:ph type="body" sz="quarter" idx="18" hasCustomPrompt="1"/>
          </p:nvPr>
        </p:nvSpPr>
        <p:spPr>
          <a:xfrm>
            <a:off x="6797434" y="6424838"/>
            <a:ext cx="4327767" cy="331470"/>
          </a:xfrm>
          <a:prstGeom prst="rect">
            <a:avLst/>
          </a:prstGeom>
        </p:spPr>
        <p:txBody>
          <a:bodyPr lIns="0" tIns="0" rIns="0" bIns="0" anchor="ctr" anchorCtr="0"/>
          <a:lstStyle>
            <a:lvl1pPr marL="0" indent="0" algn="r">
              <a:lnSpc>
                <a:spcPct val="100000"/>
              </a:lnSpc>
              <a:spcBef>
                <a:spcPts val="0"/>
              </a:spcBef>
              <a:buNone/>
              <a:defRPr sz="1143" b="0" baseline="0">
                <a:solidFill>
                  <a:schemeClr val="bg1">
                    <a:lumMod val="50000"/>
                  </a:schemeClr>
                </a:solidFill>
                <a:latin typeface="+mj-lt"/>
                <a:ea typeface="Verdana" panose="020B0604030504040204" pitchFamily="34" charset="0"/>
                <a:cs typeface="Verdana" panose="020B0604030504040204" pitchFamily="34" charset="0"/>
              </a:defRPr>
            </a:lvl1pPr>
            <a:lvl2pPr marL="448094" indent="0">
              <a:buNone/>
              <a:defRPr>
                <a:latin typeface="Verdana" panose="020B0604030504040204" pitchFamily="34" charset="0"/>
                <a:ea typeface="Verdana" panose="020B0604030504040204" pitchFamily="34" charset="0"/>
                <a:cs typeface="Verdana" panose="020B0604030504040204" pitchFamily="34" charset="0"/>
              </a:defRPr>
            </a:lvl2pPr>
            <a:lvl3pPr marL="896187" indent="0">
              <a:buNone/>
              <a:defRPr>
                <a:latin typeface="Verdana" panose="020B0604030504040204" pitchFamily="34" charset="0"/>
                <a:ea typeface="Verdana" panose="020B0604030504040204" pitchFamily="34" charset="0"/>
                <a:cs typeface="Verdana" panose="020B0604030504040204" pitchFamily="34" charset="0"/>
              </a:defRPr>
            </a:lvl3pPr>
            <a:lvl4pPr marL="1344281" indent="0">
              <a:buNone/>
              <a:defRPr>
                <a:latin typeface="Verdana" panose="020B0604030504040204" pitchFamily="34" charset="0"/>
                <a:ea typeface="Verdana" panose="020B0604030504040204" pitchFamily="34" charset="0"/>
                <a:cs typeface="Verdana" panose="020B0604030504040204" pitchFamily="34" charset="0"/>
              </a:defRPr>
            </a:lvl4pPr>
            <a:lvl5pPr marL="179237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slide / project name </a:t>
            </a:r>
          </a:p>
        </p:txBody>
      </p:sp>
      <p:grpSp>
        <p:nvGrpSpPr>
          <p:cNvPr id="2" name="Group 1"/>
          <p:cNvGrpSpPr/>
          <p:nvPr userDrawn="1"/>
        </p:nvGrpSpPr>
        <p:grpSpPr>
          <a:xfrm>
            <a:off x="0" y="6308918"/>
            <a:ext cx="12192000" cy="546260"/>
            <a:chOff x="-914" y="7151568"/>
            <a:chExt cx="10059988" cy="619222"/>
          </a:xfrm>
        </p:grpSpPr>
        <p:pic>
          <p:nvPicPr>
            <p:cNvPr id="18" name="Afbeelding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 y="7151568"/>
              <a:ext cx="10059988" cy="619222"/>
            </a:xfrm>
            <a:prstGeom prst="rect">
              <a:avLst/>
            </a:prstGeom>
          </p:spPr>
        </p:pic>
        <p:sp>
          <p:nvSpPr>
            <p:cNvPr id="7"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225">
                  <a:solidFill>
                    <a:srgbClr val="0069B4"/>
                  </a:solidFill>
                </a:rPr>
                <a:t>For Internal Use Only</a:t>
              </a:r>
            </a:p>
          </p:txBody>
        </p:sp>
      </p:grpSp>
      <p:sp>
        <p:nvSpPr>
          <p:cNvPr id="9" name="Text Box 27"/>
          <p:cNvSpPr txBox="1">
            <a:spLocks noChangeArrowheads="1"/>
          </p:cNvSpPr>
          <p:nvPr userDrawn="1"/>
        </p:nvSpPr>
        <p:spPr bwMode="auto">
          <a:xfrm>
            <a:off x="11362822" y="6488847"/>
            <a:ext cx="1043045" cy="248812"/>
          </a:xfrm>
          <a:prstGeom prst="rect">
            <a:avLst/>
          </a:prstGeom>
          <a:noFill/>
          <a:ln w="9525" algn="ctr">
            <a:noFill/>
            <a:miter lim="800000"/>
            <a:headEnd/>
            <a:tailEnd/>
          </a:ln>
          <a:effectLst/>
        </p:spPr>
        <p:txBody>
          <a:bodyPr wrap="square" lIns="89623" tIns="44812" rIns="89623" bIns="44812" anchor="b">
            <a:spAutoFit/>
          </a:bodyPr>
          <a:lstStyle/>
          <a:p>
            <a:pPr>
              <a:lnSpc>
                <a:spcPct val="90000"/>
              </a:lnSpc>
            </a:pPr>
            <a:r>
              <a:rPr lang="en-US" sz="1143">
                <a:solidFill>
                  <a:prstClr val="white">
                    <a:lumMod val="50000"/>
                  </a:prstClr>
                </a:solidFill>
              </a:rPr>
              <a:t>     </a:t>
            </a:r>
            <a:fld id="{27E0A068-2F96-4452-B6AF-D7C6C78D01BA}" type="slidenum">
              <a:rPr lang="en-US" sz="1028" smtClean="0">
                <a:solidFill>
                  <a:srgbClr val="0070C0"/>
                </a:solidFill>
              </a:rPr>
              <a:pPr>
                <a:lnSpc>
                  <a:spcPct val="90000"/>
                </a:lnSpc>
              </a:pPr>
              <a:t>‹#›</a:t>
            </a:fld>
            <a:endParaRPr lang="en-US" sz="1028">
              <a:solidFill>
                <a:srgbClr val="0070C0"/>
              </a:solidFill>
            </a:endParaRPr>
          </a:p>
        </p:txBody>
      </p:sp>
    </p:spTree>
    <p:extLst>
      <p:ext uri="{BB962C8B-B14F-4D97-AF65-F5344CB8AC3E}">
        <p14:creationId xmlns:p14="http://schemas.microsoft.com/office/powerpoint/2010/main" val="277137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ISC Dashboar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520398"/>
          </a:xfrm>
          <a:prstGeom prst="rect">
            <a:avLst/>
          </a:prstGeom>
        </p:spPr>
        <p:txBody>
          <a:bodyPr>
            <a:normAutofit/>
          </a:bodyPr>
          <a:lstStyle>
            <a:lvl1pPr>
              <a:defRPr sz="2001"/>
            </a:lvl1pPr>
          </a:lstStyle>
          <a:p>
            <a:r>
              <a:rPr lang="en-US"/>
              <a:t>Click to edit Master title style</a:t>
            </a:r>
            <a:endParaRPr lang="en-GB"/>
          </a:p>
        </p:txBody>
      </p:sp>
      <p:sp>
        <p:nvSpPr>
          <p:cNvPr id="6" name="Text Box 27"/>
          <p:cNvSpPr txBox="1">
            <a:spLocks noChangeArrowheads="1"/>
          </p:cNvSpPr>
          <p:nvPr userDrawn="1"/>
        </p:nvSpPr>
        <p:spPr bwMode="auto">
          <a:xfrm>
            <a:off x="11464633" y="6476384"/>
            <a:ext cx="1043045" cy="225863"/>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925">
                <a:solidFill>
                  <a:prstClr val="white">
                    <a:lumMod val="50000"/>
                  </a:prstClr>
                </a:solidFill>
              </a:rPr>
              <a:t>     </a:t>
            </a:r>
            <a:fld id="{27E0A068-2F96-4452-B6AF-D7C6C78D01BA}" type="slidenum">
              <a:rPr lang="en-US" sz="925" smtClean="0">
                <a:solidFill>
                  <a:srgbClr val="0070C0"/>
                </a:solidFill>
              </a:rPr>
              <a:pPr>
                <a:lnSpc>
                  <a:spcPct val="90000"/>
                </a:lnSpc>
              </a:pPr>
              <a:t>‹#›</a:t>
            </a:fld>
            <a:endParaRPr lang="en-US" sz="925">
              <a:solidFill>
                <a:srgbClr val="0070C0"/>
              </a:solidFill>
            </a:endParaRPr>
          </a:p>
        </p:txBody>
      </p:sp>
    </p:spTree>
    <p:extLst>
      <p:ext uri="{BB962C8B-B14F-4D97-AF65-F5344CB8AC3E}">
        <p14:creationId xmlns:p14="http://schemas.microsoft.com/office/powerpoint/2010/main" val="192359225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ijdelijke aanduiding voor afbeelding 7"/>
          <p:cNvSpPr>
            <a:spLocks noGrp="1"/>
          </p:cNvSpPr>
          <p:nvPr>
            <p:ph type="pic" sz="quarter" idx="10" hasCustomPrompt="1"/>
          </p:nvPr>
        </p:nvSpPr>
        <p:spPr>
          <a:xfrm>
            <a:off x="-12298" y="2881312"/>
            <a:ext cx="12204299" cy="3290888"/>
          </a:xfrm>
          <a:prstGeom prst="rect">
            <a:avLst/>
          </a:prstGeom>
          <a:solidFill>
            <a:schemeClr val="bg1">
              <a:lumMod val="85000"/>
              <a:alpha val="99000"/>
            </a:schemeClr>
          </a:solidFill>
        </p:spPr>
        <p:txBody>
          <a:bodyPr/>
          <a:lstStyle>
            <a:lvl1pPr marL="0" indent="0">
              <a:buNone/>
              <a:defRPr sz="1400">
                <a:solidFill>
                  <a:srgbClr val="0069B4"/>
                </a:solidFill>
                <a:latin typeface="+mn-lt"/>
                <a:ea typeface="Verdana" panose="020B0604030504040204" pitchFamily="34" charset="0"/>
                <a:cs typeface="Verdana" panose="020B0604030504040204" pitchFamily="34" charset="0"/>
              </a:defRPr>
            </a:lvl1pPr>
          </a:lstStyle>
          <a:p>
            <a:r>
              <a:rPr lang="nl-NL"/>
              <a:t>Click on </a:t>
            </a:r>
            <a:r>
              <a:rPr lang="nl-NL" err="1"/>
              <a:t>the</a:t>
            </a:r>
            <a:r>
              <a:rPr lang="nl-NL"/>
              <a:t> icon </a:t>
            </a:r>
            <a:r>
              <a:rPr lang="nl-NL" err="1"/>
              <a:t>to</a:t>
            </a:r>
            <a:r>
              <a:rPr lang="nl-NL"/>
              <a:t> </a:t>
            </a:r>
            <a:r>
              <a:rPr lang="nl-NL" err="1"/>
              <a:t>insert</a:t>
            </a:r>
            <a:r>
              <a:rPr lang="nl-NL"/>
              <a:t> </a:t>
            </a:r>
            <a:r>
              <a:rPr lang="nl-NL" err="1"/>
              <a:t>an</a:t>
            </a:r>
            <a:r>
              <a:rPr lang="nl-NL"/>
              <a:t> image</a:t>
            </a:r>
            <a:endParaRPr lang="en-GB"/>
          </a:p>
        </p:txBody>
      </p:sp>
      <p:sp>
        <p:nvSpPr>
          <p:cNvPr id="11" name="Tijdelijke aanduiding voor tekst 10"/>
          <p:cNvSpPr>
            <a:spLocks noGrp="1"/>
          </p:cNvSpPr>
          <p:nvPr>
            <p:ph type="body" sz="quarter" idx="16" hasCustomPrompt="1"/>
          </p:nvPr>
        </p:nvSpPr>
        <p:spPr>
          <a:xfrm>
            <a:off x="6775940" y="1990725"/>
            <a:ext cx="4892431" cy="342900"/>
          </a:xfrm>
          <a:prstGeom prst="rect">
            <a:avLst/>
          </a:prstGeom>
        </p:spPr>
        <p:txBody>
          <a:bodyPr anchor="b"/>
          <a:lstStyle>
            <a:lvl1pPr marL="0" indent="0" algn="r">
              <a:lnSpc>
                <a:spcPts val="1800"/>
              </a:lnSpc>
              <a:spcBef>
                <a:spcPts val="0"/>
              </a:spcBef>
              <a:buNone/>
              <a:defRPr sz="1800" baseline="0">
                <a:solidFill>
                  <a:srgbClr val="0069B4"/>
                </a:solidFill>
                <a:latin typeface="+mn-lt"/>
              </a:defRPr>
            </a:lvl1pPr>
          </a:lstStyle>
          <a:p>
            <a:pPr lvl="0"/>
            <a:r>
              <a:rPr lang="en-US"/>
              <a:t>Click to add name speaker</a:t>
            </a:r>
            <a:endParaRPr lang="nl-NL"/>
          </a:p>
        </p:txBody>
      </p:sp>
      <p:sp>
        <p:nvSpPr>
          <p:cNvPr id="31" name="Tijdelijke aanduiding voor tekst 10"/>
          <p:cNvSpPr>
            <a:spLocks noGrp="1"/>
          </p:cNvSpPr>
          <p:nvPr>
            <p:ph type="body" sz="quarter" idx="17" hasCustomPrompt="1"/>
          </p:nvPr>
        </p:nvSpPr>
        <p:spPr>
          <a:xfrm>
            <a:off x="6775563" y="2343150"/>
            <a:ext cx="4892431" cy="228601"/>
          </a:xfrm>
          <a:prstGeom prst="rect">
            <a:avLst/>
          </a:prstGeom>
        </p:spPr>
        <p:txBody>
          <a:bodyPr anchor="b"/>
          <a:lstStyle>
            <a:lvl1pPr marL="0" indent="0" algn="r">
              <a:lnSpc>
                <a:spcPts val="1600"/>
              </a:lnSpc>
              <a:spcBef>
                <a:spcPts val="0"/>
              </a:spcBef>
              <a:buNone/>
              <a:defRPr sz="1400" baseline="0">
                <a:solidFill>
                  <a:srgbClr val="0069B4"/>
                </a:solidFill>
                <a:latin typeface="+mn-lt"/>
              </a:defRPr>
            </a:lvl1pPr>
          </a:lstStyle>
          <a:p>
            <a:pPr lvl="0"/>
            <a:r>
              <a:rPr lang="en-US"/>
              <a:t>Click to add job title</a:t>
            </a:r>
            <a:endParaRPr lang="nl-NL"/>
          </a:p>
        </p:txBody>
      </p:sp>
      <p:sp>
        <p:nvSpPr>
          <p:cNvPr id="12" name="Tijdelijke aanduiding voor tekst 14"/>
          <p:cNvSpPr>
            <a:spLocks noGrp="1"/>
          </p:cNvSpPr>
          <p:nvPr>
            <p:ph type="body" sz="quarter" idx="18" hasCustomPrompt="1"/>
          </p:nvPr>
        </p:nvSpPr>
        <p:spPr>
          <a:xfrm>
            <a:off x="645262" y="504826"/>
            <a:ext cx="11022732" cy="963537"/>
          </a:xfrm>
          <a:prstGeom prst="rect">
            <a:avLst/>
          </a:prstGeom>
        </p:spPr>
        <p:txBody>
          <a:bodyPr lIns="0" tIns="0" rIns="0" bIns="0" anchor="b" anchorCtr="0"/>
          <a:lstStyle>
            <a:lvl1pPr marL="0" indent="0">
              <a:lnSpc>
                <a:spcPts val="3800"/>
              </a:lnSpc>
              <a:spcBef>
                <a:spcPts val="0"/>
              </a:spcBef>
              <a:buNone/>
              <a:defRPr sz="3800" b="0" baseline="0">
                <a:solidFill>
                  <a:srgbClr val="0069B4"/>
                </a:solidFill>
                <a:latin typeface="+mn-lt"/>
                <a:ea typeface="Verdana" panose="020B0604030504040204" pitchFamily="34" charset="0"/>
                <a:cs typeface="Verdana" panose="020B060403050404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6" name="Tijdelijke aanduiding voor tekst 16"/>
          <p:cNvSpPr>
            <a:spLocks noGrp="1"/>
          </p:cNvSpPr>
          <p:nvPr>
            <p:ph type="body" sz="quarter" idx="19" hasCustomPrompt="1"/>
          </p:nvPr>
        </p:nvSpPr>
        <p:spPr>
          <a:xfrm>
            <a:off x="644816" y="1495423"/>
            <a:ext cx="7702014" cy="514352"/>
          </a:xfrm>
          <a:prstGeom prst="rect">
            <a:avLst/>
          </a:prstGeom>
        </p:spPr>
        <p:txBody>
          <a:bodyPr lIns="0" tIns="0" rIns="0" bIns="0" anchor="t"/>
          <a:lstStyle>
            <a:lvl1pPr marL="0" indent="0">
              <a:lnSpc>
                <a:spcPts val="1800"/>
              </a:lnSpc>
              <a:spcBef>
                <a:spcPts val="0"/>
              </a:spcBef>
              <a:buNone/>
              <a:defRPr sz="1600">
                <a:solidFill>
                  <a:srgbClr val="0069B4"/>
                </a:solidFill>
                <a:latin typeface="+mn-lt"/>
                <a:ea typeface="Verdana" panose="020B0604030504040204" pitchFamily="34" charset="0"/>
                <a:cs typeface="Verdana" panose="020B060403050404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sp>
        <p:nvSpPr>
          <p:cNvPr id="2" name="Rectangle 1">
            <a:extLst>
              <a:ext uri="{FF2B5EF4-FFF2-40B4-BE49-F238E27FC236}">
                <a16:creationId xmlns:a16="http://schemas.microsoft.com/office/drawing/2014/main" id="{8E1FDDA3-3436-4633-912A-B2880423648C}"/>
              </a:ext>
            </a:extLst>
          </p:cNvPr>
          <p:cNvSpPr/>
          <p:nvPr/>
        </p:nvSpPr>
        <p:spPr>
          <a:xfrm>
            <a:off x="3666392" y="6531120"/>
            <a:ext cx="4859216" cy="23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500" b="1" i="0">
                <a:solidFill>
                  <a:srgbClr val="1DB7D2"/>
                </a:solidFill>
                <a:effectLst/>
                <a:latin typeface="Arial-BoldMT"/>
              </a:rPr>
              <a:t>STRICTLY CONFIDENTIAL    </a:t>
            </a:r>
          </a:p>
          <a:p>
            <a:pPr algn="ctr"/>
            <a:r>
              <a:rPr lang="en-GB" sz="500" b="0" i="0">
                <a:solidFill>
                  <a:srgbClr val="1DB7D2"/>
                </a:solidFill>
                <a:effectLst/>
                <a:latin typeface="ArialMT"/>
              </a:rPr>
              <a:t>The content of this document may not be disclosed to third parties without prior consent</a:t>
            </a:r>
            <a:endParaRPr lang="en-US" sz="1200">
              <a:solidFill>
                <a:srgbClr val="1DB7D2"/>
              </a:solidFill>
              <a:latin typeface="+mn-lt"/>
            </a:endParaRPr>
          </a:p>
        </p:txBody>
      </p:sp>
    </p:spTree>
    <p:extLst>
      <p:ext uri="{BB962C8B-B14F-4D97-AF65-F5344CB8AC3E}">
        <p14:creationId xmlns:p14="http://schemas.microsoft.com/office/powerpoint/2010/main" val="86227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94579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en-US"/>
              <a:t>Click to edit Master title style</a:t>
            </a:r>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3885500427"/>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ptop vide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endParaRPr lang="en-US" noProof="0"/>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endParaRPr lang="en-US" noProof="0"/>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3277319" y="1898249"/>
            <a:ext cx="5718742" cy="3755982"/>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noProof="0"/>
            </a:p>
          </p:txBody>
        </p:sp>
      </p:grpSp>
      <p:sp>
        <p:nvSpPr>
          <p:cNvPr id="10" name="Media Placeholder 9">
            <a:extLst>
              <a:ext uri="{FF2B5EF4-FFF2-40B4-BE49-F238E27FC236}">
                <a16:creationId xmlns:a16="http://schemas.microsoft.com/office/drawing/2014/main" id="{A6C3A0F0-27BB-4883-B60B-CFCD69CCC8D5}"/>
              </a:ext>
            </a:extLst>
          </p:cNvPr>
          <p:cNvSpPr>
            <a:spLocks noGrp="1"/>
          </p:cNvSpPr>
          <p:nvPr>
            <p:ph type="media" sz="quarter" idx="12" hasCustomPrompt="1"/>
          </p:nvPr>
        </p:nvSpPr>
        <p:spPr>
          <a:xfrm>
            <a:off x="4017964" y="2287588"/>
            <a:ext cx="4191000" cy="2595562"/>
          </a:xfrm>
          <a:prstGeom prst="rect">
            <a:avLst/>
          </a:prstGeom>
          <a:pattFill prst="dkUpDiag">
            <a:fgClr>
              <a:schemeClr val="bg1">
                <a:lumMod val="75000"/>
              </a:schemeClr>
            </a:fgClr>
            <a:bgClr>
              <a:schemeClr val="bg1">
                <a:lumMod val="95000"/>
              </a:schemeClr>
            </a:bgClr>
          </a:pattFill>
        </p:spPr>
        <p:txBody>
          <a:bodyPr tIns="180000"/>
          <a:lstStyle>
            <a:lvl1pPr marL="0" marR="0" indent="0" algn="ctr" defTabSz="913943" rtl="0" eaLnBrk="1" fontAlgn="auto" latinLnBrk="0" hangingPunct="1">
              <a:lnSpc>
                <a:spcPct val="90000"/>
              </a:lnSpc>
              <a:spcBef>
                <a:spcPts val="999"/>
              </a:spcBef>
              <a:spcAft>
                <a:spcPts val="0"/>
              </a:spcAft>
              <a:buClrTx/>
              <a:buSzTx/>
              <a:buFont typeface="Arial" panose="020B0604020202020204" pitchFamily="34" charset="0"/>
              <a:buNone/>
              <a:tabLst/>
              <a:defRPr lang="en-US" sz="1599"/>
            </a:lvl1pPr>
          </a:lstStyle>
          <a:p>
            <a:pPr marL="285607" marR="0" lvl="0" indent="-285607" algn="ctr" defTabSz="913943" rtl="0" eaLnBrk="1" fontAlgn="auto" latinLnBrk="0" hangingPunct="1">
              <a:lnSpc>
                <a:spcPct val="90000"/>
              </a:lnSpc>
              <a:spcBef>
                <a:spcPts val="999"/>
              </a:spcBef>
              <a:spcAft>
                <a:spcPts val="0"/>
              </a:spcAft>
              <a:buClrTx/>
              <a:buSzTx/>
              <a:tabLst/>
              <a:defRPr/>
            </a:pPr>
            <a:r>
              <a:rPr lang="nl-NL" noProof="0"/>
              <a:t>Klik op pictogram om media in te voegen
</a:t>
            </a:r>
            <a:endParaRPr lang="en-US" noProof="0"/>
          </a:p>
        </p:txBody>
      </p:sp>
    </p:spTree>
    <p:extLst>
      <p:ext uri="{BB962C8B-B14F-4D97-AF65-F5344CB8AC3E}">
        <p14:creationId xmlns:p14="http://schemas.microsoft.com/office/powerpoint/2010/main" val="200993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en-US"/>
              <a:t>Click to edit Master title style</a:t>
            </a:r>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780053194"/>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59432004"/>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en-US"/>
              <a:t>Click icon to add picture</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1132780610"/>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01661257"/>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6" name="Rectangle 3">
            <a:extLst>
              <a:ext uri="{FF2B5EF4-FFF2-40B4-BE49-F238E27FC236}">
                <a16:creationId xmlns:a16="http://schemas.microsoft.com/office/drawing/2014/main" id="{EC16DB9C-26B9-41CE-A127-2109A267A9B4}"/>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84120910"/>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8" name="Straight Connector 17">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7" name="Text Placeholder 3"/>
          <p:cNvSpPr>
            <a:spLocks noGrp="1"/>
          </p:cNvSpPr>
          <p:nvPr>
            <p:ph type="body" sz="quarter" idx="21" hasCustomPrompt="1"/>
          </p:nvPr>
        </p:nvSpPr>
        <p:spPr>
          <a:xfrm>
            <a:off x="593356" y="644396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4" name="Rectangle 3">
            <a:extLst>
              <a:ext uri="{FF2B5EF4-FFF2-40B4-BE49-F238E27FC236}">
                <a16:creationId xmlns:a16="http://schemas.microsoft.com/office/drawing/2014/main" id="{C5332697-6497-46D5-B15B-2A10D4356243}"/>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04034041"/>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en-US"/>
              <a:t>Click icon to add chart</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4" name="Straight Connector 13">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C3B11A42-AA8E-4E52-81E3-41213D91E4FB}"/>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55235760"/>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en-US"/>
              <a:t>Click icon to add chart</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en-US"/>
              <a:t>Click icon to add chart</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8"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A82A3887-D000-42D8-B495-979F3B7B93A1}"/>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93232089"/>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en-US"/>
              <a:t>Click icon to add chart</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en-US"/>
              <a:t>Click icon to add chart</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en-US"/>
              <a:t>Click icon to add chart</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7" name="Straight Connector 16">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0"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F701385B-1472-4FD0-A714-B8ECCDF64E99}"/>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00196692"/>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en-US"/>
              <a:t>Click icon to add chart</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en-US"/>
              <a:t>Click icon to add chart</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en-US"/>
              <a:t>Click icon to add chart</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en-US"/>
              <a:t>Click icon to add chart</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6" name="Straight Connector 15">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1" name="Text Placeholder 3"/>
          <p:cNvSpPr>
            <a:spLocks noGrp="1"/>
          </p:cNvSpPr>
          <p:nvPr>
            <p:ph type="body" sz="quarter" idx="23"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C923CB7B-922D-44A6-B6CE-9D3F93EA432D}"/>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6718691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ptop XL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endParaRPr lang="en-US" noProof="0"/>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endParaRPr lang="en-US" noProof="0"/>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2174336" y="1452622"/>
            <a:ext cx="7843329" cy="5151378"/>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noProof="0"/>
            </a:p>
          </p:txBody>
        </p:sp>
      </p:grpSp>
      <p:sp>
        <p:nvSpPr>
          <p:cNvPr id="9" name="Picture Placeholder 8">
            <a:extLst>
              <a:ext uri="{FF2B5EF4-FFF2-40B4-BE49-F238E27FC236}">
                <a16:creationId xmlns:a16="http://schemas.microsoft.com/office/drawing/2014/main" id="{F8E80370-8790-4863-AB9C-02FC64D074B3}"/>
              </a:ext>
            </a:extLst>
          </p:cNvPr>
          <p:cNvSpPr>
            <a:spLocks noGrp="1"/>
          </p:cNvSpPr>
          <p:nvPr>
            <p:ph type="pic" sz="quarter" idx="12" hasCustomPrompt="1"/>
          </p:nvPr>
        </p:nvSpPr>
        <p:spPr>
          <a:xfrm>
            <a:off x="3184587" y="1986646"/>
            <a:ext cx="5751070" cy="3569202"/>
          </a:xfrm>
          <a:prstGeom prst="rect">
            <a:avLst/>
          </a:prstGeom>
          <a:pattFill prst="dkUpDiag">
            <a:fgClr>
              <a:schemeClr val="bg1">
                <a:lumMod val="75000"/>
              </a:schemeClr>
            </a:fgClr>
            <a:bgClr>
              <a:schemeClr val="bg1">
                <a:lumMod val="95000"/>
              </a:schemeClr>
            </a:bgClr>
          </a:pattFill>
        </p:spPr>
        <p:txBody>
          <a:bodyPr tIns="180000"/>
          <a:lstStyle>
            <a:lvl1pPr marL="0" indent="0" algn="ctr">
              <a:buFont typeface="Arial" panose="020B0604020202020204" pitchFamily="34" charset="0"/>
              <a:buNone/>
              <a:defRPr sz="1599"/>
            </a:lvl1pPr>
          </a:lstStyle>
          <a:p>
            <a:r>
              <a:rPr lang="nl-NL" noProof="0"/>
              <a:t>Klik op pictogram om een afbeelding in te voegen
</a:t>
            </a:r>
            <a:endParaRPr lang="en-US" noProof="0"/>
          </a:p>
        </p:txBody>
      </p:sp>
    </p:spTree>
    <p:extLst>
      <p:ext uri="{BB962C8B-B14F-4D97-AF65-F5344CB8AC3E}">
        <p14:creationId xmlns:p14="http://schemas.microsoft.com/office/powerpoint/2010/main" val="393405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en-US"/>
              <a:t>Click icon to add chart</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2"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3AF2D0C2-83EC-4C53-91C7-3F7427ADDFCB}"/>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340021097"/>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en-US"/>
              <a:t>Click icon to add picture</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8" name="Text Placeholder 3"/>
          <p:cNvSpPr>
            <a:spLocks noGrp="1"/>
          </p:cNvSpPr>
          <p:nvPr>
            <p:ph type="body" sz="quarter" idx="22"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25AF3D32-F391-4EF5-AF02-19F52E643072}"/>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139544975"/>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en-US"/>
              <a:t>Click icon to add chart</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en-US"/>
              <a:t>Click icon to add picture</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8" name="Straight Connector 17">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9" name="Text Placeholder 3"/>
          <p:cNvSpPr>
            <a:spLocks noGrp="1"/>
          </p:cNvSpPr>
          <p:nvPr>
            <p:ph type="body" sz="quarter" idx="23"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F9A45DED-12C6-4556-AED7-4487E291DD7F}"/>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38039236"/>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15" name="Straight Connector 14">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179417F9-0A53-4521-A6B4-A656E99DE2CC}"/>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324740249"/>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6D1B1241-2629-4DC2-AEDD-A5F2BD20EF88}"/>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70126371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7"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120613B4-5379-4006-ACAC-FF3404B33EA4}"/>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96567349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en-US"/>
              <a:t>Click to edit Master text styles</a:t>
            </a:r>
          </a:p>
          <a:p>
            <a:pPr lvl="1"/>
            <a:r>
              <a:rPr lang="en-US"/>
              <a:t>Second level</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en-US"/>
              <a:t>Click to edit Master title style</a:t>
            </a:r>
          </a:p>
        </p:txBody>
      </p:sp>
      <p:cxnSp>
        <p:nvCxnSpPr>
          <p:cNvPr id="22" name="Straight Connector 21">
            <a:extLst>
              <a:ext uri="{FF2B5EF4-FFF2-40B4-BE49-F238E27FC236}">
                <a16:creationId xmlns:a16="http://schemas.microsoft.com/office/drawing/2014/main" id="{902CA1FF-D4A3-4E32-993A-B5BDCEB42C81}"/>
              </a:ext>
            </a:extLst>
          </p:cNvPr>
          <p:cNvCxnSpPr/>
          <p:nvPr/>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14" name="Text Placeholder 3"/>
          <p:cNvSpPr>
            <a:spLocks noGrp="1"/>
          </p:cNvSpPr>
          <p:nvPr>
            <p:ph type="body" sz="quarter" idx="21" hasCustomPrompt="1"/>
          </p:nvPr>
        </p:nvSpPr>
        <p:spPr>
          <a:xfrm>
            <a:off x="593356" y="6401431"/>
            <a:ext cx="11040533" cy="480725"/>
          </a:xfrm>
          <a:prstGeom prst="rect">
            <a:avLst/>
          </a:prstGeom>
        </p:spPr>
        <p:txBody>
          <a:bodyPr lIns="0" tIns="0" rIns="0" bIns="0" anchor="ctr" anchorCtr="1"/>
          <a:lstStyle>
            <a:lvl1pPr marL="0" marR="0" indent="0" algn="ctr"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sz="1000" b="1"/>
            </a:lvl1pPr>
          </a:lstStyle>
          <a:p>
            <a:pPr marL="0" marR="0" lvl="0" indent="0" algn="l" defTabSz="685783" rtl="0" eaLnBrk="1" fontAlgn="auto" latinLnBrk="0" hangingPunct="1">
              <a:lnSpc>
                <a:spcPct val="108000"/>
              </a:lnSpc>
              <a:spcBef>
                <a:spcPts val="750"/>
              </a:spcBef>
              <a:spcAft>
                <a:spcPts val="0"/>
              </a:spcAft>
              <a:buClr>
                <a:schemeClr val="accent1"/>
              </a:buClr>
              <a:buSzPct val="100000"/>
              <a:buFont typeface="Arial" panose="020B0604020202020204" pitchFamily="34" charset="0"/>
              <a:buNone/>
              <a:tabLst/>
              <a:defRPr/>
            </a:pPr>
            <a:r>
              <a:rPr lang="en-US"/>
              <a:t>For professional investors only</a:t>
            </a:r>
            <a:endParaRPr lang="en-GB"/>
          </a:p>
        </p:txBody>
      </p:sp>
      <p:sp>
        <p:nvSpPr>
          <p:cNvPr id="2" name="Rectangle 3">
            <a:extLst>
              <a:ext uri="{FF2B5EF4-FFF2-40B4-BE49-F238E27FC236}">
                <a16:creationId xmlns:a16="http://schemas.microsoft.com/office/drawing/2014/main" id="{B0C8BCA0-F792-43F9-BB14-CFC19A2035A2}"/>
              </a:ext>
            </a:extLst>
          </p:cNvPr>
          <p:cNvSpPr/>
          <p:nvPr/>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069792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graphicFrame>
        <p:nvGraphicFramePr>
          <p:cNvPr id="4" name="Object 66" hidden="1"/>
          <p:cNvGraphicFramePr>
            <a:graphicFrameLocks/>
          </p:cNvGraphicFramePr>
          <p:nvPr>
            <p:custDataLst>
              <p:tags r:id="rId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18" imgW="360" imgH="360" progId="TCLayout.ActiveDocument.1">
                  <p:embed/>
                </p:oleObj>
              </mc:Choice>
              <mc:Fallback>
                <p:oleObj name="think-cell Slide" r:id="rId18" imgW="360" imgH="360" progId="TCLayout.ActiveDocument.1">
                  <p:embed/>
                  <p:pic>
                    <p:nvPicPr>
                      <p:cNvPr id="4" name="Object 66" hidden="1"/>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oup 27"/>
          <p:cNvGrpSpPr>
            <a:grpSpLocks noChangeAspect="1"/>
          </p:cNvGrpSpPr>
          <p:nvPr>
            <p:custDataLst>
              <p:tags r:id="rId2"/>
            </p:custDataLst>
          </p:nvPr>
        </p:nvGrpSpPr>
        <p:grpSpPr bwMode="auto">
          <a:xfrm>
            <a:off x="0" y="3429000"/>
            <a:ext cx="8619067" cy="1631950"/>
            <a:chOff x="0" y="2382"/>
            <a:chExt cx="4762" cy="1134"/>
          </a:xfrm>
        </p:grpSpPr>
        <p:sp>
          <p:nvSpPr>
            <p:cNvPr id="6" name="AutoShape 28"/>
            <p:cNvSpPr>
              <a:spLocks noChangeAspect="1" noChangeArrowheads="1" noTextEdit="1"/>
            </p:cNvSpPr>
            <p:nvPr/>
          </p:nvSpPr>
          <p:spPr bwMode="auto">
            <a:xfrm>
              <a:off x="0" y="2382"/>
              <a:ext cx="4762" cy="1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sz="1800"/>
            </a:p>
          </p:txBody>
        </p:sp>
        <p:sp>
          <p:nvSpPr>
            <p:cNvPr id="7" name="Freeform 29"/>
            <p:cNvSpPr>
              <a:spLocks/>
            </p:cNvSpPr>
            <p:nvPr/>
          </p:nvSpPr>
          <p:spPr bwMode="auto">
            <a:xfrm>
              <a:off x="0" y="2382"/>
              <a:ext cx="4762" cy="1134"/>
            </a:xfrm>
            <a:custGeom>
              <a:avLst/>
              <a:gdLst>
                <a:gd name="T0" fmla="*/ 1792 w 4762"/>
                <a:gd name="T1" fmla="*/ 1134 h 1134"/>
                <a:gd name="T2" fmla="*/ 4762 w 4762"/>
                <a:gd name="T3" fmla="*/ 1134 h 1134"/>
                <a:gd name="T4" fmla="*/ 4762 w 4762"/>
                <a:gd name="T5" fmla="*/ 160 h 1134"/>
                <a:gd name="T6" fmla="*/ 4602 w 4762"/>
                <a:gd name="T7" fmla="*/ 0 h 1134"/>
                <a:gd name="T8" fmla="*/ 0 w 4762"/>
                <a:gd name="T9" fmla="*/ 0 h 1134"/>
                <a:gd name="T10" fmla="*/ 0 w 4762"/>
                <a:gd name="T11" fmla="*/ 1134 h 1134"/>
                <a:gd name="T12" fmla="*/ 1792 w 4762"/>
                <a:gd name="T13" fmla="*/ 1134 h 1134"/>
                <a:gd name="T14" fmla="*/ 1792 w 4762"/>
                <a:gd name="T15" fmla="*/ 1134 h 1134"/>
                <a:gd name="T16" fmla="*/ 1792 w 4762"/>
                <a:gd name="T17" fmla="*/ 1134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62" h="1134">
                  <a:moveTo>
                    <a:pt x="1792" y="1134"/>
                  </a:moveTo>
                  <a:lnTo>
                    <a:pt x="4762" y="1134"/>
                  </a:lnTo>
                  <a:lnTo>
                    <a:pt x="4762" y="160"/>
                  </a:lnTo>
                  <a:lnTo>
                    <a:pt x="4602" y="0"/>
                  </a:lnTo>
                  <a:lnTo>
                    <a:pt x="0" y="0"/>
                  </a:lnTo>
                  <a:lnTo>
                    <a:pt x="0" y="1134"/>
                  </a:lnTo>
                  <a:lnTo>
                    <a:pt x="1792" y="1134"/>
                  </a:lnTo>
                  <a:close/>
                </a:path>
              </a:pathLst>
            </a:custGeom>
            <a:gradFill rotWithShape="1">
              <a:gsLst>
                <a:gs pos="0">
                  <a:srgbClr val="BBBEC3"/>
                </a:gs>
                <a:gs pos="100000">
                  <a:srgbClr val="82959E"/>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800"/>
            </a:p>
          </p:txBody>
        </p:sp>
      </p:grpSp>
      <p:sp>
        <p:nvSpPr>
          <p:cNvPr id="8" name="Rectangle 30"/>
          <p:cNvSpPr>
            <a:spLocks noChangeArrowheads="1"/>
          </p:cNvSpPr>
          <p:nvPr>
            <p:custDataLst>
              <p:tags r:id="rId3"/>
            </p:custDataLst>
          </p:nvPr>
        </p:nvSpPr>
        <p:spPr bwMode="auto">
          <a:xfrm>
            <a:off x="3467100" y="3021017"/>
            <a:ext cx="8722784" cy="407987"/>
          </a:xfrm>
          <a:prstGeom prst="rect">
            <a:avLst/>
          </a:prstGeom>
          <a:gradFill rotWithShape="1">
            <a:gsLst>
              <a:gs pos="0">
                <a:srgbClr val="F8F8F8">
                  <a:alpha val="20000"/>
                </a:srgbClr>
              </a:gs>
              <a:gs pos="100000">
                <a:srgbClr val="BBBEC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7756" tIns="38878" rIns="77756" bIns="38878" anchor="ctr"/>
          <a:lstStyle>
            <a:lvl1pPr defTabSz="777875" eaLnBrk="0" hangingPunct="0">
              <a:defRPr>
                <a:solidFill>
                  <a:schemeClr val="tx1"/>
                </a:solidFill>
                <a:latin typeface="Calibri" pitchFamily="34" charset="0"/>
                <a:cs typeface="Arial" pitchFamily="34" charset="0"/>
              </a:defRPr>
            </a:lvl1pPr>
            <a:lvl2pPr defTabSz="777875" eaLnBrk="0" hangingPunct="0">
              <a:defRPr>
                <a:solidFill>
                  <a:schemeClr val="tx1"/>
                </a:solidFill>
                <a:latin typeface="Calibri" pitchFamily="34" charset="0"/>
                <a:cs typeface="Arial" pitchFamily="34" charset="0"/>
              </a:defRPr>
            </a:lvl2pPr>
            <a:lvl3pPr defTabSz="777875" eaLnBrk="0" hangingPunct="0">
              <a:defRPr>
                <a:solidFill>
                  <a:schemeClr val="tx1"/>
                </a:solidFill>
                <a:latin typeface="Calibri" pitchFamily="34" charset="0"/>
                <a:cs typeface="Arial" pitchFamily="34" charset="0"/>
              </a:defRPr>
            </a:lvl3pPr>
            <a:lvl4pPr defTabSz="777875" eaLnBrk="0" hangingPunct="0">
              <a:defRPr>
                <a:solidFill>
                  <a:schemeClr val="tx1"/>
                </a:solidFill>
                <a:latin typeface="Calibri" pitchFamily="34" charset="0"/>
                <a:cs typeface="Arial" pitchFamily="34" charset="0"/>
              </a:defRPr>
            </a:lvl4pPr>
            <a:lvl5pPr defTabSz="777875" eaLnBrk="0" hangingPunct="0">
              <a:defRPr>
                <a:solidFill>
                  <a:schemeClr val="tx1"/>
                </a:solidFill>
                <a:latin typeface="Calibri" pitchFamily="34" charset="0"/>
                <a:cs typeface="Arial" pitchFamily="34" charset="0"/>
              </a:defRPr>
            </a:lvl5pPr>
            <a:lvl6pPr marL="2276475" indent="3175" defTabSz="777875" eaLnBrk="0" fontAlgn="base" hangingPunct="0">
              <a:spcBef>
                <a:spcPct val="0"/>
              </a:spcBef>
              <a:spcAft>
                <a:spcPct val="0"/>
              </a:spcAft>
              <a:defRPr>
                <a:solidFill>
                  <a:schemeClr val="tx1"/>
                </a:solidFill>
                <a:latin typeface="Calibri" pitchFamily="34" charset="0"/>
                <a:cs typeface="Arial" pitchFamily="34" charset="0"/>
              </a:defRPr>
            </a:lvl6pPr>
            <a:lvl7pPr marL="2733675" indent="3175" defTabSz="777875" eaLnBrk="0" fontAlgn="base" hangingPunct="0">
              <a:spcBef>
                <a:spcPct val="0"/>
              </a:spcBef>
              <a:spcAft>
                <a:spcPct val="0"/>
              </a:spcAft>
              <a:defRPr>
                <a:solidFill>
                  <a:schemeClr val="tx1"/>
                </a:solidFill>
                <a:latin typeface="Calibri" pitchFamily="34" charset="0"/>
                <a:cs typeface="Arial" pitchFamily="34" charset="0"/>
              </a:defRPr>
            </a:lvl7pPr>
            <a:lvl8pPr marL="3190875" indent="3175" defTabSz="777875" eaLnBrk="0" fontAlgn="base" hangingPunct="0">
              <a:spcBef>
                <a:spcPct val="0"/>
              </a:spcBef>
              <a:spcAft>
                <a:spcPct val="0"/>
              </a:spcAft>
              <a:defRPr>
                <a:solidFill>
                  <a:schemeClr val="tx1"/>
                </a:solidFill>
                <a:latin typeface="Calibri" pitchFamily="34" charset="0"/>
                <a:cs typeface="Arial" pitchFamily="34" charset="0"/>
              </a:defRPr>
            </a:lvl8pPr>
            <a:lvl9pPr marL="3648075" indent="3175" defTabSz="777875"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nl-NL" altLang="nl-NL" sz="1600">
              <a:solidFill>
                <a:srgbClr val="000000"/>
              </a:solidFill>
              <a:latin typeface="Arial" pitchFamily="34" charset="0"/>
              <a:ea typeface="+mn-ea"/>
            </a:endParaRPr>
          </a:p>
        </p:txBody>
      </p:sp>
      <p:sp>
        <p:nvSpPr>
          <p:cNvPr id="9" name="Rectangle 32"/>
          <p:cNvSpPr>
            <a:spLocks noChangeArrowheads="1"/>
          </p:cNvSpPr>
          <p:nvPr>
            <p:custDataLst>
              <p:tags r:id="rId4"/>
            </p:custDataLst>
          </p:nvPr>
        </p:nvSpPr>
        <p:spPr bwMode="auto">
          <a:xfrm>
            <a:off x="3" y="3021017"/>
            <a:ext cx="3467100" cy="407987"/>
          </a:xfrm>
          <a:prstGeom prst="rect">
            <a:avLst/>
          </a:prstGeom>
          <a:gradFill rotWithShape="1">
            <a:gsLst>
              <a:gs pos="0">
                <a:srgbClr val="BBBEC3"/>
              </a:gs>
              <a:gs pos="100000">
                <a:srgbClr val="F8F8F8">
                  <a:alpha val="20000"/>
                </a:srgb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7756" tIns="38878" rIns="77756" bIns="38878" anchor="ctr"/>
          <a:lstStyle>
            <a:lvl1pPr defTabSz="777875" eaLnBrk="0" hangingPunct="0">
              <a:defRPr>
                <a:solidFill>
                  <a:schemeClr val="tx1"/>
                </a:solidFill>
                <a:latin typeface="Calibri" pitchFamily="34" charset="0"/>
                <a:cs typeface="Arial" pitchFamily="34" charset="0"/>
              </a:defRPr>
            </a:lvl1pPr>
            <a:lvl2pPr defTabSz="777875" eaLnBrk="0" hangingPunct="0">
              <a:defRPr>
                <a:solidFill>
                  <a:schemeClr val="tx1"/>
                </a:solidFill>
                <a:latin typeface="Calibri" pitchFamily="34" charset="0"/>
                <a:cs typeface="Arial" pitchFamily="34" charset="0"/>
              </a:defRPr>
            </a:lvl2pPr>
            <a:lvl3pPr defTabSz="777875" eaLnBrk="0" hangingPunct="0">
              <a:defRPr>
                <a:solidFill>
                  <a:schemeClr val="tx1"/>
                </a:solidFill>
                <a:latin typeface="Calibri" pitchFamily="34" charset="0"/>
                <a:cs typeface="Arial" pitchFamily="34" charset="0"/>
              </a:defRPr>
            </a:lvl3pPr>
            <a:lvl4pPr defTabSz="777875" eaLnBrk="0" hangingPunct="0">
              <a:defRPr>
                <a:solidFill>
                  <a:schemeClr val="tx1"/>
                </a:solidFill>
                <a:latin typeface="Calibri" pitchFamily="34" charset="0"/>
                <a:cs typeface="Arial" pitchFamily="34" charset="0"/>
              </a:defRPr>
            </a:lvl4pPr>
            <a:lvl5pPr defTabSz="777875" eaLnBrk="0" hangingPunct="0">
              <a:defRPr>
                <a:solidFill>
                  <a:schemeClr val="tx1"/>
                </a:solidFill>
                <a:latin typeface="Calibri" pitchFamily="34" charset="0"/>
                <a:cs typeface="Arial" pitchFamily="34" charset="0"/>
              </a:defRPr>
            </a:lvl5pPr>
            <a:lvl6pPr marL="2276475" indent="3175" defTabSz="777875" eaLnBrk="0" fontAlgn="base" hangingPunct="0">
              <a:spcBef>
                <a:spcPct val="0"/>
              </a:spcBef>
              <a:spcAft>
                <a:spcPct val="0"/>
              </a:spcAft>
              <a:defRPr>
                <a:solidFill>
                  <a:schemeClr val="tx1"/>
                </a:solidFill>
                <a:latin typeface="Calibri" pitchFamily="34" charset="0"/>
                <a:cs typeface="Arial" pitchFamily="34" charset="0"/>
              </a:defRPr>
            </a:lvl6pPr>
            <a:lvl7pPr marL="2733675" indent="3175" defTabSz="777875" eaLnBrk="0" fontAlgn="base" hangingPunct="0">
              <a:spcBef>
                <a:spcPct val="0"/>
              </a:spcBef>
              <a:spcAft>
                <a:spcPct val="0"/>
              </a:spcAft>
              <a:defRPr>
                <a:solidFill>
                  <a:schemeClr val="tx1"/>
                </a:solidFill>
                <a:latin typeface="Calibri" pitchFamily="34" charset="0"/>
                <a:cs typeface="Arial" pitchFamily="34" charset="0"/>
              </a:defRPr>
            </a:lvl7pPr>
            <a:lvl8pPr marL="3190875" indent="3175" defTabSz="777875" eaLnBrk="0" fontAlgn="base" hangingPunct="0">
              <a:spcBef>
                <a:spcPct val="0"/>
              </a:spcBef>
              <a:spcAft>
                <a:spcPct val="0"/>
              </a:spcAft>
              <a:defRPr>
                <a:solidFill>
                  <a:schemeClr val="tx1"/>
                </a:solidFill>
                <a:latin typeface="Calibri" pitchFamily="34" charset="0"/>
                <a:cs typeface="Arial" pitchFamily="34" charset="0"/>
              </a:defRPr>
            </a:lvl8pPr>
            <a:lvl9pPr marL="3648075" indent="3175" defTabSz="777875"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nl-NL" altLang="nl-NL" sz="1600">
              <a:solidFill>
                <a:srgbClr val="000000"/>
              </a:solidFill>
              <a:latin typeface="Arial" pitchFamily="34" charset="0"/>
              <a:ea typeface="+mn-ea"/>
            </a:endParaRPr>
          </a:p>
        </p:txBody>
      </p:sp>
      <p:grpSp>
        <p:nvGrpSpPr>
          <p:cNvPr id="10" name="Group 37"/>
          <p:cNvGrpSpPr>
            <a:grpSpLocks/>
          </p:cNvGrpSpPr>
          <p:nvPr>
            <p:custDataLst>
              <p:tags r:id="rId5"/>
            </p:custDataLst>
          </p:nvPr>
        </p:nvGrpSpPr>
        <p:grpSpPr bwMode="auto">
          <a:xfrm>
            <a:off x="8616951" y="3429000"/>
            <a:ext cx="3572933" cy="1631950"/>
            <a:chOff x="4764" y="2382"/>
            <a:chExt cx="1972" cy="1134"/>
          </a:xfrm>
        </p:grpSpPr>
        <p:sp>
          <p:nvSpPr>
            <p:cNvPr id="11" name="AutoShape 38"/>
            <p:cNvSpPr>
              <a:spLocks noChangeArrowheads="1" noTextEdit="1"/>
            </p:cNvSpPr>
            <p:nvPr/>
          </p:nvSpPr>
          <p:spPr bwMode="auto">
            <a:xfrm>
              <a:off x="4764" y="2382"/>
              <a:ext cx="1972" cy="1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sz="1800"/>
            </a:p>
          </p:txBody>
        </p:sp>
        <p:sp>
          <p:nvSpPr>
            <p:cNvPr id="12" name="Freeform 39"/>
            <p:cNvSpPr>
              <a:spLocks/>
            </p:cNvSpPr>
            <p:nvPr/>
          </p:nvSpPr>
          <p:spPr bwMode="auto">
            <a:xfrm>
              <a:off x="4764" y="2382"/>
              <a:ext cx="1972" cy="1134"/>
            </a:xfrm>
            <a:custGeom>
              <a:avLst/>
              <a:gdLst>
                <a:gd name="T0" fmla="*/ 1972 w 1972"/>
                <a:gd name="T1" fmla="*/ 0 h 1134"/>
                <a:gd name="T2" fmla="*/ 1972 w 1972"/>
                <a:gd name="T3" fmla="*/ 1134 h 1134"/>
                <a:gd name="T4" fmla="*/ 1972 w 1972"/>
                <a:gd name="T5" fmla="*/ 1134 h 1134"/>
                <a:gd name="T6" fmla="*/ 1972 w 1972"/>
                <a:gd name="T7" fmla="*/ 1134 h 1134"/>
                <a:gd name="T8" fmla="*/ 0 w 1972"/>
                <a:gd name="T9" fmla="*/ 1134 h 1134"/>
                <a:gd name="T10" fmla="*/ 0 w 1972"/>
                <a:gd name="T11" fmla="*/ 160 h 1134"/>
                <a:gd name="T12" fmla="*/ 0 w 1972"/>
                <a:gd name="T13" fmla="*/ 160 h 1134"/>
                <a:gd name="T14" fmla="*/ 160 w 1972"/>
                <a:gd name="T15" fmla="*/ 0 h 1134"/>
                <a:gd name="T16" fmla="*/ 1972 w 1972"/>
                <a:gd name="T17" fmla="*/ 0 h 1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72" h="1134">
                  <a:moveTo>
                    <a:pt x="1972" y="0"/>
                  </a:moveTo>
                  <a:lnTo>
                    <a:pt x="1972" y="1134"/>
                  </a:lnTo>
                  <a:lnTo>
                    <a:pt x="0" y="1134"/>
                  </a:lnTo>
                  <a:lnTo>
                    <a:pt x="0" y="160"/>
                  </a:lnTo>
                  <a:lnTo>
                    <a:pt x="160" y="0"/>
                  </a:lnTo>
                  <a:lnTo>
                    <a:pt x="1972" y="0"/>
                  </a:lnTo>
                  <a:close/>
                </a:path>
              </a:pathLst>
            </a:custGeom>
            <a:gradFill rotWithShape="0">
              <a:gsLst>
                <a:gs pos="0">
                  <a:srgbClr val="009286"/>
                </a:gs>
                <a:gs pos="100000">
                  <a:srgbClr val="00BEAE"/>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sz="1800"/>
            </a:p>
          </p:txBody>
        </p:sp>
        <p:sp>
          <p:nvSpPr>
            <p:cNvPr id="13" name="Freeform 40"/>
            <p:cNvSpPr>
              <a:spLocks/>
            </p:cNvSpPr>
            <p:nvPr/>
          </p:nvSpPr>
          <p:spPr bwMode="auto">
            <a:xfrm>
              <a:off x="4764" y="2382"/>
              <a:ext cx="1972" cy="1134"/>
            </a:xfrm>
            <a:custGeom>
              <a:avLst/>
              <a:gdLst>
                <a:gd name="T0" fmla="*/ 1972 w 1972"/>
                <a:gd name="T1" fmla="*/ 0 h 1134"/>
                <a:gd name="T2" fmla="*/ 1972 w 1972"/>
                <a:gd name="T3" fmla="*/ 1134 h 1134"/>
                <a:gd name="T4" fmla="*/ 1972 w 1972"/>
                <a:gd name="T5" fmla="*/ 1134 h 1134"/>
                <a:gd name="T6" fmla="*/ 1972 w 1972"/>
                <a:gd name="T7" fmla="*/ 1134 h 1134"/>
                <a:gd name="T8" fmla="*/ 0 w 1972"/>
                <a:gd name="T9" fmla="*/ 1134 h 1134"/>
                <a:gd name="T10" fmla="*/ 0 w 1972"/>
                <a:gd name="T11" fmla="*/ 160 h 1134"/>
                <a:gd name="T12" fmla="*/ 0 w 1972"/>
                <a:gd name="T13" fmla="*/ 160 h 1134"/>
                <a:gd name="T14" fmla="*/ 160 w 1972"/>
                <a:gd name="T15" fmla="*/ 0 h 113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72" h="1134">
                  <a:moveTo>
                    <a:pt x="1972" y="0"/>
                  </a:moveTo>
                  <a:lnTo>
                    <a:pt x="1972" y="1134"/>
                  </a:lnTo>
                  <a:lnTo>
                    <a:pt x="0" y="1134"/>
                  </a:lnTo>
                  <a:lnTo>
                    <a:pt x="0" y="160"/>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nl-NL" sz="1800"/>
            </a:p>
          </p:txBody>
        </p:sp>
      </p:grpSp>
      <p:sp>
        <p:nvSpPr>
          <p:cNvPr id="14" name="Rectangle 31"/>
          <p:cNvSpPr>
            <a:spLocks noChangeArrowheads="1"/>
          </p:cNvSpPr>
          <p:nvPr>
            <p:custDataLst>
              <p:tags r:id="rId6"/>
            </p:custDataLst>
          </p:nvPr>
        </p:nvSpPr>
        <p:spPr bwMode="auto">
          <a:xfrm>
            <a:off x="3" y="4246566"/>
            <a:ext cx="5930900" cy="1436687"/>
          </a:xfrm>
          <a:prstGeom prst="rect">
            <a:avLst/>
          </a:prstGeom>
          <a:gradFill rotWithShape="1">
            <a:gsLst>
              <a:gs pos="0">
                <a:srgbClr val="005E5D">
                  <a:alpha val="39999"/>
                </a:srgbClr>
              </a:gs>
              <a:gs pos="100000">
                <a:srgbClr val="009286">
                  <a:alpha val="0"/>
                </a:srgb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7756" tIns="38878" rIns="77756" bIns="38878" anchor="ctr"/>
          <a:lstStyle>
            <a:lvl1pPr defTabSz="777875" eaLnBrk="0" hangingPunct="0">
              <a:defRPr>
                <a:solidFill>
                  <a:schemeClr val="tx1"/>
                </a:solidFill>
                <a:latin typeface="Calibri" pitchFamily="34" charset="0"/>
                <a:cs typeface="Arial" pitchFamily="34" charset="0"/>
              </a:defRPr>
            </a:lvl1pPr>
            <a:lvl2pPr defTabSz="777875" eaLnBrk="0" hangingPunct="0">
              <a:defRPr>
                <a:solidFill>
                  <a:schemeClr val="tx1"/>
                </a:solidFill>
                <a:latin typeface="Calibri" pitchFamily="34" charset="0"/>
                <a:cs typeface="Arial" pitchFamily="34" charset="0"/>
              </a:defRPr>
            </a:lvl2pPr>
            <a:lvl3pPr defTabSz="777875" eaLnBrk="0" hangingPunct="0">
              <a:defRPr>
                <a:solidFill>
                  <a:schemeClr val="tx1"/>
                </a:solidFill>
                <a:latin typeface="Calibri" pitchFamily="34" charset="0"/>
                <a:cs typeface="Arial" pitchFamily="34" charset="0"/>
              </a:defRPr>
            </a:lvl3pPr>
            <a:lvl4pPr defTabSz="777875" eaLnBrk="0" hangingPunct="0">
              <a:defRPr>
                <a:solidFill>
                  <a:schemeClr val="tx1"/>
                </a:solidFill>
                <a:latin typeface="Calibri" pitchFamily="34" charset="0"/>
                <a:cs typeface="Arial" pitchFamily="34" charset="0"/>
              </a:defRPr>
            </a:lvl4pPr>
            <a:lvl5pPr defTabSz="777875" eaLnBrk="0" hangingPunct="0">
              <a:defRPr>
                <a:solidFill>
                  <a:schemeClr val="tx1"/>
                </a:solidFill>
                <a:latin typeface="Calibri" pitchFamily="34" charset="0"/>
                <a:cs typeface="Arial" pitchFamily="34" charset="0"/>
              </a:defRPr>
            </a:lvl5pPr>
            <a:lvl6pPr marL="2276475" indent="3175" defTabSz="777875" eaLnBrk="0" fontAlgn="base" hangingPunct="0">
              <a:spcBef>
                <a:spcPct val="0"/>
              </a:spcBef>
              <a:spcAft>
                <a:spcPct val="0"/>
              </a:spcAft>
              <a:defRPr>
                <a:solidFill>
                  <a:schemeClr val="tx1"/>
                </a:solidFill>
                <a:latin typeface="Calibri" pitchFamily="34" charset="0"/>
                <a:cs typeface="Arial" pitchFamily="34" charset="0"/>
              </a:defRPr>
            </a:lvl6pPr>
            <a:lvl7pPr marL="2733675" indent="3175" defTabSz="777875" eaLnBrk="0" fontAlgn="base" hangingPunct="0">
              <a:spcBef>
                <a:spcPct val="0"/>
              </a:spcBef>
              <a:spcAft>
                <a:spcPct val="0"/>
              </a:spcAft>
              <a:defRPr>
                <a:solidFill>
                  <a:schemeClr val="tx1"/>
                </a:solidFill>
                <a:latin typeface="Calibri" pitchFamily="34" charset="0"/>
                <a:cs typeface="Arial" pitchFamily="34" charset="0"/>
              </a:defRPr>
            </a:lvl7pPr>
            <a:lvl8pPr marL="3190875" indent="3175" defTabSz="777875" eaLnBrk="0" fontAlgn="base" hangingPunct="0">
              <a:spcBef>
                <a:spcPct val="0"/>
              </a:spcBef>
              <a:spcAft>
                <a:spcPct val="0"/>
              </a:spcAft>
              <a:defRPr>
                <a:solidFill>
                  <a:schemeClr val="tx1"/>
                </a:solidFill>
                <a:latin typeface="Calibri" pitchFamily="34" charset="0"/>
                <a:cs typeface="Arial" pitchFamily="34" charset="0"/>
              </a:defRPr>
            </a:lvl8pPr>
            <a:lvl9pPr marL="3648075" indent="3175" defTabSz="777875"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nl-NL" altLang="nl-NL" sz="1600">
              <a:solidFill>
                <a:srgbClr val="000000"/>
              </a:solidFill>
              <a:latin typeface="Arial" pitchFamily="34" charset="0"/>
              <a:ea typeface="+mn-ea"/>
            </a:endParaRPr>
          </a:p>
        </p:txBody>
      </p:sp>
      <p:grpSp>
        <p:nvGrpSpPr>
          <p:cNvPr id="15" name="Group 42"/>
          <p:cNvGrpSpPr>
            <a:grpSpLocks/>
          </p:cNvGrpSpPr>
          <p:nvPr>
            <p:custDataLst>
              <p:tags r:id="rId7"/>
            </p:custDataLst>
          </p:nvPr>
        </p:nvGrpSpPr>
        <p:grpSpPr bwMode="auto">
          <a:xfrm>
            <a:off x="0" y="4733929"/>
            <a:ext cx="7139517" cy="327025"/>
            <a:chOff x="0" y="3288"/>
            <a:chExt cx="3945" cy="227"/>
          </a:xfrm>
        </p:grpSpPr>
        <p:sp>
          <p:nvSpPr>
            <p:cNvPr id="16" name="Rectangle 34"/>
            <p:cNvSpPr>
              <a:spLocks noChangeArrowheads="1"/>
            </p:cNvSpPr>
            <p:nvPr/>
          </p:nvSpPr>
          <p:spPr bwMode="auto">
            <a:xfrm>
              <a:off x="0" y="3288"/>
              <a:ext cx="2029" cy="227"/>
            </a:xfrm>
            <a:prstGeom prst="rect">
              <a:avLst/>
            </a:prstGeom>
            <a:gradFill rotWithShape="1">
              <a:gsLst>
                <a:gs pos="0">
                  <a:srgbClr val="6CC0B8"/>
                </a:gs>
                <a:gs pos="100000">
                  <a:srgbClr val="006480">
                    <a:alpha val="50000"/>
                  </a:srgb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777875" eaLnBrk="0" hangingPunct="0">
                <a:defRPr>
                  <a:solidFill>
                    <a:schemeClr val="tx1"/>
                  </a:solidFill>
                  <a:latin typeface="Calibri" pitchFamily="34" charset="0"/>
                  <a:cs typeface="Arial" pitchFamily="34" charset="0"/>
                </a:defRPr>
              </a:lvl1pPr>
              <a:lvl2pPr defTabSz="777875" eaLnBrk="0" hangingPunct="0">
                <a:defRPr>
                  <a:solidFill>
                    <a:schemeClr val="tx1"/>
                  </a:solidFill>
                  <a:latin typeface="Calibri" pitchFamily="34" charset="0"/>
                  <a:cs typeface="Arial" pitchFamily="34" charset="0"/>
                </a:defRPr>
              </a:lvl2pPr>
              <a:lvl3pPr defTabSz="777875" eaLnBrk="0" hangingPunct="0">
                <a:defRPr>
                  <a:solidFill>
                    <a:schemeClr val="tx1"/>
                  </a:solidFill>
                  <a:latin typeface="Calibri" pitchFamily="34" charset="0"/>
                  <a:cs typeface="Arial" pitchFamily="34" charset="0"/>
                </a:defRPr>
              </a:lvl3pPr>
              <a:lvl4pPr defTabSz="777875" eaLnBrk="0" hangingPunct="0">
                <a:defRPr>
                  <a:solidFill>
                    <a:schemeClr val="tx1"/>
                  </a:solidFill>
                  <a:latin typeface="Calibri" pitchFamily="34" charset="0"/>
                  <a:cs typeface="Arial" pitchFamily="34" charset="0"/>
                </a:defRPr>
              </a:lvl4pPr>
              <a:lvl5pPr defTabSz="777875" eaLnBrk="0" hangingPunct="0">
                <a:defRPr>
                  <a:solidFill>
                    <a:schemeClr val="tx1"/>
                  </a:solidFill>
                  <a:latin typeface="Calibri" pitchFamily="34" charset="0"/>
                  <a:cs typeface="Arial" pitchFamily="34" charset="0"/>
                </a:defRPr>
              </a:lvl5pPr>
              <a:lvl6pPr marL="2276475" indent="3175" defTabSz="777875" eaLnBrk="0" fontAlgn="base" hangingPunct="0">
                <a:spcBef>
                  <a:spcPct val="0"/>
                </a:spcBef>
                <a:spcAft>
                  <a:spcPct val="0"/>
                </a:spcAft>
                <a:defRPr>
                  <a:solidFill>
                    <a:schemeClr val="tx1"/>
                  </a:solidFill>
                  <a:latin typeface="Calibri" pitchFamily="34" charset="0"/>
                  <a:cs typeface="Arial" pitchFamily="34" charset="0"/>
                </a:defRPr>
              </a:lvl6pPr>
              <a:lvl7pPr marL="2733675" indent="3175" defTabSz="777875" eaLnBrk="0" fontAlgn="base" hangingPunct="0">
                <a:spcBef>
                  <a:spcPct val="0"/>
                </a:spcBef>
                <a:spcAft>
                  <a:spcPct val="0"/>
                </a:spcAft>
                <a:defRPr>
                  <a:solidFill>
                    <a:schemeClr val="tx1"/>
                  </a:solidFill>
                  <a:latin typeface="Calibri" pitchFamily="34" charset="0"/>
                  <a:cs typeface="Arial" pitchFamily="34" charset="0"/>
                </a:defRPr>
              </a:lvl7pPr>
              <a:lvl8pPr marL="3190875" indent="3175" defTabSz="777875" eaLnBrk="0" fontAlgn="base" hangingPunct="0">
                <a:spcBef>
                  <a:spcPct val="0"/>
                </a:spcBef>
                <a:spcAft>
                  <a:spcPct val="0"/>
                </a:spcAft>
                <a:defRPr>
                  <a:solidFill>
                    <a:schemeClr val="tx1"/>
                  </a:solidFill>
                  <a:latin typeface="Calibri" pitchFamily="34" charset="0"/>
                  <a:cs typeface="Arial" pitchFamily="34" charset="0"/>
                </a:defRPr>
              </a:lvl8pPr>
              <a:lvl9pPr marL="3648075" indent="3175" defTabSz="777875"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nl-NL" altLang="nl-NL" sz="1600">
                <a:solidFill>
                  <a:srgbClr val="000000"/>
                </a:solidFill>
                <a:latin typeface="Arial" pitchFamily="34" charset="0"/>
                <a:ea typeface="+mn-ea"/>
              </a:endParaRPr>
            </a:p>
          </p:txBody>
        </p:sp>
        <p:sp>
          <p:nvSpPr>
            <p:cNvPr id="17" name="Rectangle 35"/>
            <p:cNvSpPr>
              <a:spLocks noChangeArrowheads="1"/>
            </p:cNvSpPr>
            <p:nvPr/>
          </p:nvSpPr>
          <p:spPr bwMode="auto">
            <a:xfrm>
              <a:off x="2029" y="3288"/>
              <a:ext cx="1916" cy="227"/>
            </a:xfrm>
            <a:prstGeom prst="rect">
              <a:avLst/>
            </a:prstGeom>
            <a:gradFill rotWithShape="1">
              <a:gsLst>
                <a:gs pos="0">
                  <a:srgbClr val="006480">
                    <a:alpha val="50000"/>
                  </a:srgbClr>
                </a:gs>
                <a:gs pos="100000">
                  <a:srgbClr val="FFFFFF">
                    <a:alpha val="0"/>
                  </a:srgb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777875" eaLnBrk="0" hangingPunct="0">
                <a:defRPr>
                  <a:solidFill>
                    <a:schemeClr val="tx1"/>
                  </a:solidFill>
                  <a:latin typeface="Calibri" pitchFamily="34" charset="0"/>
                  <a:cs typeface="Arial" pitchFamily="34" charset="0"/>
                </a:defRPr>
              </a:lvl1pPr>
              <a:lvl2pPr defTabSz="777875" eaLnBrk="0" hangingPunct="0">
                <a:defRPr>
                  <a:solidFill>
                    <a:schemeClr val="tx1"/>
                  </a:solidFill>
                  <a:latin typeface="Calibri" pitchFamily="34" charset="0"/>
                  <a:cs typeface="Arial" pitchFamily="34" charset="0"/>
                </a:defRPr>
              </a:lvl2pPr>
              <a:lvl3pPr defTabSz="777875" eaLnBrk="0" hangingPunct="0">
                <a:defRPr>
                  <a:solidFill>
                    <a:schemeClr val="tx1"/>
                  </a:solidFill>
                  <a:latin typeface="Calibri" pitchFamily="34" charset="0"/>
                  <a:cs typeface="Arial" pitchFamily="34" charset="0"/>
                </a:defRPr>
              </a:lvl3pPr>
              <a:lvl4pPr defTabSz="777875" eaLnBrk="0" hangingPunct="0">
                <a:defRPr>
                  <a:solidFill>
                    <a:schemeClr val="tx1"/>
                  </a:solidFill>
                  <a:latin typeface="Calibri" pitchFamily="34" charset="0"/>
                  <a:cs typeface="Arial" pitchFamily="34" charset="0"/>
                </a:defRPr>
              </a:lvl4pPr>
              <a:lvl5pPr defTabSz="777875" eaLnBrk="0" hangingPunct="0">
                <a:defRPr>
                  <a:solidFill>
                    <a:schemeClr val="tx1"/>
                  </a:solidFill>
                  <a:latin typeface="Calibri" pitchFamily="34" charset="0"/>
                  <a:cs typeface="Arial" pitchFamily="34" charset="0"/>
                </a:defRPr>
              </a:lvl5pPr>
              <a:lvl6pPr marL="2276475" indent="3175" defTabSz="777875" eaLnBrk="0" fontAlgn="base" hangingPunct="0">
                <a:spcBef>
                  <a:spcPct val="0"/>
                </a:spcBef>
                <a:spcAft>
                  <a:spcPct val="0"/>
                </a:spcAft>
                <a:defRPr>
                  <a:solidFill>
                    <a:schemeClr val="tx1"/>
                  </a:solidFill>
                  <a:latin typeface="Calibri" pitchFamily="34" charset="0"/>
                  <a:cs typeface="Arial" pitchFamily="34" charset="0"/>
                </a:defRPr>
              </a:lvl6pPr>
              <a:lvl7pPr marL="2733675" indent="3175" defTabSz="777875" eaLnBrk="0" fontAlgn="base" hangingPunct="0">
                <a:spcBef>
                  <a:spcPct val="0"/>
                </a:spcBef>
                <a:spcAft>
                  <a:spcPct val="0"/>
                </a:spcAft>
                <a:defRPr>
                  <a:solidFill>
                    <a:schemeClr val="tx1"/>
                  </a:solidFill>
                  <a:latin typeface="Calibri" pitchFamily="34" charset="0"/>
                  <a:cs typeface="Arial" pitchFamily="34" charset="0"/>
                </a:defRPr>
              </a:lvl7pPr>
              <a:lvl8pPr marL="3190875" indent="3175" defTabSz="777875" eaLnBrk="0" fontAlgn="base" hangingPunct="0">
                <a:spcBef>
                  <a:spcPct val="0"/>
                </a:spcBef>
                <a:spcAft>
                  <a:spcPct val="0"/>
                </a:spcAft>
                <a:defRPr>
                  <a:solidFill>
                    <a:schemeClr val="tx1"/>
                  </a:solidFill>
                  <a:latin typeface="Calibri" pitchFamily="34" charset="0"/>
                  <a:cs typeface="Arial" pitchFamily="34" charset="0"/>
                </a:defRPr>
              </a:lvl8pPr>
              <a:lvl9pPr marL="3648075" indent="3175" defTabSz="777875"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nl-NL" altLang="nl-NL" sz="1600">
                <a:solidFill>
                  <a:srgbClr val="000000"/>
                </a:solidFill>
                <a:latin typeface="Arial" pitchFamily="34" charset="0"/>
                <a:ea typeface="+mn-ea"/>
              </a:endParaRPr>
            </a:p>
          </p:txBody>
        </p:sp>
      </p:grpSp>
      <p:pic>
        <p:nvPicPr>
          <p:cNvPr id="18" name="Picture 41" descr="Verloop_A4_Landscape_300DPI"/>
          <p:cNvPicPr>
            <a:picLocks noChangeAspect="1" noChangeArrowheads="1"/>
          </p:cNvPicPr>
          <p:nvPr>
            <p:custDataLst>
              <p:tags r:id="rId8"/>
            </p:custDataLst>
          </p:nvPr>
        </p:nvPicPr>
        <p:blipFill>
          <a:blip r:embed="rId20">
            <a:extLst>
              <a:ext uri="{28A0092B-C50C-407E-A947-70E740481C1C}">
                <a14:useLocalDpi xmlns:a14="http://schemas.microsoft.com/office/drawing/2010/main" val="0"/>
              </a:ext>
            </a:extLst>
          </a:blip>
          <a:srcRect/>
          <a:stretch>
            <a:fillRect/>
          </a:stretch>
        </p:blipFill>
        <p:spPr bwMode="auto">
          <a:xfrm>
            <a:off x="0" y="0"/>
            <a:ext cx="12185651"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AutoShape 17"/>
          <p:cNvSpPr>
            <a:spLocks noChangeArrowheads="1"/>
          </p:cNvSpPr>
          <p:nvPr>
            <p:custDataLst>
              <p:tags r:id="rId9"/>
            </p:custDataLst>
          </p:nvPr>
        </p:nvSpPr>
        <p:spPr bwMode="auto">
          <a:xfrm rot="18900000">
            <a:off x="5890685" y="488954"/>
            <a:ext cx="410633" cy="327025"/>
          </a:xfrm>
          <a:prstGeom prst="rtTriangle">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68119" tIns="34045" rIns="68119" bIns="34045" anchor="ctr"/>
          <a:lstStyle>
            <a:lvl1pPr defTabSz="885825" eaLnBrk="0" hangingPunct="0">
              <a:defRPr>
                <a:solidFill>
                  <a:schemeClr val="tx1"/>
                </a:solidFill>
                <a:latin typeface="Calibri" pitchFamily="34" charset="0"/>
                <a:cs typeface="Arial" pitchFamily="34" charset="0"/>
              </a:defRPr>
            </a:lvl1pPr>
            <a:lvl2pPr defTabSz="885825" eaLnBrk="0" hangingPunct="0">
              <a:defRPr>
                <a:solidFill>
                  <a:schemeClr val="tx1"/>
                </a:solidFill>
                <a:latin typeface="Calibri" pitchFamily="34" charset="0"/>
                <a:cs typeface="Arial" pitchFamily="34" charset="0"/>
              </a:defRPr>
            </a:lvl2pPr>
            <a:lvl3pPr defTabSz="885825" eaLnBrk="0" hangingPunct="0">
              <a:defRPr>
                <a:solidFill>
                  <a:schemeClr val="tx1"/>
                </a:solidFill>
                <a:latin typeface="Calibri" pitchFamily="34" charset="0"/>
                <a:cs typeface="Arial" pitchFamily="34" charset="0"/>
              </a:defRPr>
            </a:lvl3pPr>
            <a:lvl4pPr defTabSz="885825" eaLnBrk="0" hangingPunct="0">
              <a:defRPr>
                <a:solidFill>
                  <a:schemeClr val="tx1"/>
                </a:solidFill>
                <a:latin typeface="Calibri" pitchFamily="34" charset="0"/>
                <a:cs typeface="Arial" pitchFamily="34" charset="0"/>
              </a:defRPr>
            </a:lvl4pPr>
            <a:lvl5pPr defTabSz="885825" eaLnBrk="0" hangingPunct="0">
              <a:defRPr>
                <a:solidFill>
                  <a:schemeClr val="tx1"/>
                </a:solidFill>
                <a:latin typeface="Calibri" pitchFamily="34" charset="0"/>
                <a:cs typeface="Arial" pitchFamily="34" charset="0"/>
              </a:defRPr>
            </a:lvl5pPr>
            <a:lvl6pPr marL="2276475" indent="3175" defTabSz="885825" eaLnBrk="0" fontAlgn="base" hangingPunct="0">
              <a:spcBef>
                <a:spcPct val="0"/>
              </a:spcBef>
              <a:spcAft>
                <a:spcPct val="0"/>
              </a:spcAft>
              <a:defRPr>
                <a:solidFill>
                  <a:schemeClr val="tx1"/>
                </a:solidFill>
                <a:latin typeface="Calibri" pitchFamily="34" charset="0"/>
                <a:cs typeface="Arial" pitchFamily="34" charset="0"/>
              </a:defRPr>
            </a:lvl6pPr>
            <a:lvl7pPr marL="2733675" indent="3175" defTabSz="885825" eaLnBrk="0" fontAlgn="base" hangingPunct="0">
              <a:spcBef>
                <a:spcPct val="0"/>
              </a:spcBef>
              <a:spcAft>
                <a:spcPct val="0"/>
              </a:spcAft>
              <a:defRPr>
                <a:solidFill>
                  <a:schemeClr val="tx1"/>
                </a:solidFill>
                <a:latin typeface="Calibri" pitchFamily="34" charset="0"/>
                <a:cs typeface="Arial" pitchFamily="34" charset="0"/>
              </a:defRPr>
            </a:lvl7pPr>
            <a:lvl8pPr marL="3190875" indent="3175" defTabSz="885825" eaLnBrk="0" fontAlgn="base" hangingPunct="0">
              <a:spcBef>
                <a:spcPct val="0"/>
              </a:spcBef>
              <a:spcAft>
                <a:spcPct val="0"/>
              </a:spcAft>
              <a:defRPr>
                <a:solidFill>
                  <a:schemeClr val="tx1"/>
                </a:solidFill>
                <a:latin typeface="Calibri" pitchFamily="34" charset="0"/>
                <a:cs typeface="Arial" pitchFamily="34" charset="0"/>
              </a:defRPr>
            </a:lvl8pPr>
            <a:lvl9pPr marL="3648075" indent="3175" defTabSz="885825"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endParaRPr lang="nl-NL" altLang="nl-NL" sz="1600">
              <a:solidFill>
                <a:srgbClr val="FFE37E"/>
              </a:solidFill>
              <a:latin typeface="Arial" pitchFamily="34" charset="0"/>
              <a:ea typeface="+mn-ea"/>
            </a:endParaRPr>
          </a:p>
        </p:txBody>
      </p:sp>
      <p:pic>
        <p:nvPicPr>
          <p:cNvPr id="20" name="Picture 40" descr="AA"/>
          <p:cNvPicPr>
            <a:picLocks noChangeAspect="1" noChangeArrowheads="1"/>
          </p:cNvPicPr>
          <p:nvPr>
            <p:custDataLst>
              <p:tags r:id="rId10"/>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5937252" y="325438"/>
            <a:ext cx="1657349"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doc id"/>
          <p:cNvSpPr txBox="1">
            <a:spLocks noChangeArrowheads="1"/>
          </p:cNvSpPr>
          <p:nvPr>
            <p:custDataLst>
              <p:tags r:id="rId11"/>
            </p:custDataLst>
          </p:nvPr>
        </p:nvSpPr>
        <p:spPr bwMode="auto">
          <a:xfrm>
            <a:off x="11485035" y="36513"/>
            <a:ext cx="402167"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887376" eaLnBrk="1" hangingPunct="1">
              <a:defRPr/>
            </a:pPr>
            <a:endParaRPr lang="en-US" sz="800">
              <a:solidFill>
                <a:srgbClr val="54646C"/>
              </a:solidFill>
              <a:latin typeface="Arial"/>
              <a:ea typeface="+mn-ea"/>
            </a:endParaRPr>
          </a:p>
        </p:txBody>
      </p:sp>
      <p:sp>
        <p:nvSpPr>
          <p:cNvPr id="22" name="Working Draft Text" hidden="1"/>
          <p:cNvSpPr txBox="1">
            <a:spLocks noChangeArrowheads="1"/>
          </p:cNvSpPr>
          <p:nvPr>
            <p:custDataLst>
              <p:tags r:id="rId12"/>
            </p:custDataLst>
          </p:nvPr>
        </p:nvSpPr>
        <p:spPr bwMode="auto">
          <a:xfrm>
            <a:off x="620184" y="325440"/>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87376" eaLnBrk="1" hangingPunct="1">
              <a:defRPr/>
            </a:pPr>
            <a:r>
              <a:rPr lang="en-US" sz="900" b="1">
                <a:solidFill>
                  <a:srgbClr val="006480"/>
                </a:solidFill>
                <a:latin typeface="Arial"/>
                <a:ea typeface="+mn-ea"/>
              </a:rPr>
              <a:t>WORKING DRAFT</a:t>
            </a:r>
          </a:p>
        </p:txBody>
      </p:sp>
      <p:sp>
        <p:nvSpPr>
          <p:cNvPr id="23" name="Working Draft" hidden="1"/>
          <p:cNvSpPr txBox="1">
            <a:spLocks noChangeArrowheads="1"/>
          </p:cNvSpPr>
          <p:nvPr>
            <p:custDataLst>
              <p:tags r:id="rId13"/>
            </p:custDataLst>
          </p:nvPr>
        </p:nvSpPr>
        <p:spPr bwMode="auto">
          <a:xfrm>
            <a:off x="620187" y="484190"/>
            <a:ext cx="293028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87376" eaLnBrk="1" hangingPunct="1">
              <a:defRPr/>
            </a:pPr>
            <a:r>
              <a:rPr lang="en-GB" sz="900">
                <a:solidFill>
                  <a:srgbClr val="006480"/>
                </a:solidFill>
                <a:latin typeface="Arial"/>
                <a:ea typeface="+mn-ea"/>
              </a:rPr>
              <a:t>Last Modified 19/12/2013 11:57 Romance Standard Time</a:t>
            </a:r>
            <a:endParaRPr lang="en-US" sz="900">
              <a:solidFill>
                <a:srgbClr val="006480"/>
              </a:solidFill>
              <a:latin typeface="Arial"/>
              <a:ea typeface="+mn-ea"/>
            </a:endParaRPr>
          </a:p>
        </p:txBody>
      </p:sp>
      <p:sp>
        <p:nvSpPr>
          <p:cNvPr id="24" name="Printed" hidden="1"/>
          <p:cNvSpPr txBox="1">
            <a:spLocks noChangeArrowheads="1"/>
          </p:cNvSpPr>
          <p:nvPr>
            <p:custDataLst>
              <p:tags r:id="rId14"/>
            </p:custDataLst>
          </p:nvPr>
        </p:nvSpPr>
        <p:spPr bwMode="auto">
          <a:xfrm>
            <a:off x="620186" y="644528"/>
            <a:ext cx="260968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87376" eaLnBrk="1" hangingPunct="1">
              <a:defRPr/>
            </a:pPr>
            <a:r>
              <a:rPr lang="en-GB" sz="900">
                <a:solidFill>
                  <a:srgbClr val="006480"/>
                </a:solidFill>
                <a:latin typeface="Arial"/>
                <a:ea typeface="+mn-ea"/>
              </a:rPr>
              <a:t>Printed 22/11/2013 11:51 Romance Standard Time</a:t>
            </a:r>
            <a:endParaRPr lang="en-US" sz="900">
              <a:solidFill>
                <a:srgbClr val="006480"/>
              </a:solidFill>
              <a:latin typeface="Arial"/>
              <a:ea typeface="+mn-ea"/>
            </a:endParaRPr>
          </a:p>
        </p:txBody>
      </p:sp>
      <p:grpSp>
        <p:nvGrpSpPr>
          <p:cNvPr id="25" name="Group 2" hidden="1"/>
          <p:cNvGrpSpPr>
            <a:grpSpLocks/>
          </p:cNvGrpSpPr>
          <p:nvPr>
            <p:custDataLst>
              <p:tags r:id="rId15"/>
            </p:custDataLst>
          </p:nvPr>
        </p:nvGrpSpPr>
        <p:grpSpPr bwMode="auto">
          <a:xfrm>
            <a:off x="8925988" y="4267795"/>
            <a:ext cx="3321049" cy="381417"/>
            <a:chOff x="866819" y="6341563"/>
            <a:chExt cx="5889420" cy="418979"/>
          </a:xfrm>
        </p:grpSpPr>
        <p:sp>
          <p:nvSpPr>
            <p:cNvPr id="26" name="McK Document type"/>
            <p:cNvSpPr txBox="1">
              <a:spLocks noChangeArrowheads="1"/>
            </p:cNvSpPr>
            <p:nvPr/>
          </p:nvSpPr>
          <p:spPr bwMode="auto">
            <a:xfrm>
              <a:off x="866819" y="6341563"/>
              <a:ext cx="5889420" cy="185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87376" eaLnBrk="1" hangingPunct="1">
                <a:defRPr/>
              </a:pPr>
              <a:r>
                <a:rPr lang="en-US" sz="1100">
                  <a:solidFill>
                    <a:srgbClr val="FFFFFF"/>
                  </a:solidFill>
                  <a:latin typeface="Arial"/>
                  <a:ea typeface="+mn-ea"/>
                </a:rPr>
                <a:t>Document type</a:t>
              </a:r>
            </a:p>
          </p:txBody>
        </p:sp>
        <p:sp>
          <p:nvSpPr>
            <p:cNvPr id="27" name="McK Date"/>
            <p:cNvSpPr txBox="1">
              <a:spLocks noChangeArrowheads="1"/>
            </p:cNvSpPr>
            <p:nvPr/>
          </p:nvSpPr>
          <p:spPr bwMode="auto">
            <a:xfrm>
              <a:off x="866819" y="6574594"/>
              <a:ext cx="5889420" cy="185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87376" eaLnBrk="1" hangingPunct="1">
                <a:defRPr/>
              </a:pPr>
              <a:r>
                <a:rPr lang="en-US" sz="1100">
                  <a:solidFill>
                    <a:srgbClr val="FFFFFF"/>
                  </a:solidFill>
                  <a:latin typeface="Arial"/>
                  <a:ea typeface="+mn-ea"/>
                </a:rPr>
                <a:t>Date</a:t>
              </a:r>
            </a:p>
          </p:txBody>
        </p:sp>
      </p:grpSp>
      <p:sp>
        <p:nvSpPr>
          <p:cNvPr id="28" name="McK Disclaimer" hidden="1"/>
          <p:cNvSpPr>
            <a:spLocks noChangeArrowheads="1"/>
          </p:cNvSpPr>
          <p:nvPr>
            <p:custDataLst>
              <p:tags r:id="rId16"/>
            </p:custDataLst>
          </p:nvPr>
        </p:nvSpPr>
        <p:spPr bwMode="auto">
          <a:xfrm>
            <a:off x="988485" y="6624638"/>
            <a:ext cx="6968067"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796925" eaLnBrk="0" hangingPunct="0">
              <a:defRPr>
                <a:solidFill>
                  <a:schemeClr val="tx1"/>
                </a:solidFill>
                <a:latin typeface="Calibri" pitchFamily="34" charset="0"/>
                <a:cs typeface="Arial" pitchFamily="34" charset="0"/>
              </a:defRPr>
            </a:lvl1pPr>
            <a:lvl2pPr defTabSz="796925" eaLnBrk="0" hangingPunct="0">
              <a:defRPr>
                <a:solidFill>
                  <a:schemeClr val="tx1"/>
                </a:solidFill>
                <a:latin typeface="Calibri" pitchFamily="34" charset="0"/>
                <a:cs typeface="Arial" pitchFamily="34" charset="0"/>
              </a:defRPr>
            </a:lvl2pPr>
            <a:lvl3pPr defTabSz="796925" eaLnBrk="0" hangingPunct="0">
              <a:defRPr>
                <a:solidFill>
                  <a:schemeClr val="tx1"/>
                </a:solidFill>
                <a:latin typeface="Calibri" pitchFamily="34" charset="0"/>
                <a:cs typeface="Arial" pitchFamily="34" charset="0"/>
              </a:defRPr>
            </a:lvl3pPr>
            <a:lvl4pPr defTabSz="796925" eaLnBrk="0" hangingPunct="0">
              <a:defRPr>
                <a:solidFill>
                  <a:schemeClr val="tx1"/>
                </a:solidFill>
                <a:latin typeface="Calibri" pitchFamily="34" charset="0"/>
                <a:cs typeface="Arial" pitchFamily="34" charset="0"/>
              </a:defRPr>
            </a:lvl4pPr>
            <a:lvl5pPr defTabSz="796925" eaLnBrk="0" hangingPunct="0">
              <a:defRPr>
                <a:solidFill>
                  <a:schemeClr val="tx1"/>
                </a:solidFill>
                <a:latin typeface="Calibri" pitchFamily="34" charset="0"/>
                <a:cs typeface="Arial" pitchFamily="34" charset="0"/>
              </a:defRPr>
            </a:lvl5pPr>
            <a:lvl6pPr marL="2276475" indent="3175" defTabSz="796925" eaLnBrk="0" fontAlgn="base" hangingPunct="0">
              <a:spcBef>
                <a:spcPct val="0"/>
              </a:spcBef>
              <a:spcAft>
                <a:spcPct val="0"/>
              </a:spcAft>
              <a:defRPr>
                <a:solidFill>
                  <a:schemeClr val="tx1"/>
                </a:solidFill>
                <a:latin typeface="Calibri" pitchFamily="34" charset="0"/>
                <a:cs typeface="Arial" pitchFamily="34" charset="0"/>
              </a:defRPr>
            </a:lvl6pPr>
            <a:lvl7pPr marL="2733675" indent="3175" defTabSz="796925" eaLnBrk="0" fontAlgn="base" hangingPunct="0">
              <a:spcBef>
                <a:spcPct val="0"/>
              </a:spcBef>
              <a:spcAft>
                <a:spcPct val="0"/>
              </a:spcAft>
              <a:defRPr>
                <a:solidFill>
                  <a:schemeClr val="tx1"/>
                </a:solidFill>
                <a:latin typeface="Calibri" pitchFamily="34" charset="0"/>
                <a:cs typeface="Arial" pitchFamily="34" charset="0"/>
              </a:defRPr>
            </a:lvl7pPr>
            <a:lvl8pPr marL="3190875" indent="3175" defTabSz="796925" eaLnBrk="0" fontAlgn="base" hangingPunct="0">
              <a:spcBef>
                <a:spcPct val="0"/>
              </a:spcBef>
              <a:spcAft>
                <a:spcPct val="0"/>
              </a:spcAft>
              <a:defRPr>
                <a:solidFill>
                  <a:schemeClr val="tx1"/>
                </a:solidFill>
                <a:latin typeface="Calibri" pitchFamily="34" charset="0"/>
                <a:cs typeface="Arial" pitchFamily="34" charset="0"/>
              </a:defRPr>
            </a:lvl8pPr>
            <a:lvl9pPr marL="3648075" indent="3175" defTabSz="796925" eaLnBrk="0" fontAlgn="base" hangingPunct="0">
              <a:spcBef>
                <a:spcPct val="0"/>
              </a:spcBef>
              <a:spcAft>
                <a:spcPct val="0"/>
              </a:spcAft>
              <a:defRPr>
                <a:solidFill>
                  <a:schemeClr val="tx1"/>
                </a:solidFill>
                <a:latin typeface="Calibri" pitchFamily="34" charset="0"/>
                <a:cs typeface="Arial" pitchFamily="34" charset="0"/>
              </a:defRPr>
            </a:lvl9pPr>
          </a:lstStyle>
          <a:p>
            <a:pPr>
              <a:defRPr/>
            </a:pPr>
            <a:r>
              <a:rPr lang="en-US" altLang="nl-NL" sz="800">
                <a:solidFill>
                  <a:srgbClr val="54646C"/>
                </a:solidFill>
                <a:latin typeface="Arial" pitchFamily="34" charset="0"/>
                <a:ea typeface="+mn-ea"/>
              </a:rPr>
              <a:t>CONFIDENTIAL AND PROPRIETARY</a:t>
            </a:r>
          </a:p>
        </p:txBody>
      </p:sp>
      <p:sp>
        <p:nvSpPr>
          <p:cNvPr id="13314" name="Rectangle 1026"/>
          <p:cNvSpPr>
            <a:spLocks noGrp="1" noChangeArrowheads="1"/>
          </p:cNvSpPr>
          <p:nvPr>
            <p:ph type="ctrTitle"/>
          </p:nvPr>
        </p:nvSpPr>
        <p:spPr>
          <a:xfrm>
            <a:off x="988299" y="3909695"/>
            <a:ext cx="7362933" cy="334981"/>
          </a:xfrm>
          <a:prstGeom prst="rect">
            <a:avLst/>
          </a:prstGeom>
        </p:spPr>
        <p:txBody>
          <a:bodyPr/>
          <a:lstStyle>
            <a:lvl1pPr algn="r">
              <a:defRPr sz="21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a:xfrm>
            <a:off x="5735103" y="4310391"/>
            <a:ext cx="2616128" cy="338554"/>
          </a:xfrm>
        </p:spPr>
        <p:txBody>
          <a:bodyPr anchor="b"/>
          <a:lstStyle>
            <a:lvl1pPr algn="r">
              <a:defRPr sz="1100" baseline="0">
                <a:solidFill>
                  <a:schemeClr val="bg1"/>
                </a:solidFill>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140592932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783644186"/>
              </p:ext>
            </p:extLst>
          </p:nvPr>
        </p:nvGraphicFramePr>
        <p:xfrm>
          <a:off x="0" y="5"/>
          <a:ext cx="180997" cy="14398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5"/>
                        <a:ext cx="180997" cy="143985"/>
                      </a:xfrm>
                      <a:prstGeom prst="rect">
                        <a:avLst/>
                      </a:prstGeom>
                    </p:spPr>
                  </p:pic>
                </p:oleObj>
              </mc:Fallback>
            </mc:AlternateContent>
          </a:graphicData>
        </a:graphic>
      </p:graphicFrame>
      <p:sp>
        <p:nvSpPr>
          <p:cNvPr id="7" name="Slide Number Placeholder 1"/>
          <p:cNvSpPr>
            <a:spLocks noGrp="1"/>
          </p:cNvSpPr>
          <p:nvPr>
            <p:ph type="sldNum" sz="quarter" idx="4"/>
            <p:custDataLst>
              <p:tags r:id="rId2"/>
            </p:custDataLst>
          </p:nvPr>
        </p:nvSpPr>
        <p:spPr>
          <a:xfrm>
            <a:off x="11626139" y="6566446"/>
            <a:ext cx="284012" cy="155496"/>
          </a:xfrm>
          <a:prstGeom prst="rect">
            <a:avLst/>
          </a:prstGeom>
        </p:spPr>
        <p:txBody>
          <a:bodyPr vert="horz" wrap="none" lIns="0" tIns="0" rIns="0" bIns="0" rtlCol="0" anchor="ctr">
            <a:noAutofit/>
          </a:bodyPr>
          <a:lstStyle>
            <a:lvl1pPr algn="l">
              <a:defRPr lang="en-US" sz="1000" kern="1200" baseline="0" smtClean="0">
                <a:solidFill>
                  <a:srgbClr val="79838C"/>
                </a:solidFill>
                <a:latin typeface="+mn-lt"/>
                <a:ea typeface="+mn-ea"/>
                <a:cs typeface="+mn-cs"/>
              </a:defRPr>
            </a:lvl1pPr>
          </a:lstStyle>
          <a:p>
            <a:fld id="{42C328C1-A84F-4A39-A664-DBA00541A8C6}" type="slidenum">
              <a:rPr lang="en-US" smtClean="0"/>
              <a:pPr/>
              <a:t>‹#›</a:t>
            </a:fld>
            <a:endParaRPr lang="en-US"/>
          </a:p>
        </p:txBody>
      </p:sp>
      <p:sp>
        <p:nvSpPr>
          <p:cNvPr id="6" name="Title Placeholder 2"/>
          <p:cNvSpPr>
            <a:spLocks noGrp="1" noChangeArrowheads="1"/>
          </p:cNvSpPr>
          <p:nvPr>
            <p:ph type="title"/>
            <p:custDataLst>
              <p:tags r:id="rId3"/>
            </p:custDataLst>
          </p:nvPr>
        </p:nvSpPr>
        <p:spPr bwMode="auto">
          <a:xfrm>
            <a:off x="162055" y="325989"/>
            <a:ext cx="11725484" cy="44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Tree>
    <p:extLst>
      <p:ext uri="{BB962C8B-B14F-4D97-AF65-F5344CB8AC3E}">
        <p14:creationId xmlns:p14="http://schemas.microsoft.com/office/powerpoint/2010/main" val="42508504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Zonder NB">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
            </p:custDataLst>
            <p:extLst>
              <p:ext uri="{D42A27DB-BD31-4B8C-83A1-F6EECF244321}">
                <p14:modId xmlns:p14="http://schemas.microsoft.com/office/powerpoint/2010/main" val="1568116930"/>
              </p:ext>
            </p:extLst>
          </p:nvPr>
        </p:nvGraphicFramePr>
        <p:xfrm>
          <a:off x="0" y="6"/>
          <a:ext cx="180997" cy="143985"/>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6"/>
                        <a:ext cx="180997" cy="143985"/>
                      </a:xfrm>
                      <a:prstGeom prst="rect">
                        <a:avLst/>
                      </a:prstGeom>
                    </p:spPr>
                  </p:pic>
                </p:oleObj>
              </mc:Fallback>
            </mc:AlternateContent>
          </a:graphicData>
        </a:graphic>
      </p:graphicFrame>
      <p:sp>
        <p:nvSpPr>
          <p:cNvPr id="7" name="Slide Number Placeholder 1"/>
          <p:cNvSpPr>
            <a:spLocks noGrp="1"/>
          </p:cNvSpPr>
          <p:nvPr>
            <p:ph type="sldNum" sz="quarter" idx="4"/>
          </p:nvPr>
        </p:nvSpPr>
        <p:spPr>
          <a:xfrm>
            <a:off x="11626139" y="6566446"/>
            <a:ext cx="284012" cy="155496"/>
          </a:xfrm>
          <a:prstGeom prst="rect">
            <a:avLst/>
          </a:prstGeom>
        </p:spPr>
        <p:txBody>
          <a:bodyPr vert="horz" wrap="none" lIns="0" tIns="0" rIns="0" bIns="0" rtlCol="0" anchor="ctr">
            <a:noAutofit/>
          </a:bodyPr>
          <a:lstStyle>
            <a:lvl1pPr algn="l">
              <a:defRPr lang="en-US" sz="1000" kern="1200" baseline="0" smtClean="0">
                <a:solidFill>
                  <a:srgbClr val="79838C"/>
                </a:solidFill>
                <a:latin typeface="+mn-lt"/>
                <a:ea typeface="+mn-ea"/>
                <a:cs typeface="+mn-cs"/>
              </a:defRPr>
            </a:lvl1pPr>
          </a:lstStyle>
          <a:p>
            <a:fld id="{42C328C1-A84F-4A39-A664-DBA00541A8C6}" type="slidenum">
              <a:rPr/>
              <a:pPr/>
              <a:t>‹#›</a:t>
            </a:fld>
            <a:endParaRPr/>
          </a:p>
        </p:txBody>
      </p:sp>
      <p:sp>
        <p:nvSpPr>
          <p:cNvPr id="6" name="Title Placeholder 2"/>
          <p:cNvSpPr>
            <a:spLocks noGrp="1" noChangeArrowheads="1"/>
          </p:cNvSpPr>
          <p:nvPr>
            <p:ph type="title" hasCustomPrompt="1"/>
          </p:nvPr>
        </p:nvSpPr>
        <p:spPr bwMode="auto">
          <a:xfrm>
            <a:off x="161998" y="325989"/>
            <a:ext cx="11725484" cy="44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a:lvl1pPr>
          </a:lstStyle>
          <a:p>
            <a:pPr lvl="0"/>
            <a:r>
              <a:rPr lang="en-US" noProof="0" err="1"/>
              <a:t>Titel</a:t>
            </a:r>
            <a:endParaRPr lang="en-US" noProof="0"/>
          </a:p>
        </p:txBody>
      </p:sp>
      <p:sp>
        <p:nvSpPr>
          <p:cNvPr id="11" name="Tijdelijke aanduiding voor tekst 3"/>
          <p:cNvSpPr>
            <a:spLocks noGrp="1"/>
          </p:cNvSpPr>
          <p:nvPr>
            <p:ph type="body" sz="quarter" idx="10" hasCustomPrompt="1"/>
          </p:nvPr>
        </p:nvSpPr>
        <p:spPr>
          <a:xfrm>
            <a:off x="161996" y="6568055"/>
            <a:ext cx="10224000" cy="153888"/>
          </a:xfrm>
        </p:spPr>
        <p:txBody>
          <a:bodyPr>
            <a:spAutoFit/>
          </a:bodyPr>
          <a:lstStyle>
            <a:lvl1pPr>
              <a:defRPr sz="1000"/>
            </a:lvl1pPr>
          </a:lstStyle>
          <a:p>
            <a:r>
              <a:rPr lang="nl-NL"/>
              <a:t>Bron:</a:t>
            </a:r>
          </a:p>
        </p:txBody>
      </p:sp>
      <p:sp>
        <p:nvSpPr>
          <p:cNvPr id="4" name="Tijdelijke aanduiding voor inhoud 3"/>
          <p:cNvSpPr>
            <a:spLocks noGrp="1"/>
          </p:cNvSpPr>
          <p:nvPr>
            <p:ph sz="quarter" idx="13" hasCustomPrompt="1"/>
          </p:nvPr>
        </p:nvSpPr>
        <p:spPr>
          <a:xfrm>
            <a:off x="161996" y="44625"/>
            <a:ext cx="11726400" cy="153888"/>
          </a:xfrm>
        </p:spPr>
        <p:txBody>
          <a:bodyPr>
            <a:spAutoFit/>
          </a:bodyPr>
          <a:lstStyle>
            <a:lvl1pPr>
              <a:defRPr sz="1000" baseline="0"/>
            </a:lvl1pPr>
          </a:lstStyle>
          <a:p>
            <a:pPr lvl="0"/>
            <a:r>
              <a:rPr lang="en-GB"/>
              <a:t>&lt;</a:t>
            </a:r>
            <a:r>
              <a:rPr lang="en-GB" err="1"/>
              <a:t>Afdeling</a:t>
            </a:r>
            <a:r>
              <a:rPr lang="en-GB"/>
              <a:t>&gt; - &lt;team&gt; - &lt;</a:t>
            </a:r>
            <a:r>
              <a:rPr lang="en-GB" err="1"/>
              <a:t>naam</a:t>
            </a:r>
            <a:r>
              <a:rPr lang="en-GB"/>
              <a:t> analyse&gt;</a:t>
            </a:r>
            <a:endParaRPr lang="nl-NL"/>
          </a:p>
        </p:txBody>
      </p:sp>
    </p:spTree>
    <p:extLst>
      <p:ext uri="{BB962C8B-B14F-4D97-AF65-F5344CB8AC3E}">
        <p14:creationId xmlns:p14="http://schemas.microsoft.com/office/powerpoint/2010/main" val="3873737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ptop XL vide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2174336" y="1452622"/>
            <a:ext cx="7843329" cy="5151378"/>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noProof="0"/>
            </a:p>
          </p:txBody>
        </p:sp>
      </p:grpSp>
      <p:sp>
        <p:nvSpPr>
          <p:cNvPr id="10" name="Media Placeholder 9">
            <a:extLst>
              <a:ext uri="{FF2B5EF4-FFF2-40B4-BE49-F238E27FC236}">
                <a16:creationId xmlns:a16="http://schemas.microsoft.com/office/drawing/2014/main" id="{19DB4B01-EB8D-4060-A3E9-7E3E8B6AFED0}"/>
              </a:ext>
            </a:extLst>
          </p:cNvPr>
          <p:cNvSpPr>
            <a:spLocks noGrp="1"/>
          </p:cNvSpPr>
          <p:nvPr>
            <p:ph type="media" sz="quarter" idx="12" hasCustomPrompt="1"/>
          </p:nvPr>
        </p:nvSpPr>
        <p:spPr>
          <a:xfrm>
            <a:off x="3189288" y="1987552"/>
            <a:ext cx="5749925" cy="3559175"/>
          </a:xfrm>
          <a:prstGeom prst="rect">
            <a:avLst/>
          </a:prstGeom>
          <a:pattFill prst="dkUpDiag">
            <a:fgClr>
              <a:schemeClr val="bg1">
                <a:lumMod val="75000"/>
              </a:schemeClr>
            </a:fgClr>
            <a:bgClr>
              <a:schemeClr val="bg1">
                <a:lumMod val="95000"/>
              </a:schemeClr>
            </a:bgClr>
          </a:pattFill>
        </p:spPr>
        <p:txBody>
          <a:bodyPr tIns="180000"/>
          <a:lstStyle>
            <a:lvl1pPr marL="0" marR="0" indent="0" algn="ctr" defTabSz="913943" rtl="0" eaLnBrk="1" fontAlgn="auto" latinLnBrk="0" hangingPunct="1">
              <a:lnSpc>
                <a:spcPct val="90000"/>
              </a:lnSpc>
              <a:spcBef>
                <a:spcPts val="999"/>
              </a:spcBef>
              <a:spcAft>
                <a:spcPts val="0"/>
              </a:spcAft>
              <a:buClrTx/>
              <a:buSzTx/>
              <a:buFont typeface="Arial" panose="020B0604020202020204" pitchFamily="34" charset="0"/>
              <a:buNone/>
              <a:tabLst/>
              <a:defRPr lang="en-US" sz="1599"/>
            </a:lvl1pPr>
          </a:lstStyle>
          <a:p>
            <a:pPr marL="285607" marR="0" lvl="0" indent="-285607" algn="ctr" defTabSz="913943" rtl="0" eaLnBrk="1" fontAlgn="auto" latinLnBrk="0" hangingPunct="1">
              <a:lnSpc>
                <a:spcPct val="90000"/>
              </a:lnSpc>
              <a:spcBef>
                <a:spcPts val="999"/>
              </a:spcBef>
              <a:spcAft>
                <a:spcPts val="0"/>
              </a:spcAft>
              <a:buClrTx/>
              <a:buSzTx/>
              <a:tabLst/>
              <a:defRPr/>
            </a:pPr>
            <a:r>
              <a:rPr lang="nl-NL" noProof="0"/>
              <a:t>Klik op pictogram om media in te voegen
</a:t>
            </a:r>
            <a:endParaRPr lang="en-US" noProof="0"/>
          </a:p>
        </p:txBody>
      </p:sp>
    </p:spTree>
    <p:extLst>
      <p:ext uri="{BB962C8B-B14F-4D97-AF65-F5344CB8AC3E}">
        <p14:creationId xmlns:p14="http://schemas.microsoft.com/office/powerpoint/2010/main" val="1172834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Algem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75296393"/>
              </p:ext>
            </p:extLst>
          </p:nvPr>
        </p:nvGraphicFramePr>
        <p:xfrm>
          <a:off x="0" y="2"/>
          <a:ext cx="180997" cy="14398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2"/>
                        <a:ext cx="180997" cy="143985"/>
                      </a:xfrm>
                      <a:prstGeom prst="rect">
                        <a:avLst/>
                      </a:prstGeom>
                    </p:spPr>
                  </p:pic>
                </p:oleObj>
              </mc:Fallback>
            </mc:AlternateContent>
          </a:graphicData>
        </a:graphic>
      </p:graphicFrame>
      <p:sp>
        <p:nvSpPr>
          <p:cNvPr id="7" name="Slide Number Placeholder 1"/>
          <p:cNvSpPr>
            <a:spLocks noGrp="1"/>
          </p:cNvSpPr>
          <p:nvPr>
            <p:ph type="sldNum" sz="quarter" idx="4"/>
            <p:custDataLst>
              <p:tags r:id="rId2"/>
            </p:custDataLst>
          </p:nvPr>
        </p:nvSpPr>
        <p:spPr>
          <a:xfrm>
            <a:off x="11626139" y="6566446"/>
            <a:ext cx="284012" cy="155496"/>
          </a:xfrm>
          <a:prstGeom prst="rect">
            <a:avLst/>
          </a:prstGeom>
        </p:spPr>
        <p:txBody>
          <a:bodyPr vert="horz" wrap="none" lIns="0" tIns="0" rIns="0" bIns="0" rtlCol="0" anchor="ctr">
            <a:noAutofit/>
          </a:bodyPr>
          <a:lstStyle>
            <a:lvl1pPr algn="l">
              <a:defRPr lang="en-US" sz="1000" kern="1200" baseline="0" smtClean="0">
                <a:solidFill>
                  <a:srgbClr val="79838C"/>
                </a:solidFill>
                <a:latin typeface="+mn-lt"/>
                <a:ea typeface="+mn-ea"/>
                <a:cs typeface="+mn-cs"/>
              </a:defRPr>
            </a:lvl1pPr>
          </a:lstStyle>
          <a:p>
            <a:fld id="{42C328C1-A84F-4A39-A664-DBA00541A8C6}" type="slidenum">
              <a:rPr/>
              <a:pPr/>
              <a:t>‹#›</a:t>
            </a:fld>
            <a:endParaRPr/>
          </a:p>
        </p:txBody>
      </p:sp>
      <p:sp>
        <p:nvSpPr>
          <p:cNvPr id="6" name="Title Placeholder 2"/>
          <p:cNvSpPr>
            <a:spLocks noGrp="1" noChangeArrowheads="1"/>
          </p:cNvSpPr>
          <p:nvPr>
            <p:ph type="title"/>
            <p:custDataLst>
              <p:tags r:id="rId3"/>
            </p:custDataLst>
          </p:nvPr>
        </p:nvSpPr>
        <p:spPr bwMode="auto">
          <a:xfrm>
            <a:off x="161989" y="547588"/>
            <a:ext cx="11748161" cy="221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sz="1600"/>
            </a:lvl1pPr>
          </a:lstStyle>
          <a:p>
            <a:pPr lvl="0"/>
            <a:r>
              <a:rPr lang="en-US" noProof="0"/>
              <a:t>Click to edit Master title style</a:t>
            </a:r>
          </a:p>
        </p:txBody>
      </p:sp>
      <p:sp>
        <p:nvSpPr>
          <p:cNvPr id="4" name="Tijdelijke aanduiding voor tekst 3"/>
          <p:cNvSpPr>
            <a:spLocks noGrp="1"/>
          </p:cNvSpPr>
          <p:nvPr>
            <p:ph type="body" sz="quarter" idx="10" hasCustomPrompt="1"/>
          </p:nvPr>
        </p:nvSpPr>
        <p:spPr>
          <a:xfrm>
            <a:off x="164180" y="6566256"/>
            <a:ext cx="10244192" cy="138499"/>
          </a:xfrm>
        </p:spPr>
        <p:txBody>
          <a:bodyPr/>
          <a:lstStyle>
            <a:lvl1pPr>
              <a:defRPr sz="900" baseline="0"/>
            </a:lvl1pPr>
          </a:lstStyle>
          <a:p>
            <a:pPr lvl="0"/>
            <a:r>
              <a:rPr lang="en-GB" err="1"/>
              <a:t>Bron</a:t>
            </a:r>
            <a:r>
              <a:rPr lang="en-GB"/>
              <a:t>: </a:t>
            </a:r>
            <a:endParaRPr lang="nl-NL"/>
          </a:p>
        </p:txBody>
      </p:sp>
      <p:sp>
        <p:nvSpPr>
          <p:cNvPr id="8" name="Tijdelijke aanduiding voor tekst 3"/>
          <p:cNvSpPr>
            <a:spLocks noGrp="1"/>
          </p:cNvSpPr>
          <p:nvPr>
            <p:ph type="body" sz="quarter" idx="11" hasCustomPrompt="1"/>
          </p:nvPr>
        </p:nvSpPr>
        <p:spPr>
          <a:xfrm>
            <a:off x="164180" y="6280740"/>
            <a:ext cx="10244192" cy="139575"/>
          </a:xfrm>
        </p:spPr>
        <p:txBody>
          <a:bodyPr/>
          <a:lstStyle>
            <a:lvl1pPr>
              <a:defRPr sz="900" baseline="0"/>
            </a:lvl1pPr>
          </a:lstStyle>
          <a:p>
            <a:pPr lvl="0"/>
            <a:r>
              <a:rPr lang="en-GB"/>
              <a:t>NB: </a:t>
            </a:r>
            <a:endParaRPr lang="nl-NL"/>
          </a:p>
        </p:txBody>
      </p:sp>
    </p:spTree>
    <p:extLst>
      <p:ext uri="{BB962C8B-B14F-4D97-AF65-F5344CB8AC3E}">
        <p14:creationId xmlns:p14="http://schemas.microsoft.com/office/powerpoint/2010/main" val="61293199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Alleen titel">
    <p:spTree>
      <p:nvGrpSpPr>
        <p:cNvPr id="1" name=""/>
        <p:cNvGrpSpPr/>
        <p:nvPr/>
      </p:nvGrpSpPr>
      <p:grpSpPr>
        <a:xfrm>
          <a:off x="0" y="0"/>
          <a:ext cx="0" cy="0"/>
          <a:chOff x="0" y="0"/>
          <a:chExt cx="0" cy="0"/>
        </a:xfrm>
      </p:grpSpPr>
      <p:graphicFrame>
        <p:nvGraphicFramePr>
          <p:cNvPr id="3" name="Object 1" hidden="1"/>
          <p:cNvGraphicFramePr>
            <a:graphicFrameLocks/>
          </p:cNvGraphicFramePr>
          <p:nvPr>
            <p:custDataLst>
              <p:tags r:id="rId1"/>
            </p:custDataLst>
          </p:nvPr>
        </p:nvGraphicFramePr>
        <p:xfrm>
          <a:off x="3" y="1"/>
          <a:ext cx="215900" cy="161925"/>
        </p:xfrm>
        <a:graphic>
          <a:graphicData uri="http://schemas.openxmlformats.org/presentationml/2006/ole">
            <mc:AlternateContent xmlns:mc="http://schemas.openxmlformats.org/markup-compatibility/2006">
              <mc:Choice xmlns:v="urn:schemas-microsoft-com:vml" Requires="v">
                <p:oleObj name="think-cell Slide" r:id="rId34" imgW="360" imgH="360" progId="TCLayout.ActiveDocument.1">
                  <p:embed/>
                </p:oleObj>
              </mc:Choice>
              <mc:Fallback>
                <p:oleObj name="think-cell Slide" r:id="rId34" imgW="360" imgH="360" progId="TCLayout.ActiveDocument.1">
                  <p:embed/>
                  <p:pic>
                    <p:nvPicPr>
                      <p:cNvPr id="3" name="Object 1" hidden="1"/>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3" y="1"/>
                        <a:ext cx="2159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p:cNvSpPr>
            <a:spLocks noChangeArrowheads="1"/>
          </p:cNvSpPr>
          <p:nvPr>
            <p:custDataLst>
              <p:tags r:id="rId2"/>
            </p:custDataLst>
          </p:nvPr>
        </p:nvSpPr>
        <p:spPr bwMode="auto">
          <a:xfrm>
            <a:off x="10996088" y="36513"/>
            <a:ext cx="893233"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8525" eaLnBrk="0" hangingPunct="0">
              <a:defRPr>
                <a:solidFill>
                  <a:schemeClr val="tx1"/>
                </a:solidFill>
                <a:latin typeface="Calibri" pitchFamily="34" charset="0"/>
                <a:cs typeface="Arial" pitchFamily="34" charset="0"/>
              </a:defRPr>
            </a:lvl1pPr>
            <a:lvl2pPr defTabSz="898525" eaLnBrk="0" hangingPunct="0">
              <a:defRPr>
                <a:solidFill>
                  <a:schemeClr val="tx1"/>
                </a:solidFill>
                <a:latin typeface="Calibri" pitchFamily="34" charset="0"/>
                <a:cs typeface="Arial" pitchFamily="34" charset="0"/>
              </a:defRPr>
            </a:lvl2pPr>
            <a:lvl3pPr defTabSz="898525" eaLnBrk="0" hangingPunct="0">
              <a:defRPr>
                <a:solidFill>
                  <a:schemeClr val="tx1"/>
                </a:solidFill>
                <a:latin typeface="Calibri" pitchFamily="34" charset="0"/>
                <a:cs typeface="Arial" pitchFamily="34" charset="0"/>
              </a:defRPr>
            </a:lvl3pPr>
            <a:lvl4pPr defTabSz="898525" eaLnBrk="0" hangingPunct="0">
              <a:defRPr>
                <a:solidFill>
                  <a:schemeClr val="tx1"/>
                </a:solidFill>
                <a:latin typeface="Calibri" pitchFamily="34" charset="0"/>
                <a:cs typeface="Arial" pitchFamily="34" charset="0"/>
              </a:defRPr>
            </a:lvl4pPr>
            <a:lvl5pPr defTabSz="898525" eaLnBrk="0" hangingPunct="0">
              <a:defRPr>
                <a:solidFill>
                  <a:schemeClr val="tx1"/>
                </a:solidFill>
                <a:latin typeface="Calibri" pitchFamily="34" charset="0"/>
                <a:cs typeface="Arial" pitchFamily="34" charset="0"/>
              </a:defRPr>
            </a:lvl5pPr>
            <a:lvl6pPr marL="2274888" indent="3175" defTabSz="898525"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98525"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98525"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98525"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defRPr/>
            </a:pPr>
            <a:endParaRPr lang="en-US" altLang="nl-NL" sz="800">
              <a:solidFill>
                <a:srgbClr val="000000"/>
              </a:solidFill>
              <a:latin typeface="Arial" pitchFamily="34" charset="0"/>
            </a:endParaRPr>
          </a:p>
        </p:txBody>
      </p:sp>
      <p:sp>
        <p:nvSpPr>
          <p:cNvPr id="5" name="Working Draft" hidden="1"/>
          <p:cNvSpPr txBox="1">
            <a:spLocks noChangeArrowheads="1"/>
          </p:cNvSpPr>
          <p:nvPr>
            <p:custDataLst>
              <p:tags r:id="rId3"/>
            </p:custDataLst>
          </p:nvPr>
        </p:nvSpPr>
        <p:spPr bwMode="auto">
          <a:xfrm rot="5400000">
            <a:off x="11114913" y="1939005"/>
            <a:ext cx="196367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0454" eaLnBrk="1" fontAlgn="base" hangingPunct="1">
              <a:spcBef>
                <a:spcPct val="0"/>
              </a:spcBef>
              <a:spcAft>
                <a:spcPct val="0"/>
              </a:spcAft>
              <a:defRPr/>
            </a:pPr>
            <a:r>
              <a:rPr lang="en-GB" sz="600">
                <a:solidFill>
                  <a:srgbClr val="54646C"/>
                </a:solidFill>
                <a:latin typeface="Arial"/>
              </a:rPr>
              <a:t>Last Modified 16/01/2013 15:18 Romance Standard Time</a:t>
            </a:r>
            <a:endParaRPr lang="en-US" sz="1600">
              <a:solidFill>
                <a:srgbClr val="54646C"/>
              </a:solidFill>
              <a:latin typeface="Arial"/>
            </a:endParaRPr>
          </a:p>
        </p:txBody>
      </p:sp>
      <p:sp>
        <p:nvSpPr>
          <p:cNvPr id="7" name="Printed" hidden="1"/>
          <p:cNvSpPr txBox="1">
            <a:spLocks noChangeArrowheads="1"/>
          </p:cNvSpPr>
          <p:nvPr>
            <p:custDataLst>
              <p:tags r:id="rId4"/>
            </p:custDataLst>
          </p:nvPr>
        </p:nvSpPr>
        <p:spPr bwMode="auto">
          <a:xfrm rot="5400000">
            <a:off x="11222315" y="4198812"/>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0454" eaLnBrk="1" fontAlgn="base" hangingPunct="1">
              <a:spcBef>
                <a:spcPct val="0"/>
              </a:spcBef>
              <a:spcAft>
                <a:spcPct val="0"/>
              </a:spcAft>
              <a:defRPr/>
            </a:pPr>
            <a:r>
              <a:rPr lang="en-GB" sz="600">
                <a:solidFill>
                  <a:srgbClr val="54646C"/>
                </a:solidFill>
                <a:latin typeface="Arial"/>
              </a:rPr>
              <a:t>Printed 11/01/2013 10:09 Romance Standard Time</a:t>
            </a:r>
            <a:endParaRPr lang="en-US" sz="1600">
              <a:solidFill>
                <a:srgbClr val="54646C"/>
              </a:solidFill>
              <a:latin typeface="Arial"/>
            </a:endParaRPr>
          </a:p>
        </p:txBody>
      </p:sp>
      <p:sp>
        <p:nvSpPr>
          <p:cNvPr id="8" name="McK 1. On-page tracker" hidden="1"/>
          <p:cNvSpPr>
            <a:spLocks noChangeArrowheads="1"/>
          </p:cNvSpPr>
          <p:nvPr>
            <p:custDataLst>
              <p:tags r:id="rId5"/>
            </p:custDataLst>
          </p:nvPr>
        </p:nvSpPr>
        <p:spPr bwMode="auto">
          <a:xfrm>
            <a:off x="162986" y="26989"/>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00113" eaLnBrk="0" hangingPunct="0">
              <a:defRPr>
                <a:solidFill>
                  <a:schemeClr val="tx1"/>
                </a:solidFill>
                <a:latin typeface="Calibri" pitchFamily="34" charset="0"/>
                <a:cs typeface="Arial" pitchFamily="34" charset="0"/>
              </a:defRPr>
            </a:lvl1pPr>
            <a:lvl2pPr defTabSz="900113" eaLnBrk="0" hangingPunct="0">
              <a:defRPr>
                <a:solidFill>
                  <a:schemeClr val="tx1"/>
                </a:solidFill>
                <a:latin typeface="Calibri" pitchFamily="34" charset="0"/>
                <a:cs typeface="Arial" pitchFamily="34" charset="0"/>
              </a:defRPr>
            </a:lvl2pPr>
            <a:lvl3pPr defTabSz="900113" eaLnBrk="0" hangingPunct="0">
              <a:defRPr>
                <a:solidFill>
                  <a:schemeClr val="tx1"/>
                </a:solidFill>
                <a:latin typeface="Calibri" pitchFamily="34" charset="0"/>
                <a:cs typeface="Arial" pitchFamily="34" charset="0"/>
              </a:defRPr>
            </a:lvl3pPr>
            <a:lvl4pPr defTabSz="900113" eaLnBrk="0" hangingPunct="0">
              <a:defRPr>
                <a:solidFill>
                  <a:schemeClr val="tx1"/>
                </a:solidFill>
                <a:latin typeface="Calibri" pitchFamily="34" charset="0"/>
                <a:cs typeface="Arial" pitchFamily="34" charset="0"/>
              </a:defRPr>
            </a:lvl4pPr>
            <a:lvl5pPr defTabSz="900113" eaLnBrk="0" hangingPunct="0">
              <a:defRPr>
                <a:solidFill>
                  <a:schemeClr val="tx1"/>
                </a:solidFill>
                <a:latin typeface="Calibri" pitchFamily="34" charset="0"/>
                <a:cs typeface="Arial" pitchFamily="34" charset="0"/>
              </a:defRPr>
            </a:lvl5pPr>
            <a:lvl6pPr marL="2274888" indent="3175" defTabSz="90011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90011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90011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90011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defRPr/>
            </a:pPr>
            <a:r>
              <a:rPr lang="en-US" altLang="nl-NL" sz="1400">
                <a:solidFill>
                  <a:srgbClr val="808080"/>
                </a:solidFill>
                <a:latin typeface="Arial" pitchFamily="34" charset="0"/>
              </a:rPr>
              <a:t>TRACKER</a:t>
            </a:r>
          </a:p>
        </p:txBody>
      </p:sp>
      <p:sp>
        <p:nvSpPr>
          <p:cNvPr id="9" name="McK 3. Unit of measure" hidden="1"/>
          <p:cNvSpPr txBox="1">
            <a:spLocks noChangeArrowheads="1"/>
          </p:cNvSpPr>
          <p:nvPr>
            <p:custDataLst>
              <p:tags r:id="rId6"/>
            </p:custDataLst>
          </p:nvPr>
        </p:nvSpPr>
        <p:spPr bwMode="auto">
          <a:xfrm>
            <a:off x="162984" y="769938"/>
            <a:ext cx="11724216" cy="222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400">
                <a:solidFill>
                  <a:srgbClr val="808080"/>
                </a:solidFill>
                <a:latin typeface="Arial"/>
              </a:rPr>
              <a:t>Unit of measure</a:t>
            </a:r>
          </a:p>
        </p:txBody>
      </p:sp>
      <p:grpSp>
        <p:nvGrpSpPr>
          <p:cNvPr id="10" name="McK Slide Elements" hidden="1"/>
          <p:cNvGrpSpPr>
            <a:grpSpLocks/>
          </p:cNvGrpSpPr>
          <p:nvPr>
            <p:custDataLst>
              <p:tags r:id="rId7"/>
            </p:custDataLst>
          </p:nvPr>
        </p:nvGrpSpPr>
        <p:grpSpPr bwMode="auto">
          <a:xfrm>
            <a:off x="162987" y="6203954"/>
            <a:ext cx="11628967" cy="517525"/>
            <a:chOff x="75" y="3830"/>
            <a:chExt cx="5385" cy="320"/>
          </a:xfrm>
        </p:grpSpPr>
        <p:sp>
          <p:nvSpPr>
            <p:cNvPr id="11"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54646C"/>
                  </a:solidFill>
                  <a:latin typeface="Arial"/>
                </a:rPr>
                <a:t>1 Footnote</a:t>
              </a:r>
            </a:p>
          </p:txBody>
        </p:sp>
        <p:sp>
          <p:nvSpPr>
            <p:cNvPr id="12"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11188" indent="-611188" defTabSz="898525" eaLnBrk="0" hangingPunct="0">
                <a:tabLst>
                  <a:tab pos="614363" algn="l"/>
                </a:tabLst>
                <a:defRPr>
                  <a:solidFill>
                    <a:schemeClr val="tx1"/>
                  </a:solidFill>
                  <a:latin typeface="Calibri" pitchFamily="34" charset="0"/>
                  <a:cs typeface="Arial" pitchFamily="34" charset="0"/>
                </a:defRPr>
              </a:lvl1pPr>
              <a:lvl2pPr defTabSz="898525" eaLnBrk="0" hangingPunct="0">
                <a:tabLst>
                  <a:tab pos="614363" algn="l"/>
                </a:tabLst>
                <a:defRPr>
                  <a:solidFill>
                    <a:schemeClr val="tx1"/>
                  </a:solidFill>
                  <a:latin typeface="Calibri" pitchFamily="34" charset="0"/>
                  <a:cs typeface="Arial" pitchFamily="34" charset="0"/>
                </a:defRPr>
              </a:lvl2pPr>
              <a:lvl3pPr defTabSz="898525" eaLnBrk="0" hangingPunct="0">
                <a:tabLst>
                  <a:tab pos="614363" algn="l"/>
                </a:tabLst>
                <a:defRPr>
                  <a:solidFill>
                    <a:schemeClr val="tx1"/>
                  </a:solidFill>
                  <a:latin typeface="Calibri" pitchFamily="34" charset="0"/>
                  <a:cs typeface="Arial" pitchFamily="34" charset="0"/>
                </a:defRPr>
              </a:lvl3pPr>
              <a:lvl4pPr defTabSz="898525" eaLnBrk="0" hangingPunct="0">
                <a:tabLst>
                  <a:tab pos="614363" algn="l"/>
                </a:tabLst>
                <a:defRPr>
                  <a:solidFill>
                    <a:schemeClr val="tx1"/>
                  </a:solidFill>
                  <a:latin typeface="Calibri" pitchFamily="34" charset="0"/>
                  <a:cs typeface="Arial" pitchFamily="34" charset="0"/>
                </a:defRPr>
              </a:lvl4pPr>
              <a:lvl5pPr defTabSz="898525" eaLnBrk="0" hangingPunct="0">
                <a:tabLst>
                  <a:tab pos="614363" algn="l"/>
                </a:tabLst>
                <a:defRPr>
                  <a:solidFill>
                    <a:schemeClr val="tx1"/>
                  </a:solidFill>
                  <a:latin typeface="Calibri" pitchFamily="34" charset="0"/>
                  <a:cs typeface="Arial" pitchFamily="34" charset="0"/>
                </a:defRPr>
              </a:lvl5pPr>
              <a:lvl6pPr marL="2274888" indent="3175" defTabSz="898525" eaLnBrk="0" fontAlgn="base" hangingPunct="0">
                <a:spcBef>
                  <a:spcPct val="0"/>
                </a:spcBef>
                <a:spcAft>
                  <a:spcPct val="0"/>
                </a:spcAft>
                <a:tabLst>
                  <a:tab pos="614363" algn="l"/>
                </a:tabLst>
                <a:defRPr>
                  <a:solidFill>
                    <a:schemeClr val="tx1"/>
                  </a:solidFill>
                  <a:latin typeface="Calibri" pitchFamily="34" charset="0"/>
                  <a:cs typeface="Arial" pitchFamily="34" charset="0"/>
                </a:defRPr>
              </a:lvl6pPr>
              <a:lvl7pPr marL="2732088" indent="3175" defTabSz="898525" eaLnBrk="0" fontAlgn="base" hangingPunct="0">
                <a:spcBef>
                  <a:spcPct val="0"/>
                </a:spcBef>
                <a:spcAft>
                  <a:spcPct val="0"/>
                </a:spcAft>
                <a:tabLst>
                  <a:tab pos="614363" algn="l"/>
                </a:tabLst>
                <a:defRPr>
                  <a:solidFill>
                    <a:schemeClr val="tx1"/>
                  </a:solidFill>
                  <a:latin typeface="Calibri" pitchFamily="34" charset="0"/>
                  <a:cs typeface="Arial" pitchFamily="34" charset="0"/>
                </a:defRPr>
              </a:lvl7pPr>
              <a:lvl8pPr marL="3189288" indent="3175" defTabSz="898525" eaLnBrk="0" fontAlgn="base" hangingPunct="0">
                <a:spcBef>
                  <a:spcPct val="0"/>
                </a:spcBef>
                <a:spcAft>
                  <a:spcPct val="0"/>
                </a:spcAft>
                <a:tabLst>
                  <a:tab pos="614363" algn="l"/>
                </a:tabLst>
                <a:defRPr>
                  <a:solidFill>
                    <a:schemeClr val="tx1"/>
                  </a:solidFill>
                  <a:latin typeface="Calibri" pitchFamily="34" charset="0"/>
                  <a:cs typeface="Arial" pitchFamily="34" charset="0"/>
                </a:defRPr>
              </a:lvl8pPr>
              <a:lvl9pPr marL="3646488" indent="3175" defTabSz="898525" eaLnBrk="0" fontAlgn="base" hangingPunct="0">
                <a:spcBef>
                  <a:spcPct val="0"/>
                </a:spcBef>
                <a:spcAft>
                  <a:spcPct val="0"/>
                </a:spcAft>
                <a:tabLst>
                  <a:tab pos="614363" algn="l"/>
                </a:tabLst>
                <a:defRPr>
                  <a:solidFill>
                    <a:schemeClr val="tx1"/>
                  </a:solidFill>
                  <a:latin typeface="Calibri" pitchFamily="34" charset="0"/>
                  <a:cs typeface="Arial" pitchFamily="34" charset="0"/>
                </a:defRPr>
              </a:lvl9pPr>
            </a:lstStyle>
            <a:p>
              <a:pPr eaLnBrk="1" fontAlgn="base" hangingPunct="1">
                <a:spcBef>
                  <a:spcPct val="0"/>
                </a:spcBef>
                <a:spcAft>
                  <a:spcPct val="0"/>
                </a:spcAft>
                <a:defRPr/>
              </a:pPr>
              <a:r>
                <a:rPr lang="en-US" altLang="nl-NL" sz="1000">
                  <a:solidFill>
                    <a:srgbClr val="54646C"/>
                  </a:solidFill>
                  <a:latin typeface="Arial" pitchFamily="34" charset="0"/>
                </a:rPr>
                <a:t>SOURCE: Source</a:t>
              </a:r>
            </a:p>
          </p:txBody>
        </p:sp>
      </p:grpSp>
      <p:grpSp>
        <p:nvGrpSpPr>
          <p:cNvPr id="13" name="ACET" hidden="1"/>
          <p:cNvGrpSpPr>
            <a:grpSpLocks/>
          </p:cNvGrpSpPr>
          <p:nvPr>
            <p:custDataLst>
              <p:tags r:id="rId8"/>
            </p:custDataLst>
          </p:nvPr>
        </p:nvGrpSpPr>
        <p:grpSpPr bwMode="auto">
          <a:xfrm>
            <a:off x="1976969" y="1611313"/>
            <a:ext cx="5799667" cy="463550"/>
            <a:chOff x="915" y="744"/>
            <a:chExt cx="2686" cy="286"/>
          </a:xfrm>
        </p:grpSpPr>
        <p:cxnSp>
          <p:nvCxnSpPr>
            <p:cNvPr id="14"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AutoShape 250"/>
            <p:cNvSpPr>
              <a:spLocks noChangeArrowheads="1"/>
            </p:cNvSpPr>
            <p:nvPr/>
          </p:nvSpPr>
          <p:spPr bwMode="auto">
            <a:xfrm>
              <a:off x="915" y="744"/>
              <a:ext cx="2686" cy="28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900113" eaLnBrk="0" hangingPunct="0">
                <a:defRPr>
                  <a:solidFill>
                    <a:schemeClr val="tx1"/>
                  </a:solidFill>
                  <a:latin typeface="Calibri" pitchFamily="34" charset="0"/>
                  <a:cs typeface="Arial" pitchFamily="34" charset="0"/>
                </a:defRPr>
              </a:lvl1pPr>
              <a:lvl2pPr defTabSz="900113" eaLnBrk="0" hangingPunct="0">
                <a:defRPr>
                  <a:solidFill>
                    <a:schemeClr val="tx1"/>
                  </a:solidFill>
                  <a:latin typeface="Calibri" pitchFamily="34" charset="0"/>
                  <a:cs typeface="Arial" pitchFamily="34" charset="0"/>
                </a:defRPr>
              </a:lvl2pPr>
              <a:lvl3pPr defTabSz="900113" eaLnBrk="0" hangingPunct="0">
                <a:defRPr>
                  <a:solidFill>
                    <a:schemeClr val="tx1"/>
                  </a:solidFill>
                  <a:latin typeface="Calibri" pitchFamily="34" charset="0"/>
                  <a:cs typeface="Arial" pitchFamily="34" charset="0"/>
                </a:defRPr>
              </a:lvl3pPr>
              <a:lvl4pPr defTabSz="900113" eaLnBrk="0" hangingPunct="0">
                <a:defRPr>
                  <a:solidFill>
                    <a:schemeClr val="tx1"/>
                  </a:solidFill>
                  <a:latin typeface="Calibri" pitchFamily="34" charset="0"/>
                  <a:cs typeface="Arial" pitchFamily="34" charset="0"/>
                </a:defRPr>
              </a:lvl4pPr>
              <a:lvl5pPr defTabSz="900113" eaLnBrk="0" hangingPunct="0">
                <a:defRPr>
                  <a:solidFill>
                    <a:schemeClr val="tx1"/>
                  </a:solidFill>
                  <a:latin typeface="Calibri" pitchFamily="34" charset="0"/>
                  <a:cs typeface="Arial" pitchFamily="34" charset="0"/>
                </a:defRPr>
              </a:lvl5pPr>
              <a:lvl6pPr marL="2274888" indent="3175" defTabSz="90011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90011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90011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90011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defRPr/>
              </a:pPr>
              <a:r>
                <a:rPr lang="en-US" altLang="nl-NL" sz="1400" b="1">
                  <a:solidFill>
                    <a:srgbClr val="54646C"/>
                  </a:solidFill>
                  <a:latin typeface="Arial" pitchFamily="34" charset="0"/>
                </a:rPr>
                <a:t>Title</a:t>
              </a:r>
            </a:p>
            <a:p>
              <a:pPr eaLnBrk="1" fontAlgn="base" hangingPunct="1">
                <a:spcBef>
                  <a:spcPct val="0"/>
                </a:spcBef>
                <a:spcAft>
                  <a:spcPct val="0"/>
                </a:spcAft>
                <a:defRPr/>
              </a:pPr>
              <a:r>
                <a:rPr lang="en-US" altLang="nl-NL" sz="1400">
                  <a:solidFill>
                    <a:srgbClr val="808080"/>
                  </a:solidFill>
                  <a:latin typeface="Arial" pitchFamily="34" charset="0"/>
                </a:rPr>
                <a:t>Unit of measure</a:t>
              </a:r>
            </a:p>
          </p:txBody>
        </p:sp>
      </p:grpSp>
      <p:grpSp>
        <p:nvGrpSpPr>
          <p:cNvPr id="16" name="LegendBoxes" hidden="1"/>
          <p:cNvGrpSpPr>
            <a:grpSpLocks/>
          </p:cNvGrpSpPr>
          <p:nvPr>
            <p:custDataLst>
              <p:tags r:id="rId9"/>
            </p:custDataLst>
          </p:nvPr>
        </p:nvGrpSpPr>
        <p:grpSpPr bwMode="auto">
          <a:xfrm>
            <a:off x="10869084" y="1074739"/>
            <a:ext cx="810682" cy="984250"/>
            <a:chOff x="4936" y="176"/>
            <a:chExt cx="383" cy="620"/>
          </a:xfrm>
        </p:grpSpPr>
        <p:sp>
          <p:nvSpPr>
            <p:cNvPr id="17" name="Legend1"/>
            <p:cNvSpPr>
              <a:spLocks noChangeArrowheads="1"/>
            </p:cNvSpPr>
            <p:nvPr/>
          </p:nvSpPr>
          <p:spPr bwMode="auto">
            <a:xfrm>
              <a:off x="5096" y="176"/>
              <a:ext cx="223"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sp>
          <p:nvSpPr>
            <p:cNvPr id="18"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sp>
          <p:nvSpPr>
            <p:cNvPr id="19" name="Legend2"/>
            <p:cNvSpPr>
              <a:spLocks noChangeArrowheads="1"/>
            </p:cNvSpPr>
            <p:nvPr/>
          </p:nvSpPr>
          <p:spPr bwMode="auto">
            <a:xfrm>
              <a:off x="5096" y="346"/>
              <a:ext cx="223"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sp>
          <p:nvSpPr>
            <p:cNvPr id="20"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sp>
          <p:nvSpPr>
            <p:cNvPr id="21" name="Legend3"/>
            <p:cNvSpPr>
              <a:spLocks noChangeArrowheads="1"/>
            </p:cNvSpPr>
            <p:nvPr/>
          </p:nvSpPr>
          <p:spPr bwMode="auto">
            <a:xfrm>
              <a:off x="5096" y="517"/>
              <a:ext cx="223"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sp>
          <p:nvSpPr>
            <p:cNvPr id="22"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sp>
          <p:nvSpPr>
            <p:cNvPr id="23" name="Legend4"/>
            <p:cNvSpPr>
              <a:spLocks noChangeArrowheads="1"/>
            </p:cNvSpPr>
            <p:nvPr/>
          </p:nvSpPr>
          <p:spPr bwMode="auto">
            <a:xfrm>
              <a:off x="5096" y="688"/>
              <a:ext cx="223"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sp>
          <p:nvSpPr>
            <p:cNvPr id="24"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grpSp>
      <p:grpSp>
        <p:nvGrpSpPr>
          <p:cNvPr id="25" name="LegendLines" hidden="1"/>
          <p:cNvGrpSpPr>
            <a:grpSpLocks/>
          </p:cNvGrpSpPr>
          <p:nvPr>
            <p:custDataLst>
              <p:tags r:id="rId10"/>
            </p:custDataLst>
          </p:nvPr>
        </p:nvGrpSpPr>
        <p:grpSpPr bwMode="auto">
          <a:xfrm>
            <a:off x="10458465" y="1074739"/>
            <a:ext cx="1221318" cy="715962"/>
            <a:chOff x="4750" y="176"/>
            <a:chExt cx="577" cy="451"/>
          </a:xfrm>
        </p:grpSpPr>
        <p:sp>
          <p:nvSpPr>
            <p:cNvPr id="2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0454" fontAlgn="base">
                <a:spcBef>
                  <a:spcPct val="0"/>
                </a:spcBef>
                <a:spcAft>
                  <a:spcPct val="0"/>
                </a:spcAft>
                <a:defRPr/>
              </a:pPr>
              <a:endParaRPr lang="en-US" sz="1100">
                <a:solidFill>
                  <a:srgbClr val="54646C"/>
                </a:solidFill>
              </a:endParaRPr>
            </a:p>
          </p:txBody>
        </p:sp>
        <p:sp>
          <p:nvSpPr>
            <p:cNvPr id="2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0454" fontAlgn="base">
                <a:spcBef>
                  <a:spcPct val="0"/>
                </a:spcBef>
                <a:spcAft>
                  <a:spcPct val="0"/>
                </a:spcAft>
                <a:defRPr/>
              </a:pPr>
              <a:endParaRPr lang="en-US" sz="1100">
                <a:solidFill>
                  <a:srgbClr val="54646C"/>
                </a:solidFill>
              </a:endParaRPr>
            </a:p>
          </p:txBody>
        </p:sp>
        <p:sp>
          <p:nvSpPr>
            <p:cNvPr id="2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0454" fontAlgn="base">
                <a:spcBef>
                  <a:spcPct val="0"/>
                </a:spcBef>
                <a:spcAft>
                  <a:spcPct val="0"/>
                </a:spcAft>
                <a:defRPr/>
              </a:pPr>
              <a:endParaRPr lang="en-US" sz="1100">
                <a:solidFill>
                  <a:srgbClr val="54646C"/>
                </a:solidFill>
              </a:endParaRPr>
            </a:p>
          </p:txBody>
        </p:sp>
        <p:sp>
          <p:nvSpPr>
            <p:cNvPr id="29" name="Legend1"/>
            <p:cNvSpPr>
              <a:spLocks noChangeArrowheads="1"/>
            </p:cNvSpPr>
            <p:nvPr/>
          </p:nvSpPr>
          <p:spPr bwMode="auto">
            <a:xfrm>
              <a:off x="5104" y="176"/>
              <a:ext cx="223"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sp>
          <p:nvSpPr>
            <p:cNvPr id="30" name="Legend2"/>
            <p:cNvSpPr>
              <a:spLocks noChangeArrowheads="1"/>
            </p:cNvSpPr>
            <p:nvPr/>
          </p:nvSpPr>
          <p:spPr bwMode="auto">
            <a:xfrm>
              <a:off x="5104" y="344"/>
              <a:ext cx="223"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sp>
          <p:nvSpPr>
            <p:cNvPr id="31" name="Legend3"/>
            <p:cNvSpPr>
              <a:spLocks noChangeArrowheads="1"/>
            </p:cNvSpPr>
            <p:nvPr/>
          </p:nvSpPr>
          <p:spPr bwMode="auto">
            <a:xfrm>
              <a:off x="5104" y="520"/>
              <a:ext cx="223"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grpSp>
      <p:grpSp>
        <p:nvGrpSpPr>
          <p:cNvPr id="32" name="McKSticker" hidden="1"/>
          <p:cNvGrpSpPr>
            <a:grpSpLocks/>
          </p:cNvGrpSpPr>
          <p:nvPr>
            <p:custDataLst>
              <p:tags r:id="rId11"/>
            </p:custDataLst>
          </p:nvPr>
        </p:nvGrpSpPr>
        <p:grpSpPr bwMode="auto">
          <a:xfrm>
            <a:off x="10464801" y="241304"/>
            <a:ext cx="1422400" cy="212726"/>
            <a:chOff x="7673880" y="285750"/>
            <a:chExt cx="1066895" cy="212362"/>
          </a:xfrm>
        </p:grpSpPr>
        <p:sp>
          <p:nvSpPr>
            <p:cNvPr id="33" name="StickerRectangle"/>
            <p:cNvSpPr>
              <a:spLocks noChangeArrowheads="1"/>
            </p:cNvSpPr>
            <p:nvPr/>
          </p:nvSpPr>
          <p:spPr bwMode="auto">
            <a:xfrm>
              <a:off x="7940532" y="285750"/>
              <a:ext cx="800243" cy="21200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buClr>
                  <a:srgbClr val="54646C"/>
                </a:buClr>
                <a:defRPr/>
              </a:pPr>
              <a:r>
                <a:rPr lang="en-US" altLang="nl-NL" sz="1200">
                  <a:solidFill>
                    <a:srgbClr val="808080"/>
                  </a:solidFill>
                  <a:latin typeface="Arial" pitchFamily="34" charset="0"/>
                </a:rPr>
                <a:t>PRELIMINARY</a:t>
              </a:r>
            </a:p>
          </p:txBody>
        </p:sp>
        <p:cxnSp>
          <p:nvCxnSpPr>
            <p:cNvPr id="34" name="AutoShape 31"/>
            <p:cNvCxnSpPr>
              <a:cxnSpLocks noChangeShapeType="1"/>
            </p:cNvCxnSpPr>
            <p:nvPr/>
          </p:nvCxnSpPr>
          <p:spPr bwMode="auto">
            <a:xfrm>
              <a:off x="7673880" y="285750"/>
              <a:ext cx="0" cy="21236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5" name="AutoShape 32"/>
            <p:cNvCxnSpPr>
              <a:cxnSpLocks noChangeShapeType="1"/>
            </p:cNvCxnSpPr>
            <p:nvPr/>
          </p:nvCxnSpPr>
          <p:spPr bwMode="auto">
            <a:xfrm>
              <a:off x="7673880" y="498112"/>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6" name="LegendMoons" hidden="1"/>
          <p:cNvGrpSpPr>
            <a:grpSpLocks/>
          </p:cNvGrpSpPr>
          <p:nvPr>
            <p:custDataLst>
              <p:tags r:id="rId12"/>
            </p:custDataLst>
          </p:nvPr>
        </p:nvGrpSpPr>
        <p:grpSpPr bwMode="auto">
          <a:xfrm>
            <a:off x="10780174" y="1046163"/>
            <a:ext cx="898849" cy="1306512"/>
            <a:chOff x="7769225" y="2105025"/>
            <a:chExt cx="673960" cy="1306516"/>
          </a:xfrm>
        </p:grpSpPr>
        <p:grpSp>
          <p:nvGrpSpPr>
            <p:cNvPr id="37" name="MoonLegend1"/>
            <p:cNvGrpSpPr>
              <a:grpSpLocks noChangeAspect="1"/>
            </p:cNvGrpSpPr>
            <p:nvPr>
              <p:custDataLst>
                <p:tags r:id="rId18"/>
              </p:custDataLst>
            </p:nvPr>
          </p:nvGrpSpPr>
          <p:grpSpPr bwMode="auto">
            <a:xfrm>
              <a:off x="7769225" y="2105025"/>
              <a:ext cx="209550" cy="209551"/>
              <a:chOff x="4533" y="183"/>
              <a:chExt cx="144" cy="144"/>
            </a:xfrm>
          </p:grpSpPr>
          <p:sp>
            <p:nvSpPr>
              <p:cNvPr id="55" name="Oval 38"/>
              <p:cNvSpPr>
                <a:spLocks noChangeAspect="1" noChangeArrowheads="1"/>
              </p:cNvSpPr>
              <p:nvPr>
                <p:custDataLst>
                  <p:tags r:id="rId31"/>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sp>
            <p:nvSpPr>
              <p:cNvPr id="56" name="Arc 39"/>
              <p:cNvSpPr>
                <a:spLocks noChangeAspect="1"/>
              </p:cNvSpPr>
              <p:nvPr>
                <p:custDataLst>
                  <p:tags r:id="rId32"/>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grpSp>
        <p:grpSp>
          <p:nvGrpSpPr>
            <p:cNvPr id="38" name="MoonLegend2"/>
            <p:cNvGrpSpPr>
              <a:grpSpLocks noChangeAspect="1"/>
            </p:cNvGrpSpPr>
            <p:nvPr>
              <p:custDataLst>
                <p:tags r:id="rId19"/>
              </p:custDataLst>
            </p:nvPr>
          </p:nvGrpSpPr>
          <p:grpSpPr bwMode="auto">
            <a:xfrm>
              <a:off x="7769225" y="2379266"/>
              <a:ext cx="209550" cy="209551"/>
              <a:chOff x="1694" y="2044"/>
              <a:chExt cx="160" cy="160"/>
            </a:xfrm>
          </p:grpSpPr>
          <p:sp>
            <p:nvSpPr>
              <p:cNvPr id="53" name="Oval 41"/>
              <p:cNvSpPr>
                <a:spLocks noChangeAspect="1" noChangeArrowheads="1"/>
              </p:cNvSpPr>
              <p:nvPr>
                <p:custDataLst>
                  <p:tags r:id="rId29"/>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sp>
            <p:nvSpPr>
              <p:cNvPr id="54" name="Arc 42"/>
              <p:cNvSpPr>
                <a:spLocks noChangeAspect="1"/>
              </p:cNvSpPr>
              <p:nvPr>
                <p:custDataLst>
                  <p:tags r:id="rId30"/>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grpSp>
        <p:grpSp>
          <p:nvGrpSpPr>
            <p:cNvPr id="39" name="MoonLegend4"/>
            <p:cNvGrpSpPr>
              <a:grpSpLocks noChangeAspect="1"/>
            </p:cNvGrpSpPr>
            <p:nvPr>
              <p:custDataLst>
                <p:tags r:id="rId20"/>
              </p:custDataLst>
            </p:nvPr>
          </p:nvGrpSpPr>
          <p:grpSpPr bwMode="auto">
            <a:xfrm>
              <a:off x="7769225" y="2927748"/>
              <a:ext cx="209550" cy="209551"/>
              <a:chOff x="4495" y="1198"/>
              <a:chExt cx="160" cy="160"/>
            </a:xfrm>
          </p:grpSpPr>
          <p:sp>
            <p:nvSpPr>
              <p:cNvPr id="51" name="Oval 47"/>
              <p:cNvSpPr>
                <a:spLocks noChangeAspect="1" noChangeArrowheads="1"/>
              </p:cNvSpPr>
              <p:nvPr>
                <p:custDataLst>
                  <p:tags r:id="rId27"/>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sp>
            <p:nvSpPr>
              <p:cNvPr id="52" name="Arc 48"/>
              <p:cNvSpPr>
                <a:spLocks noChangeAspect="1"/>
              </p:cNvSpPr>
              <p:nvPr>
                <p:custDataLst>
                  <p:tags r:id="rId28"/>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grpSp>
        <p:grpSp>
          <p:nvGrpSpPr>
            <p:cNvPr id="40" name="MoonLegend5"/>
            <p:cNvGrpSpPr>
              <a:grpSpLocks noChangeAspect="1"/>
            </p:cNvGrpSpPr>
            <p:nvPr>
              <p:custDataLst>
                <p:tags r:id="rId21"/>
              </p:custDataLst>
            </p:nvPr>
          </p:nvGrpSpPr>
          <p:grpSpPr bwMode="auto">
            <a:xfrm>
              <a:off x="7769225" y="3201990"/>
              <a:ext cx="209550" cy="209551"/>
              <a:chOff x="4495" y="1440"/>
              <a:chExt cx="160" cy="160"/>
            </a:xfrm>
          </p:grpSpPr>
          <p:sp>
            <p:nvSpPr>
              <p:cNvPr id="49" name="Oval 50"/>
              <p:cNvSpPr>
                <a:spLocks noChangeAspect="1" noChangeArrowheads="1"/>
              </p:cNvSpPr>
              <p:nvPr>
                <p:custDataLst>
                  <p:tags r:id="rId25"/>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0113" eaLnBrk="0" hangingPunct="0">
                  <a:defRPr>
                    <a:solidFill>
                      <a:schemeClr val="tx1"/>
                    </a:solidFill>
                    <a:latin typeface="Calibri" pitchFamily="34" charset="0"/>
                    <a:cs typeface="Arial" pitchFamily="34" charset="0"/>
                  </a:defRPr>
                </a:lvl1pPr>
                <a:lvl2pPr defTabSz="900113" eaLnBrk="0" hangingPunct="0">
                  <a:defRPr>
                    <a:solidFill>
                      <a:schemeClr val="tx1"/>
                    </a:solidFill>
                    <a:latin typeface="Calibri" pitchFamily="34" charset="0"/>
                    <a:cs typeface="Arial" pitchFamily="34" charset="0"/>
                  </a:defRPr>
                </a:lvl2pPr>
                <a:lvl3pPr defTabSz="900113" eaLnBrk="0" hangingPunct="0">
                  <a:defRPr>
                    <a:solidFill>
                      <a:schemeClr val="tx1"/>
                    </a:solidFill>
                    <a:latin typeface="Calibri" pitchFamily="34" charset="0"/>
                    <a:cs typeface="Arial" pitchFamily="34" charset="0"/>
                  </a:defRPr>
                </a:lvl3pPr>
                <a:lvl4pPr defTabSz="900113" eaLnBrk="0" hangingPunct="0">
                  <a:defRPr>
                    <a:solidFill>
                      <a:schemeClr val="tx1"/>
                    </a:solidFill>
                    <a:latin typeface="Calibri" pitchFamily="34" charset="0"/>
                    <a:cs typeface="Arial" pitchFamily="34" charset="0"/>
                  </a:defRPr>
                </a:lvl4pPr>
                <a:lvl5pPr defTabSz="900113" eaLnBrk="0" hangingPunct="0">
                  <a:defRPr>
                    <a:solidFill>
                      <a:schemeClr val="tx1"/>
                    </a:solidFill>
                    <a:latin typeface="Calibri" pitchFamily="34" charset="0"/>
                    <a:cs typeface="Arial" pitchFamily="34" charset="0"/>
                  </a:defRPr>
                </a:lvl5pPr>
                <a:lvl6pPr marL="2274888" indent="3175" defTabSz="90011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90011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90011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90011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defRPr/>
                </a:pPr>
                <a:endParaRPr lang="en-US" altLang="nl-NL" sz="1100">
                  <a:solidFill>
                    <a:srgbClr val="54646C"/>
                  </a:solidFill>
                  <a:latin typeface="Arial" pitchFamily="34" charset="0"/>
                </a:endParaRPr>
              </a:p>
            </p:txBody>
          </p:sp>
          <p:sp>
            <p:nvSpPr>
              <p:cNvPr id="50" name="Oval 51"/>
              <p:cNvSpPr>
                <a:spLocks noChangeAspect="1" noChangeArrowheads="1"/>
              </p:cNvSpPr>
              <p:nvPr>
                <p:custDataLst>
                  <p:tags r:id="rId26"/>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grpSp>
        <p:sp>
          <p:nvSpPr>
            <p:cNvPr id="41" name="Legend1"/>
            <p:cNvSpPr>
              <a:spLocks noChangeArrowheads="1"/>
            </p:cNvSpPr>
            <p:nvPr/>
          </p:nvSpPr>
          <p:spPr bwMode="auto">
            <a:xfrm>
              <a:off x="8089816" y="2117725"/>
              <a:ext cx="353369" cy="169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sp>
          <p:nvSpPr>
            <p:cNvPr id="42" name="Legend2"/>
            <p:cNvSpPr>
              <a:spLocks noChangeArrowheads="1"/>
            </p:cNvSpPr>
            <p:nvPr/>
          </p:nvSpPr>
          <p:spPr bwMode="auto">
            <a:xfrm>
              <a:off x="8089816" y="2392363"/>
              <a:ext cx="353369" cy="169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sp>
          <p:nvSpPr>
            <p:cNvPr id="43" name="Legend3"/>
            <p:cNvSpPr>
              <a:spLocks noChangeArrowheads="1"/>
            </p:cNvSpPr>
            <p:nvPr/>
          </p:nvSpPr>
          <p:spPr bwMode="auto">
            <a:xfrm>
              <a:off x="8089816" y="2667002"/>
              <a:ext cx="353369" cy="169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sp>
          <p:nvSpPr>
            <p:cNvPr id="44" name="Legend4"/>
            <p:cNvSpPr>
              <a:spLocks noChangeArrowheads="1"/>
            </p:cNvSpPr>
            <p:nvPr/>
          </p:nvSpPr>
          <p:spPr bwMode="auto">
            <a:xfrm>
              <a:off x="8089816" y="2938465"/>
              <a:ext cx="353369" cy="169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sp>
          <p:nvSpPr>
            <p:cNvPr id="45" name="Legend5"/>
            <p:cNvSpPr>
              <a:spLocks noChangeArrowheads="1"/>
            </p:cNvSpPr>
            <p:nvPr/>
          </p:nvSpPr>
          <p:spPr bwMode="auto">
            <a:xfrm>
              <a:off x="8089816" y="3214690"/>
              <a:ext cx="353369" cy="169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81063" eaLnBrk="0" hangingPunct="0">
                <a:defRPr>
                  <a:solidFill>
                    <a:schemeClr val="tx1"/>
                  </a:solidFill>
                  <a:latin typeface="Calibri" pitchFamily="34" charset="0"/>
                  <a:cs typeface="Arial" pitchFamily="34" charset="0"/>
                </a:defRPr>
              </a:lvl1pPr>
              <a:lvl2pPr defTabSz="881063" eaLnBrk="0" hangingPunct="0">
                <a:defRPr>
                  <a:solidFill>
                    <a:schemeClr val="tx1"/>
                  </a:solidFill>
                  <a:latin typeface="Calibri" pitchFamily="34" charset="0"/>
                  <a:cs typeface="Arial" pitchFamily="34" charset="0"/>
                </a:defRPr>
              </a:lvl2pPr>
              <a:lvl3pPr defTabSz="881063" eaLnBrk="0" hangingPunct="0">
                <a:defRPr>
                  <a:solidFill>
                    <a:schemeClr val="tx1"/>
                  </a:solidFill>
                  <a:latin typeface="Calibri" pitchFamily="34" charset="0"/>
                  <a:cs typeface="Arial" pitchFamily="34" charset="0"/>
                </a:defRPr>
              </a:lvl3pPr>
              <a:lvl4pPr defTabSz="881063" eaLnBrk="0" hangingPunct="0">
                <a:defRPr>
                  <a:solidFill>
                    <a:schemeClr val="tx1"/>
                  </a:solidFill>
                  <a:latin typeface="Calibri" pitchFamily="34" charset="0"/>
                  <a:cs typeface="Arial" pitchFamily="34" charset="0"/>
                </a:defRPr>
              </a:lvl4pPr>
              <a:lvl5pPr defTabSz="881063" eaLnBrk="0" hangingPunct="0">
                <a:defRPr>
                  <a:solidFill>
                    <a:schemeClr val="tx1"/>
                  </a:solidFill>
                  <a:latin typeface="Calibri" pitchFamily="34" charset="0"/>
                  <a:cs typeface="Arial" pitchFamily="34" charset="0"/>
                </a:defRPr>
              </a:lvl5pPr>
              <a:lvl6pPr marL="2274888" indent="3175" defTabSz="88106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88106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88106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88106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buClr>
                  <a:srgbClr val="54646C"/>
                </a:buClr>
                <a:defRPr/>
              </a:pPr>
              <a:r>
                <a:rPr lang="en-US" altLang="nl-NL" sz="1100">
                  <a:solidFill>
                    <a:srgbClr val="54646C"/>
                  </a:solidFill>
                  <a:latin typeface="Arial" pitchFamily="34" charset="0"/>
                </a:rPr>
                <a:t>Legend</a:t>
              </a:r>
            </a:p>
          </p:txBody>
        </p:sp>
        <p:grpSp>
          <p:nvGrpSpPr>
            <p:cNvPr id="46" name="MoonLegend3"/>
            <p:cNvGrpSpPr>
              <a:grpSpLocks noChangeAspect="1"/>
            </p:cNvGrpSpPr>
            <p:nvPr>
              <p:custDataLst>
                <p:tags r:id="rId22"/>
              </p:custDataLst>
            </p:nvPr>
          </p:nvGrpSpPr>
          <p:grpSpPr bwMode="auto">
            <a:xfrm>
              <a:off x="7769225" y="2653507"/>
              <a:ext cx="209550" cy="209551"/>
              <a:chOff x="4495" y="1198"/>
              <a:chExt cx="160" cy="160"/>
            </a:xfrm>
          </p:grpSpPr>
          <p:sp>
            <p:nvSpPr>
              <p:cNvPr id="47" name="Oval 47"/>
              <p:cNvSpPr>
                <a:spLocks noChangeAspect="1" noChangeArrowheads="1"/>
              </p:cNvSpPr>
              <p:nvPr>
                <p:custDataLst>
                  <p:tags r:id="rId23"/>
                </p:custDataLst>
              </p:nvPr>
            </p:nvSpPr>
            <p:spPr bwMode="blackWhite">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sp>
            <p:nvSpPr>
              <p:cNvPr id="48" name="Arc 48"/>
              <p:cNvSpPr>
                <a:spLocks noChangeAspect="1"/>
              </p:cNvSpPr>
              <p:nvPr>
                <p:custDataLst>
                  <p:tags r:id="rId24"/>
                </p:custDataLst>
              </p:nvPr>
            </p:nvSpPr>
            <p:spPr bwMode="black">
              <a:xfrm>
                <a:off x="4495" y="119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0454" fontAlgn="base">
                  <a:spcBef>
                    <a:spcPct val="0"/>
                  </a:spcBef>
                  <a:spcAft>
                    <a:spcPct val="0"/>
                  </a:spcAft>
                  <a:defRPr/>
                </a:pPr>
                <a:endParaRPr lang="en-US" sz="1100">
                  <a:solidFill>
                    <a:srgbClr val="54646C"/>
                  </a:solidFill>
                </a:endParaRPr>
              </a:p>
            </p:txBody>
          </p:sp>
        </p:grpSp>
      </p:grpSp>
      <p:sp>
        <p:nvSpPr>
          <p:cNvPr id="57" name="Rectangle 19"/>
          <p:cNvSpPr>
            <a:spLocks noChangeArrowheads="1"/>
          </p:cNvSpPr>
          <p:nvPr>
            <p:custDataLst>
              <p:tags r:id="rId13"/>
            </p:custDataLst>
          </p:nvPr>
        </p:nvSpPr>
        <p:spPr bwMode="auto">
          <a:xfrm>
            <a:off x="5065184" y="2"/>
            <a:ext cx="7126816" cy="180975"/>
          </a:xfrm>
          <a:prstGeom prst="rect">
            <a:avLst/>
          </a:prstGeom>
          <a:gradFill rotWithShape="1">
            <a:gsLst>
              <a:gs pos="0">
                <a:schemeClr val="folHlink">
                  <a:gamma/>
                  <a:tint val="0"/>
                  <a:invGamma/>
                  <a:alpha val="0"/>
                </a:schemeClr>
              </a:gs>
              <a:gs pos="100000">
                <a:schemeClr val="accent4">
                  <a:alpha val="37000"/>
                </a:schemeClr>
              </a:gs>
            </a:gsLst>
            <a:lin ang="0" scaled="1"/>
          </a:gradFill>
          <a:ln>
            <a:noFill/>
          </a:ln>
          <a:effectLst/>
        </p:spPr>
        <p:txBody>
          <a:bodyPr wrap="none" lIns="90014" tIns="45007" rIns="90014" bIns="45007" anchor="ctr"/>
          <a:lstStyle/>
          <a:p>
            <a:pPr defTabSz="900454" fontAlgn="base">
              <a:spcBef>
                <a:spcPct val="0"/>
              </a:spcBef>
              <a:spcAft>
                <a:spcPct val="0"/>
              </a:spcAft>
              <a:defRPr/>
            </a:pPr>
            <a:endParaRPr lang="nl-NL" sz="1600">
              <a:solidFill>
                <a:srgbClr val="54646C"/>
              </a:solidFill>
            </a:endParaRPr>
          </a:p>
        </p:txBody>
      </p:sp>
      <p:sp>
        <p:nvSpPr>
          <p:cNvPr id="58" name="Rectangle 21"/>
          <p:cNvSpPr>
            <a:spLocks noChangeArrowheads="1"/>
          </p:cNvSpPr>
          <p:nvPr>
            <p:custDataLst>
              <p:tags r:id="rId14"/>
            </p:custDataLst>
          </p:nvPr>
        </p:nvSpPr>
        <p:spPr bwMode="auto">
          <a:xfrm>
            <a:off x="9000067" y="180979"/>
            <a:ext cx="3191933" cy="773113"/>
          </a:xfrm>
          <a:prstGeom prst="rect">
            <a:avLst/>
          </a:prstGeom>
          <a:gradFill rotWithShape="1">
            <a:gsLst>
              <a:gs pos="0">
                <a:srgbClr val="FFFFFF">
                  <a:alpha val="0"/>
                </a:srgbClr>
              </a:gs>
              <a:gs pos="100000">
                <a:schemeClr val="accent2">
                  <a:alpha val="29999"/>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14" tIns="45007" rIns="90014" bIns="45007" anchor="ctr"/>
          <a:lstStyle>
            <a:lvl1pPr defTabSz="900113" eaLnBrk="0" hangingPunct="0">
              <a:defRPr>
                <a:solidFill>
                  <a:schemeClr val="tx1"/>
                </a:solidFill>
                <a:latin typeface="Calibri" pitchFamily="34" charset="0"/>
                <a:cs typeface="Arial" pitchFamily="34" charset="0"/>
              </a:defRPr>
            </a:lvl1pPr>
            <a:lvl2pPr defTabSz="900113" eaLnBrk="0" hangingPunct="0">
              <a:defRPr>
                <a:solidFill>
                  <a:schemeClr val="tx1"/>
                </a:solidFill>
                <a:latin typeface="Calibri" pitchFamily="34" charset="0"/>
                <a:cs typeface="Arial" pitchFamily="34" charset="0"/>
              </a:defRPr>
            </a:lvl2pPr>
            <a:lvl3pPr defTabSz="900113" eaLnBrk="0" hangingPunct="0">
              <a:defRPr>
                <a:solidFill>
                  <a:schemeClr val="tx1"/>
                </a:solidFill>
                <a:latin typeface="Calibri" pitchFamily="34" charset="0"/>
                <a:cs typeface="Arial" pitchFamily="34" charset="0"/>
              </a:defRPr>
            </a:lvl3pPr>
            <a:lvl4pPr defTabSz="900113" eaLnBrk="0" hangingPunct="0">
              <a:defRPr>
                <a:solidFill>
                  <a:schemeClr val="tx1"/>
                </a:solidFill>
                <a:latin typeface="Calibri" pitchFamily="34" charset="0"/>
                <a:cs typeface="Arial" pitchFamily="34" charset="0"/>
              </a:defRPr>
            </a:lvl4pPr>
            <a:lvl5pPr defTabSz="900113" eaLnBrk="0" hangingPunct="0">
              <a:defRPr>
                <a:solidFill>
                  <a:schemeClr val="tx1"/>
                </a:solidFill>
                <a:latin typeface="Calibri" pitchFamily="34" charset="0"/>
                <a:cs typeface="Arial" pitchFamily="34" charset="0"/>
              </a:defRPr>
            </a:lvl5pPr>
            <a:lvl6pPr marL="2274888" indent="3175" defTabSz="900113" eaLnBrk="0" fontAlgn="base" hangingPunct="0">
              <a:spcBef>
                <a:spcPct val="0"/>
              </a:spcBef>
              <a:spcAft>
                <a:spcPct val="0"/>
              </a:spcAft>
              <a:defRPr>
                <a:solidFill>
                  <a:schemeClr val="tx1"/>
                </a:solidFill>
                <a:latin typeface="Calibri" pitchFamily="34" charset="0"/>
                <a:cs typeface="Arial" pitchFamily="34" charset="0"/>
              </a:defRPr>
            </a:lvl6pPr>
            <a:lvl7pPr marL="2732088" indent="3175" defTabSz="900113" eaLnBrk="0" fontAlgn="base" hangingPunct="0">
              <a:spcBef>
                <a:spcPct val="0"/>
              </a:spcBef>
              <a:spcAft>
                <a:spcPct val="0"/>
              </a:spcAft>
              <a:defRPr>
                <a:solidFill>
                  <a:schemeClr val="tx1"/>
                </a:solidFill>
                <a:latin typeface="Calibri" pitchFamily="34" charset="0"/>
                <a:cs typeface="Arial" pitchFamily="34" charset="0"/>
              </a:defRPr>
            </a:lvl7pPr>
            <a:lvl8pPr marL="3189288" indent="3175" defTabSz="900113" eaLnBrk="0" fontAlgn="base" hangingPunct="0">
              <a:spcBef>
                <a:spcPct val="0"/>
              </a:spcBef>
              <a:spcAft>
                <a:spcPct val="0"/>
              </a:spcAft>
              <a:defRPr>
                <a:solidFill>
                  <a:schemeClr val="tx1"/>
                </a:solidFill>
                <a:latin typeface="Calibri" pitchFamily="34" charset="0"/>
                <a:cs typeface="Arial" pitchFamily="34" charset="0"/>
              </a:defRPr>
            </a:lvl8pPr>
            <a:lvl9pPr marL="3646488" indent="3175" defTabSz="900113"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base" hangingPunct="1">
              <a:spcBef>
                <a:spcPct val="0"/>
              </a:spcBef>
              <a:spcAft>
                <a:spcPct val="0"/>
              </a:spcAft>
              <a:defRPr/>
            </a:pPr>
            <a:endParaRPr lang="nl-NL" altLang="nl-NL" sz="1600">
              <a:solidFill>
                <a:srgbClr val="54646C"/>
              </a:solidFill>
              <a:latin typeface="Arial" pitchFamily="34" charset="0"/>
            </a:endParaRPr>
          </a:p>
        </p:txBody>
      </p:sp>
      <p:pic>
        <p:nvPicPr>
          <p:cNvPr id="59" name="Picture 40" descr="AA"/>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0687051" y="6496050"/>
            <a:ext cx="1331383"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0" name="Object 68" hidden="1"/>
          <p:cNvGraphicFramePr>
            <a:graphicFrameLocks/>
          </p:cNvGraphicFramePr>
          <p:nvPr>
            <p:custDataLst>
              <p:tags r:id="rId15"/>
            </p:custDataLst>
          </p:nvPr>
        </p:nvGraphicFramePr>
        <p:xfrm>
          <a:off x="4" y="2"/>
          <a:ext cx="182033" cy="144463"/>
        </p:xfrm>
        <a:graphic>
          <a:graphicData uri="http://schemas.openxmlformats.org/presentationml/2006/ole">
            <mc:AlternateContent xmlns:mc="http://schemas.openxmlformats.org/markup-compatibility/2006">
              <mc:Choice xmlns:v="urn:schemas-microsoft-com:vml" Requires="v">
                <p:oleObj name="think-cell Slide" r:id="rId37" imgW="360" imgH="360" progId="TCLayout.ActiveDocument.1">
                  <p:embed/>
                </p:oleObj>
              </mc:Choice>
              <mc:Fallback>
                <p:oleObj name="think-cell Slide" r:id="rId37" imgW="360" imgH="360" progId="TCLayout.ActiveDocument.1">
                  <p:embed/>
                  <p:pic>
                    <p:nvPicPr>
                      <p:cNvPr id="60" name="Object 68" hidden="1"/>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4" y="2"/>
                        <a:ext cx="182033"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 name="Slide Number Placeholder 1"/>
          <p:cNvSpPr txBox="1">
            <a:spLocks/>
          </p:cNvSpPr>
          <p:nvPr>
            <p:custDataLst>
              <p:tags r:id="rId16"/>
            </p:custDataLst>
          </p:nvPr>
        </p:nvSpPr>
        <p:spPr>
          <a:xfrm>
            <a:off x="334436" y="6565904"/>
            <a:ext cx="285751" cy="155575"/>
          </a:xfrm>
          <a:prstGeom prst="rect">
            <a:avLst/>
          </a:prstGeom>
        </p:spPr>
        <p:txBody>
          <a:bodyPr wrap="none" lIns="0" tIns="0" rIns="0" bIns="0" anchor="ctr"/>
          <a:lstStyle>
            <a:defPPr>
              <a:defRPr lang="nl-NL"/>
            </a:defPPr>
            <a:lvl1pPr marL="0" algn="l" defTabSz="904927" rtl="0" eaLnBrk="1" latinLnBrk="0" hangingPunct="1">
              <a:defRPr lang="en-US" sz="1000" kern="1200" baseline="0" smtClean="0">
                <a:solidFill>
                  <a:srgbClr val="54646C"/>
                </a:solidFill>
                <a:latin typeface="+mn-lt"/>
                <a:ea typeface="+mn-ea"/>
                <a:cs typeface="+mn-cs"/>
              </a:defRPr>
            </a:lvl1pPr>
            <a:lvl2pPr marL="452466" algn="l" defTabSz="904927" rtl="0" eaLnBrk="1" latinLnBrk="0" hangingPunct="1">
              <a:defRPr sz="1800" kern="1200">
                <a:solidFill>
                  <a:schemeClr val="tx1"/>
                </a:solidFill>
                <a:latin typeface="+mn-lt"/>
                <a:ea typeface="+mn-ea"/>
                <a:cs typeface="+mn-cs"/>
              </a:defRPr>
            </a:lvl2pPr>
            <a:lvl3pPr marL="904927" algn="l" defTabSz="904927" rtl="0" eaLnBrk="1" latinLnBrk="0" hangingPunct="1">
              <a:defRPr sz="1800" kern="1200">
                <a:solidFill>
                  <a:schemeClr val="tx1"/>
                </a:solidFill>
                <a:latin typeface="+mn-lt"/>
                <a:ea typeface="+mn-ea"/>
                <a:cs typeface="+mn-cs"/>
              </a:defRPr>
            </a:lvl3pPr>
            <a:lvl4pPr marL="1357391" algn="l" defTabSz="904927" rtl="0" eaLnBrk="1" latinLnBrk="0" hangingPunct="1">
              <a:defRPr sz="1800" kern="1200">
                <a:solidFill>
                  <a:schemeClr val="tx1"/>
                </a:solidFill>
                <a:latin typeface="+mn-lt"/>
                <a:ea typeface="+mn-ea"/>
                <a:cs typeface="+mn-cs"/>
              </a:defRPr>
            </a:lvl4pPr>
            <a:lvl5pPr marL="1809863" algn="l" defTabSz="904927" rtl="0" eaLnBrk="1" latinLnBrk="0" hangingPunct="1">
              <a:defRPr sz="1800" kern="1200">
                <a:solidFill>
                  <a:schemeClr val="tx1"/>
                </a:solidFill>
                <a:latin typeface="+mn-lt"/>
                <a:ea typeface="+mn-ea"/>
                <a:cs typeface="+mn-cs"/>
              </a:defRPr>
            </a:lvl5pPr>
            <a:lvl6pPr marL="2262318" algn="l" defTabSz="904927" rtl="0" eaLnBrk="1" latinLnBrk="0" hangingPunct="1">
              <a:defRPr sz="1800" kern="1200">
                <a:solidFill>
                  <a:schemeClr val="tx1"/>
                </a:solidFill>
                <a:latin typeface="+mn-lt"/>
                <a:ea typeface="+mn-ea"/>
                <a:cs typeface="+mn-cs"/>
              </a:defRPr>
            </a:lvl6pPr>
            <a:lvl7pPr marL="2714781" algn="l" defTabSz="904927" rtl="0" eaLnBrk="1" latinLnBrk="0" hangingPunct="1">
              <a:defRPr sz="1800" kern="1200">
                <a:solidFill>
                  <a:schemeClr val="tx1"/>
                </a:solidFill>
                <a:latin typeface="+mn-lt"/>
                <a:ea typeface="+mn-ea"/>
                <a:cs typeface="+mn-cs"/>
              </a:defRPr>
            </a:lvl7pPr>
            <a:lvl8pPr marL="3167252" algn="l" defTabSz="904927" rtl="0" eaLnBrk="1" latinLnBrk="0" hangingPunct="1">
              <a:defRPr sz="1800" kern="1200">
                <a:solidFill>
                  <a:schemeClr val="tx1"/>
                </a:solidFill>
                <a:latin typeface="+mn-lt"/>
                <a:ea typeface="+mn-ea"/>
                <a:cs typeface="+mn-cs"/>
              </a:defRPr>
            </a:lvl8pPr>
            <a:lvl9pPr marL="3619713" algn="l" defTabSz="904927"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35DA4DF1-3B0A-41C7-9394-F232ADCC9A9E}" type="slidenum">
              <a:rPr lang="nl-NL" sz="1000"/>
              <a:pPr fontAlgn="base">
                <a:spcBef>
                  <a:spcPct val="0"/>
                </a:spcBef>
                <a:spcAft>
                  <a:spcPct val="0"/>
                </a:spcAft>
                <a:defRPr/>
              </a:pPr>
              <a:t>‹#›</a:t>
            </a:fld>
            <a:endParaRPr lang="nl-NL" sz="1000"/>
          </a:p>
        </p:txBody>
      </p:sp>
      <p:graphicFrame>
        <p:nvGraphicFramePr>
          <p:cNvPr id="62" name="Object 70" hidden="1"/>
          <p:cNvGraphicFramePr>
            <a:graphicFrameLocks/>
          </p:cNvGraphicFramePr>
          <p:nvPr>
            <p:custDataLst>
              <p:tags r:id="rId17"/>
            </p:custDataLst>
          </p:nvPr>
        </p:nvGraphicFramePr>
        <p:xfrm>
          <a:off x="4" y="2"/>
          <a:ext cx="182033" cy="144463"/>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62" name="Object 70" hidden="1"/>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4" y="2"/>
                        <a:ext cx="182033"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Placeholder 2"/>
          <p:cNvSpPr>
            <a:spLocks noGrp="1" noChangeArrowheads="1"/>
          </p:cNvSpPr>
          <p:nvPr>
            <p:ph type="title"/>
          </p:nvPr>
        </p:nvSpPr>
        <p:spPr bwMode="auto">
          <a:xfrm>
            <a:off x="162113" y="476813"/>
            <a:ext cx="11725484"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en-US" noProof="0"/>
              <a:t>Click to edit Master title style</a:t>
            </a:r>
          </a:p>
        </p:txBody>
      </p:sp>
    </p:spTree>
    <p:extLst>
      <p:ext uri="{BB962C8B-B14F-4D97-AF65-F5344CB8AC3E}">
        <p14:creationId xmlns:p14="http://schemas.microsoft.com/office/powerpoint/2010/main" val="6258204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C568EA51-E381-4FE1-8966-210825EC768D}"/>
              </a:ext>
            </a:extLst>
          </p:cNvPr>
          <p:cNvSpPr/>
          <p:nvPr userDrawn="1"/>
        </p:nvSpPr>
        <p:spPr>
          <a:xfrm>
            <a:off x="-116957" y="-8306"/>
            <a:ext cx="6669823" cy="6866302"/>
          </a:xfrm>
          <a:custGeom>
            <a:avLst/>
            <a:gdLst>
              <a:gd name="connsiteX0" fmla="*/ 0 w 6238755"/>
              <a:gd name="connsiteY0" fmla="*/ 0 h 6875362"/>
              <a:gd name="connsiteX1" fmla="*/ 6238755 w 6238755"/>
              <a:gd name="connsiteY1" fmla="*/ 0 h 6875362"/>
              <a:gd name="connsiteX2" fmla="*/ 4155312 w 6238755"/>
              <a:gd name="connsiteY2" fmla="*/ 6875362 h 6875362"/>
              <a:gd name="connsiteX3" fmla="*/ 0 w 6238755"/>
              <a:gd name="connsiteY3" fmla="*/ 6875362 h 6875362"/>
              <a:gd name="connsiteX4" fmla="*/ 0 w 6238755"/>
              <a:gd name="connsiteY4" fmla="*/ 0 h 6875362"/>
              <a:gd name="connsiteX0" fmla="*/ 0 w 6410122"/>
              <a:gd name="connsiteY0" fmla="*/ 0 h 6875362"/>
              <a:gd name="connsiteX1" fmla="*/ 6410122 w 6410122"/>
              <a:gd name="connsiteY1" fmla="*/ 0 h 6875362"/>
              <a:gd name="connsiteX2" fmla="*/ 4155312 w 6410122"/>
              <a:gd name="connsiteY2" fmla="*/ 6875362 h 6875362"/>
              <a:gd name="connsiteX3" fmla="*/ 0 w 6410122"/>
              <a:gd name="connsiteY3" fmla="*/ 6875362 h 6875362"/>
              <a:gd name="connsiteX4" fmla="*/ 0 w 6410122"/>
              <a:gd name="connsiteY4" fmla="*/ 0 h 6875362"/>
              <a:gd name="connsiteX0" fmla="*/ 0 w 6428483"/>
              <a:gd name="connsiteY0" fmla="*/ 0 h 6875362"/>
              <a:gd name="connsiteX1" fmla="*/ 6428483 w 6428483"/>
              <a:gd name="connsiteY1" fmla="*/ 3179 h 6875362"/>
              <a:gd name="connsiteX2" fmla="*/ 4155312 w 6428483"/>
              <a:gd name="connsiteY2" fmla="*/ 6875362 h 6875362"/>
              <a:gd name="connsiteX3" fmla="*/ 0 w 6428483"/>
              <a:gd name="connsiteY3" fmla="*/ 6875362 h 6875362"/>
              <a:gd name="connsiteX4" fmla="*/ 0 w 6428483"/>
              <a:gd name="connsiteY4" fmla="*/ 0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8483" h="6875362">
                <a:moveTo>
                  <a:pt x="0" y="0"/>
                </a:moveTo>
                <a:lnTo>
                  <a:pt x="6428483" y="3179"/>
                </a:lnTo>
                <a:lnTo>
                  <a:pt x="4155312" y="6875362"/>
                </a:lnTo>
                <a:lnTo>
                  <a:pt x="0" y="687536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88817" y="2081324"/>
            <a:ext cx="3868883" cy="2442931"/>
          </a:xfrm>
          <a:prstGeom prst="rect">
            <a:avLst/>
          </a:prstGeom>
        </p:spPr>
        <p:txBody>
          <a:bodyPr lIns="0" tIns="0" rIns="0" bIns="72000" anchor="ctr"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4660349"/>
            <a:ext cx="3708862" cy="304800"/>
          </a:xfrm>
          <a:prstGeom prst="rect">
            <a:avLst/>
          </a:prstGeom>
        </p:spPr>
        <p:txBody>
          <a:bodyPr lIns="0" anchor="ctr"/>
          <a:lstStyle>
            <a:lvl1pPr marL="0" indent="0">
              <a:buNone/>
              <a:defRPr sz="1400" b="0" i="0">
                <a:solidFill>
                  <a:schemeClr val="tx2"/>
                </a:solidFill>
              </a:defRPr>
            </a:lvl1pPr>
            <a:lvl2pPr marL="457200" indent="0">
              <a:buNone/>
              <a:defRPr sz="800" b="1" i="0">
                <a:solidFill>
                  <a:schemeClr val="bg1"/>
                </a:solidFill>
              </a:defRPr>
            </a:lvl2pPr>
            <a:lvl3pPr marL="914400" indent="0">
              <a:buNone/>
              <a:defRPr sz="800" i="1"/>
            </a:lvl3pPr>
            <a:lvl4pPr marL="1371600" indent="0">
              <a:buNone/>
              <a:defRPr sz="800" i="1"/>
            </a:lvl4pPr>
            <a:lvl5pPr marL="1828800" indent="0">
              <a:buNone/>
              <a:defRPr sz="800" i="1"/>
            </a:lvl5pPr>
          </a:lstStyle>
          <a:p>
            <a:pPr lvl="0"/>
            <a:r>
              <a:rPr lang="en-US"/>
              <a:t>City, Country, Date, Year</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4997458"/>
            <a:ext cx="3878262" cy="325447"/>
          </a:xfrm>
          <a:prstGeom prst="rect">
            <a:avLst/>
          </a:prstGeom>
        </p:spPr>
        <p:txBody>
          <a:bodyPr lIns="0"/>
          <a:lstStyle>
            <a:lvl1pPr marL="0" indent="0">
              <a:buNone/>
              <a:defRPr sz="1600" b="1">
                <a:solidFill>
                  <a:schemeClr val="tx2"/>
                </a:solidFill>
              </a:defRPr>
            </a:lvl1pPr>
            <a:lvl2pPr marL="0" indent="0">
              <a:buNone/>
              <a:defRPr sz="1400">
                <a:solidFill>
                  <a:schemeClr val="bg2"/>
                </a:solidFill>
              </a:defRPr>
            </a:lvl2pPr>
          </a:lstStyle>
          <a:p>
            <a:pPr lvl="0"/>
            <a:r>
              <a:rPr lang="en-US"/>
              <a:t>Hiek van der Scheer</a:t>
            </a:r>
          </a:p>
        </p:txBody>
      </p:sp>
      <p:sp>
        <p:nvSpPr>
          <p:cNvPr id="22" name="Tijdelijke aanduiding voor afbeelding 21">
            <a:extLst>
              <a:ext uri="{FF2B5EF4-FFF2-40B4-BE49-F238E27FC236}">
                <a16:creationId xmlns:a16="http://schemas.microsoft.com/office/drawing/2014/main" id="{928394CF-99D3-4C70-89A7-B13E7CF52CF1}"/>
              </a:ext>
            </a:extLst>
          </p:cNvPr>
          <p:cNvSpPr>
            <a:spLocks noGrp="1"/>
          </p:cNvSpPr>
          <p:nvPr>
            <p:ph type="pic" sz="quarter" idx="12" hasCustomPrompt="1"/>
          </p:nvPr>
        </p:nvSpPr>
        <p:spPr>
          <a:xfrm>
            <a:off x="4429035" y="-6351"/>
            <a:ext cx="7761137" cy="6149326"/>
          </a:xfrm>
          <a:custGeom>
            <a:avLst/>
            <a:gdLst>
              <a:gd name="connsiteX0" fmla="*/ 2353565 w 8058396"/>
              <a:gd name="connsiteY0" fmla="*/ 0 h 6886413"/>
              <a:gd name="connsiteX1" fmla="*/ 8058396 w 8058396"/>
              <a:gd name="connsiteY1" fmla="*/ 11050 h 6886413"/>
              <a:gd name="connsiteX2" fmla="*/ 8058396 w 8058396"/>
              <a:gd name="connsiteY2" fmla="*/ 4027466 h 6886413"/>
              <a:gd name="connsiteX3" fmla="*/ 7082264 w 8058396"/>
              <a:gd name="connsiteY3" fmla="*/ 6886413 h 6886413"/>
              <a:gd name="connsiteX4" fmla="*/ 0 w 8058396"/>
              <a:gd name="connsiteY4" fmla="*/ 6880635 h 6886413"/>
              <a:gd name="connsiteX0" fmla="*/ 2032289 w 7737120"/>
              <a:gd name="connsiteY0" fmla="*/ 0 h 6886413"/>
              <a:gd name="connsiteX1" fmla="*/ 7737120 w 7737120"/>
              <a:gd name="connsiteY1" fmla="*/ 11050 h 6886413"/>
              <a:gd name="connsiteX2" fmla="*/ 7737120 w 7737120"/>
              <a:gd name="connsiteY2" fmla="*/ 4027466 h 6886413"/>
              <a:gd name="connsiteX3" fmla="*/ 6760988 w 7737120"/>
              <a:gd name="connsiteY3" fmla="*/ 6886413 h 6886413"/>
              <a:gd name="connsiteX4" fmla="*/ 0 w 7737120"/>
              <a:gd name="connsiteY4" fmla="*/ 5950411 h 6886413"/>
              <a:gd name="connsiteX5" fmla="*/ 2032289 w 7737120"/>
              <a:gd name="connsiteY5" fmla="*/ 0 h 6886413"/>
              <a:gd name="connsiteX0" fmla="*/ 2032289 w 7737120"/>
              <a:gd name="connsiteY0" fmla="*/ 0 h 5950411"/>
              <a:gd name="connsiteX1" fmla="*/ 7737120 w 7737120"/>
              <a:gd name="connsiteY1" fmla="*/ 11050 h 5950411"/>
              <a:gd name="connsiteX2" fmla="*/ 7737120 w 7737120"/>
              <a:gd name="connsiteY2" fmla="*/ 4027466 h 5950411"/>
              <a:gd name="connsiteX3" fmla="*/ 7079965 w 7737120"/>
              <a:gd name="connsiteY3" fmla="*/ 5941911 h 5950411"/>
              <a:gd name="connsiteX4" fmla="*/ 0 w 7737120"/>
              <a:gd name="connsiteY4" fmla="*/ 5950411 h 5950411"/>
              <a:gd name="connsiteX5" fmla="*/ 2032289 w 7737120"/>
              <a:gd name="connsiteY5" fmla="*/ 0 h 5950411"/>
              <a:gd name="connsiteX0" fmla="*/ 2044989 w 7749820"/>
              <a:gd name="connsiteY0" fmla="*/ 0 h 5947224"/>
              <a:gd name="connsiteX1" fmla="*/ 7749820 w 7749820"/>
              <a:gd name="connsiteY1" fmla="*/ 11050 h 5947224"/>
              <a:gd name="connsiteX2" fmla="*/ 7749820 w 7749820"/>
              <a:gd name="connsiteY2" fmla="*/ 4027466 h 5947224"/>
              <a:gd name="connsiteX3" fmla="*/ 7092665 w 7749820"/>
              <a:gd name="connsiteY3" fmla="*/ 5941911 h 5947224"/>
              <a:gd name="connsiteX4" fmla="*/ 0 w 7749820"/>
              <a:gd name="connsiteY4" fmla="*/ 5947224 h 5947224"/>
              <a:gd name="connsiteX5" fmla="*/ 2044989 w 7749820"/>
              <a:gd name="connsiteY5" fmla="*/ 0 h 5947224"/>
              <a:gd name="connsiteX0" fmla="*/ 2038639 w 7743470"/>
              <a:gd name="connsiteY0" fmla="*/ 0 h 5950411"/>
              <a:gd name="connsiteX1" fmla="*/ 7743470 w 7743470"/>
              <a:gd name="connsiteY1" fmla="*/ 11050 h 5950411"/>
              <a:gd name="connsiteX2" fmla="*/ 7743470 w 7743470"/>
              <a:gd name="connsiteY2" fmla="*/ 4027466 h 5950411"/>
              <a:gd name="connsiteX3" fmla="*/ 7086315 w 7743470"/>
              <a:gd name="connsiteY3" fmla="*/ 5941911 h 5950411"/>
              <a:gd name="connsiteX4" fmla="*/ 0 w 7743470"/>
              <a:gd name="connsiteY4" fmla="*/ 5950411 h 5950411"/>
              <a:gd name="connsiteX5" fmla="*/ 2038639 w 7743470"/>
              <a:gd name="connsiteY5" fmla="*/ 0 h 5950411"/>
              <a:gd name="connsiteX0" fmla="*/ 2044989 w 7749820"/>
              <a:gd name="connsiteY0" fmla="*/ 0 h 5947224"/>
              <a:gd name="connsiteX1" fmla="*/ 7749820 w 7749820"/>
              <a:gd name="connsiteY1" fmla="*/ 11050 h 5947224"/>
              <a:gd name="connsiteX2" fmla="*/ 7749820 w 7749820"/>
              <a:gd name="connsiteY2" fmla="*/ 4027466 h 5947224"/>
              <a:gd name="connsiteX3" fmla="*/ 7092665 w 7749820"/>
              <a:gd name="connsiteY3" fmla="*/ 5941911 h 5947224"/>
              <a:gd name="connsiteX4" fmla="*/ 0 w 7749820"/>
              <a:gd name="connsiteY4" fmla="*/ 5947224 h 5947224"/>
              <a:gd name="connsiteX5" fmla="*/ 2044989 w 7749820"/>
              <a:gd name="connsiteY5" fmla="*/ 0 h 5947224"/>
              <a:gd name="connsiteX0" fmla="*/ 2044989 w 7749820"/>
              <a:gd name="connsiteY0" fmla="*/ 0 h 5947224"/>
              <a:gd name="connsiteX1" fmla="*/ 7287839 w 7749820"/>
              <a:gd name="connsiteY1" fmla="*/ 31211 h 5947224"/>
              <a:gd name="connsiteX2" fmla="*/ 7749820 w 7749820"/>
              <a:gd name="connsiteY2" fmla="*/ 4027466 h 5947224"/>
              <a:gd name="connsiteX3" fmla="*/ 7092665 w 7749820"/>
              <a:gd name="connsiteY3" fmla="*/ 5941911 h 5947224"/>
              <a:gd name="connsiteX4" fmla="*/ 0 w 7749820"/>
              <a:gd name="connsiteY4" fmla="*/ 5947224 h 5947224"/>
              <a:gd name="connsiteX5" fmla="*/ 2044989 w 7749820"/>
              <a:gd name="connsiteY5" fmla="*/ 0 h 5947224"/>
              <a:gd name="connsiteX0" fmla="*/ 2044989 w 7749820"/>
              <a:gd name="connsiteY0" fmla="*/ 0 h 5947224"/>
              <a:gd name="connsiteX1" fmla="*/ 7511989 w 7749820"/>
              <a:gd name="connsiteY1" fmla="*/ 5499 h 5947224"/>
              <a:gd name="connsiteX2" fmla="*/ 7749820 w 7749820"/>
              <a:gd name="connsiteY2" fmla="*/ 4027466 h 5947224"/>
              <a:gd name="connsiteX3" fmla="*/ 7092665 w 7749820"/>
              <a:gd name="connsiteY3" fmla="*/ 5941911 h 5947224"/>
              <a:gd name="connsiteX4" fmla="*/ 0 w 7749820"/>
              <a:gd name="connsiteY4" fmla="*/ 5947224 h 5947224"/>
              <a:gd name="connsiteX5" fmla="*/ 2044989 w 7749820"/>
              <a:gd name="connsiteY5" fmla="*/ 0 h 5947224"/>
              <a:gd name="connsiteX0" fmla="*/ 2044989 w 7511989"/>
              <a:gd name="connsiteY0" fmla="*/ 0 h 5947224"/>
              <a:gd name="connsiteX1" fmla="*/ 7511989 w 7511989"/>
              <a:gd name="connsiteY1" fmla="*/ 5499 h 5947224"/>
              <a:gd name="connsiteX2" fmla="*/ 7493650 w 7511989"/>
              <a:gd name="connsiteY2" fmla="*/ 3886046 h 5947224"/>
              <a:gd name="connsiteX3" fmla="*/ 7092665 w 7511989"/>
              <a:gd name="connsiteY3" fmla="*/ 5941911 h 5947224"/>
              <a:gd name="connsiteX4" fmla="*/ 0 w 7511989"/>
              <a:gd name="connsiteY4" fmla="*/ 5947224 h 5947224"/>
              <a:gd name="connsiteX5" fmla="*/ 2044989 w 7511989"/>
              <a:gd name="connsiteY5" fmla="*/ 0 h 5947224"/>
              <a:gd name="connsiteX0" fmla="*/ 2044989 w 7511989"/>
              <a:gd name="connsiteY0" fmla="*/ 0 h 5947224"/>
              <a:gd name="connsiteX1" fmla="*/ 7511989 w 7511989"/>
              <a:gd name="connsiteY1" fmla="*/ 5499 h 5947224"/>
              <a:gd name="connsiteX2" fmla="*/ 7498943 w 7511989"/>
              <a:gd name="connsiteY2" fmla="*/ 3917918 h 5947224"/>
              <a:gd name="connsiteX3" fmla="*/ 7092665 w 7511989"/>
              <a:gd name="connsiteY3" fmla="*/ 5941911 h 5947224"/>
              <a:gd name="connsiteX4" fmla="*/ 0 w 7511989"/>
              <a:gd name="connsiteY4" fmla="*/ 5947224 h 5947224"/>
              <a:gd name="connsiteX5" fmla="*/ 2044989 w 7511989"/>
              <a:gd name="connsiteY5" fmla="*/ 0 h 5947224"/>
              <a:gd name="connsiteX0" fmla="*/ 2044989 w 7511989"/>
              <a:gd name="connsiteY0" fmla="*/ 0 h 5947224"/>
              <a:gd name="connsiteX1" fmla="*/ 7511989 w 7511989"/>
              <a:gd name="connsiteY1" fmla="*/ 5499 h 5947224"/>
              <a:gd name="connsiteX2" fmla="*/ 7509527 w 7511989"/>
              <a:gd name="connsiteY2" fmla="*/ 3933853 h 5947224"/>
              <a:gd name="connsiteX3" fmla="*/ 7092665 w 7511989"/>
              <a:gd name="connsiteY3" fmla="*/ 5941911 h 5947224"/>
              <a:gd name="connsiteX4" fmla="*/ 0 w 7511989"/>
              <a:gd name="connsiteY4" fmla="*/ 5947224 h 5947224"/>
              <a:gd name="connsiteX5" fmla="*/ 2044989 w 7511989"/>
              <a:gd name="connsiteY5" fmla="*/ 0 h 5947224"/>
              <a:gd name="connsiteX0" fmla="*/ 2044989 w 7510525"/>
              <a:gd name="connsiteY0" fmla="*/ 5125 h 5952349"/>
              <a:gd name="connsiteX1" fmla="*/ 7506696 w 7510525"/>
              <a:gd name="connsiteY1" fmla="*/ 0 h 5952349"/>
              <a:gd name="connsiteX2" fmla="*/ 7509527 w 7510525"/>
              <a:gd name="connsiteY2" fmla="*/ 3938978 h 5952349"/>
              <a:gd name="connsiteX3" fmla="*/ 7092665 w 7510525"/>
              <a:gd name="connsiteY3" fmla="*/ 5947036 h 5952349"/>
              <a:gd name="connsiteX4" fmla="*/ 0 w 7510525"/>
              <a:gd name="connsiteY4" fmla="*/ 5952349 h 5952349"/>
              <a:gd name="connsiteX5" fmla="*/ 2044989 w 7510525"/>
              <a:gd name="connsiteY5" fmla="*/ 5125 h 5952349"/>
              <a:gd name="connsiteX0" fmla="*/ 2032714 w 7498250"/>
              <a:gd name="connsiteY0" fmla="*/ 5125 h 5964670"/>
              <a:gd name="connsiteX1" fmla="*/ 7494421 w 7498250"/>
              <a:gd name="connsiteY1" fmla="*/ 0 h 5964670"/>
              <a:gd name="connsiteX2" fmla="*/ 7497252 w 7498250"/>
              <a:gd name="connsiteY2" fmla="*/ 3938978 h 5964670"/>
              <a:gd name="connsiteX3" fmla="*/ 7080390 w 7498250"/>
              <a:gd name="connsiteY3" fmla="*/ 5947036 h 5964670"/>
              <a:gd name="connsiteX4" fmla="*/ 0 w 7498250"/>
              <a:gd name="connsiteY4" fmla="*/ 5964670 h 5964670"/>
              <a:gd name="connsiteX5" fmla="*/ 2032714 w 7498250"/>
              <a:gd name="connsiteY5" fmla="*/ 5125 h 5964670"/>
              <a:gd name="connsiteX0" fmla="*/ 2038851 w 7504387"/>
              <a:gd name="connsiteY0" fmla="*/ 5125 h 5955429"/>
              <a:gd name="connsiteX1" fmla="*/ 7500558 w 7504387"/>
              <a:gd name="connsiteY1" fmla="*/ 0 h 5955429"/>
              <a:gd name="connsiteX2" fmla="*/ 7503389 w 7504387"/>
              <a:gd name="connsiteY2" fmla="*/ 3938978 h 5955429"/>
              <a:gd name="connsiteX3" fmla="*/ 7086527 w 7504387"/>
              <a:gd name="connsiteY3" fmla="*/ 5947036 h 5955429"/>
              <a:gd name="connsiteX4" fmla="*/ 0 w 7504387"/>
              <a:gd name="connsiteY4" fmla="*/ 5955429 h 5955429"/>
              <a:gd name="connsiteX5" fmla="*/ 2038851 w 7504387"/>
              <a:gd name="connsiteY5" fmla="*/ 5125 h 5955429"/>
              <a:gd name="connsiteX0" fmla="*/ 2057263 w 7504387"/>
              <a:gd name="connsiteY0" fmla="*/ 8205 h 5955429"/>
              <a:gd name="connsiteX1" fmla="*/ 7500558 w 7504387"/>
              <a:gd name="connsiteY1" fmla="*/ 0 h 5955429"/>
              <a:gd name="connsiteX2" fmla="*/ 7503389 w 7504387"/>
              <a:gd name="connsiteY2" fmla="*/ 3938978 h 5955429"/>
              <a:gd name="connsiteX3" fmla="*/ 7086527 w 7504387"/>
              <a:gd name="connsiteY3" fmla="*/ 5947036 h 5955429"/>
              <a:gd name="connsiteX4" fmla="*/ 0 w 7504387"/>
              <a:gd name="connsiteY4" fmla="*/ 5955429 h 5955429"/>
              <a:gd name="connsiteX5" fmla="*/ 2057263 w 7504387"/>
              <a:gd name="connsiteY5" fmla="*/ 8205 h 5955429"/>
              <a:gd name="connsiteX0" fmla="*/ 2044988 w 7504387"/>
              <a:gd name="connsiteY0" fmla="*/ 14366 h 5955429"/>
              <a:gd name="connsiteX1" fmla="*/ 7500558 w 7504387"/>
              <a:gd name="connsiteY1" fmla="*/ 0 h 5955429"/>
              <a:gd name="connsiteX2" fmla="*/ 7503389 w 7504387"/>
              <a:gd name="connsiteY2" fmla="*/ 3938978 h 5955429"/>
              <a:gd name="connsiteX3" fmla="*/ 7086527 w 7504387"/>
              <a:gd name="connsiteY3" fmla="*/ 5947036 h 5955429"/>
              <a:gd name="connsiteX4" fmla="*/ 0 w 7504387"/>
              <a:gd name="connsiteY4" fmla="*/ 5955429 h 5955429"/>
              <a:gd name="connsiteX5" fmla="*/ 2044988 w 7504387"/>
              <a:gd name="connsiteY5" fmla="*/ 14366 h 5955429"/>
              <a:gd name="connsiteX0" fmla="*/ 2075675 w 7504387"/>
              <a:gd name="connsiteY0" fmla="*/ 17446 h 5955429"/>
              <a:gd name="connsiteX1" fmla="*/ 7500558 w 7504387"/>
              <a:gd name="connsiteY1" fmla="*/ 0 h 5955429"/>
              <a:gd name="connsiteX2" fmla="*/ 7503389 w 7504387"/>
              <a:gd name="connsiteY2" fmla="*/ 3938978 h 5955429"/>
              <a:gd name="connsiteX3" fmla="*/ 7086527 w 7504387"/>
              <a:gd name="connsiteY3" fmla="*/ 5947036 h 5955429"/>
              <a:gd name="connsiteX4" fmla="*/ 0 w 7504387"/>
              <a:gd name="connsiteY4" fmla="*/ 5955429 h 5955429"/>
              <a:gd name="connsiteX5" fmla="*/ 2075675 w 7504387"/>
              <a:gd name="connsiteY5" fmla="*/ 17446 h 5955429"/>
              <a:gd name="connsiteX0" fmla="*/ 2044988 w 7504387"/>
              <a:gd name="connsiteY0" fmla="*/ 8205 h 5955429"/>
              <a:gd name="connsiteX1" fmla="*/ 7500558 w 7504387"/>
              <a:gd name="connsiteY1" fmla="*/ 0 h 5955429"/>
              <a:gd name="connsiteX2" fmla="*/ 7503389 w 7504387"/>
              <a:gd name="connsiteY2" fmla="*/ 3938978 h 5955429"/>
              <a:gd name="connsiteX3" fmla="*/ 7086527 w 7504387"/>
              <a:gd name="connsiteY3" fmla="*/ 5947036 h 5955429"/>
              <a:gd name="connsiteX4" fmla="*/ 0 w 7504387"/>
              <a:gd name="connsiteY4" fmla="*/ 5955429 h 5955429"/>
              <a:gd name="connsiteX5" fmla="*/ 2044988 w 7504387"/>
              <a:gd name="connsiteY5" fmla="*/ 8205 h 5955429"/>
              <a:gd name="connsiteX0" fmla="*/ 1928377 w 7387776"/>
              <a:gd name="connsiteY0" fmla="*/ 8205 h 5955429"/>
              <a:gd name="connsiteX1" fmla="*/ 7383947 w 7387776"/>
              <a:gd name="connsiteY1" fmla="*/ 0 h 5955429"/>
              <a:gd name="connsiteX2" fmla="*/ 7386778 w 7387776"/>
              <a:gd name="connsiteY2" fmla="*/ 3938978 h 5955429"/>
              <a:gd name="connsiteX3" fmla="*/ 6969916 w 7387776"/>
              <a:gd name="connsiteY3" fmla="*/ 5947036 h 5955429"/>
              <a:gd name="connsiteX4" fmla="*/ 0 w 7387776"/>
              <a:gd name="connsiteY4" fmla="*/ 5955429 h 5955429"/>
              <a:gd name="connsiteX5" fmla="*/ 1928377 w 7387776"/>
              <a:gd name="connsiteY5" fmla="*/ 8205 h 5955429"/>
              <a:gd name="connsiteX0" fmla="*/ 2041919 w 7501318"/>
              <a:gd name="connsiteY0" fmla="*/ 8205 h 5964670"/>
              <a:gd name="connsiteX1" fmla="*/ 7497489 w 7501318"/>
              <a:gd name="connsiteY1" fmla="*/ 0 h 5964670"/>
              <a:gd name="connsiteX2" fmla="*/ 7500320 w 7501318"/>
              <a:gd name="connsiteY2" fmla="*/ 3938978 h 5964670"/>
              <a:gd name="connsiteX3" fmla="*/ 7083458 w 7501318"/>
              <a:gd name="connsiteY3" fmla="*/ 5947036 h 5964670"/>
              <a:gd name="connsiteX4" fmla="*/ 0 w 7501318"/>
              <a:gd name="connsiteY4" fmla="*/ 5964670 h 5964670"/>
              <a:gd name="connsiteX5" fmla="*/ 2041919 w 7501318"/>
              <a:gd name="connsiteY5" fmla="*/ 8205 h 5964670"/>
              <a:gd name="connsiteX0" fmla="*/ 2063400 w 7501318"/>
              <a:gd name="connsiteY0" fmla="*/ 0 h 5965705"/>
              <a:gd name="connsiteX1" fmla="*/ 7497489 w 7501318"/>
              <a:gd name="connsiteY1" fmla="*/ 1035 h 5965705"/>
              <a:gd name="connsiteX2" fmla="*/ 7500320 w 7501318"/>
              <a:gd name="connsiteY2" fmla="*/ 3940013 h 5965705"/>
              <a:gd name="connsiteX3" fmla="*/ 7083458 w 7501318"/>
              <a:gd name="connsiteY3" fmla="*/ 5948071 h 5965705"/>
              <a:gd name="connsiteX4" fmla="*/ 0 w 7501318"/>
              <a:gd name="connsiteY4" fmla="*/ 5965705 h 5965705"/>
              <a:gd name="connsiteX5" fmla="*/ 2063400 w 7501318"/>
              <a:gd name="connsiteY5" fmla="*/ 0 h 5965705"/>
              <a:gd name="connsiteX0" fmla="*/ 2063400 w 7501319"/>
              <a:gd name="connsiteY0" fmla="*/ 0 h 5965705"/>
              <a:gd name="connsiteX1" fmla="*/ 7497489 w 7501319"/>
              <a:gd name="connsiteY1" fmla="*/ 1035 h 5965705"/>
              <a:gd name="connsiteX2" fmla="*/ 7500321 w 7501319"/>
              <a:gd name="connsiteY2" fmla="*/ 3884569 h 5965705"/>
              <a:gd name="connsiteX3" fmla="*/ 7083458 w 7501319"/>
              <a:gd name="connsiteY3" fmla="*/ 5948071 h 5965705"/>
              <a:gd name="connsiteX4" fmla="*/ 0 w 7501319"/>
              <a:gd name="connsiteY4" fmla="*/ 5965705 h 5965705"/>
              <a:gd name="connsiteX5" fmla="*/ 2063400 w 7501319"/>
              <a:gd name="connsiteY5" fmla="*/ 0 h 5965705"/>
              <a:gd name="connsiteX0" fmla="*/ 2063400 w 7501319"/>
              <a:gd name="connsiteY0" fmla="*/ 0 h 5965705"/>
              <a:gd name="connsiteX1" fmla="*/ 7497489 w 7501319"/>
              <a:gd name="connsiteY1" fmla="*/ 1035 h 5965705"/>
              <a:gd name="connsiteX2" fmla="*/ 7500321 w 7501319"/>
              <a:gd name="connsiteY2" fmla="*/ 3884569 h 5965705"/>
              <a:gd name="connsiteX3" fmla="*/ 6791931 w 7501319"/>
              <a:gd name="connsiteY3" fmla="*/ 5957311 h 5965705"/>
              <a:gd name="connsiteX4" fmla="*/ 0 w 7501319"/>
              <a:gd name="connsiteY4" fmla="*/ 5965705 h 5965705"/>
              <a:gd name="connsiteX5" fmla="*/ 2063400 w 7501319"/>
              <a:gd name="connsiteY5" fmla="*/ 0 h 596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01319" h="5965705">
                <a:moveTo>
                  <a:pt x="2063400" y="0"/>
                </a:moveTo>
                <a:lnTo>
                  <a:pt x="7497489" y="1035"/>
                </a:lnTo>
                <a:cubicBezTo>
                  <a:pt x="7493140" y="1305175"/>
                  <a:pt x="7504670" y="2580429"/>
                  <a:pt x="7500321" y="3884569"/>
                </a:cubicBezTo>
                <a:lnTo>
                  <a:pt x="6791931" y="5957311"/>
                </a:lnTo>
                <a:lnTo>
                  <a:pt x="0" y="5965705"/>
                </a:lnTo>
                <a:lnTo>
                  <a:pt x="2063400" y="0"/>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Font typeface="Arial" panose="020B0604020202020204" pitchFamily="34" charset="0"/>
              <a:buNone/>
              <a:defRPr lang="nl-NL" sz="1600"/>
            </a:lvl1pPr>
          </a:lstStyle>
          <a:p>
            <a:pPr marL="228600" lvl="0" indent="-228600" algn="ctr"/>
            <a:r>
              <a:rPr lang="nl-NL"/>
              <a:t>Click icon to insert an image</a:t>
            </a:r>
          </a:p>
        </p:txBody>
      </p:sp>
      <p:sp>
        <p:nvSpPr>
          <p:cNvPr id="3" name="TextBox 2"/>
          <p:cNvSpPr txBox="1"/>
          <p:nvPr userDrawn="1"/>
        </p:nvSpPr>
        <p:spPr>
          <a:xfrm>
            <a:off x="782274" y="5817747"/>
            <a:ext cx="1804104" cy="819455"/>
          </a:xfrm>
          <a:prstGeom prst="rect">
            <a:avLst/>
          </a:prstGeom>
          <a:noFill/>
        </p:spPr>
        <p:txBody>
          <a:bodyPr wrap="square" rtlCol="0">
            <a:spAutoFit/>
          </a:bodyPr>
          <a:lstStyle/>
          <a:p>
            <a:pPr>
              <a:lnSpc>
                <a:spcPct val="150000"/>
              </a:lnSpc>
            </a:pPr>
            <a:r>
              <a:rPr lang="en-US" sz="1050"/>
              <a:t>Aegon NL</a:t>
            </a:r>
          </a:p>
          <a:p>
            <a:pPr marL="0" marR="0" lvl="0" indent="0" algn="l" defTabSz="914400" rtl="0" eaLnBrk="1" fontAlgn="auto" latinLnBrk="0" hangingPunct="1">
              <a:lnSpc>
                <a:spcPct val="150000"/>
              </a:lnSpc>
              <a:spcBef>
                <a:spcPts val="0"/>
              </a:spcBef>
              <a:spcAft>
                <a:spcPts val="0"/>
              </a:spcAft>
              <a:buClrTx/>
              <a:buSzTx/>
              <a:buFontTx/>
              <a:buNone/>
              <a:tabLst/>
              <a:defRPr/>
            </a:pPr>
            <a:r>
              <a:rPr lang="en-US" sz="1050"/>
              <a:t>Aegon UK</a:t>
            </a:r>
          </a:p>
          <a:p>
            <a:pPr marL="0" marR="0" lvl="0" indent="0" algn="l" defTabSz="914400" rtl="0" eaLnBrk="1" fontAlgn="auto" latinLnBrk="0" hangingPunct="1">
              <a:lnSpc>
                <a:spcPct val="150000"/>
              </a:lnSpc>
              <a:spcBef>
                <a:spcPts val="0"/>
              </a:spcBef>
              <a:spcAft>
                <a:spcPts val="0"/>
              </a:spcAft>
              <a:buClrTx/>
              <a:buSzTx/>
              <a:buFontTx/>
              <a:buNone/>
              <a:tabLst/>
              <a:defRPr/>
            </a:pPr>
            <a:r>
              <a:rPr lang="en-US" sz="1050"/>
              <a:t>Aegon International</a:t>
            </a:r>
          </a:p>
        </p:txBody>
      </p:sp>
      <p:sp>
        <p:nvSpPr>
          <p:cNvPr id="24" name="TextBox 23"/>
          <p:cNvSpPr txBox="1"/>
          <p:nvPr userDrawn="1"/>
        </p:nvSpPr>
        <p:spPr>
          <a:xfrm>
            <a:off x="2471459" y="5840607"/>
            <a:ext cx="1804104" cy="81945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a:t>Corporate Center</a:t>
            </a:r>
          </a:p>
          <a:p>
            <a:pPr marL="0" marR="0" lvl="0" indent="0" algn="l" defTabSz="914400" rtl="0" eaLnBrk="1" fontAlgn="auto" latinLnBrk="0" hangingPunct="1">
              <a:lnSpc>
                <a:spcPct val="150000"/>
              </a:lnSpc>
              <a:spcBef>
                <a:spcPts val="0"/>
              </a:spcBef>
              <a:spcAft>
                <a:spcPts val="0"/>
              </a:spcAft>
              <a:buClrTx/>
              <a:buSzTx/>
              <a:buFontTx/>
              <a:buNone/>
              <a:tabLst/>
              <a:defRPr/>
            </a:pPr>
            <a:r>
              <a:rPr lang="en-US" sz="1050"/>
              <a:t>Aegon Asset</a:t>
            </a:r>
            <a:r>
              <a:rPr lang="en-US" sz="1050" baseline="0"/>
              <a:t> Management</a:t>
            </a:r>
          </a:p>
          <a:p>
            <a:pPr marL="0" marR="0" lvl="0" indent="0" algn="l" defTabSz="914400" rtl="0" eaLnBrk="1" fontAlgn="auto" latinLnBrk="0" hangingPunct="1">
              <a:lnSpc>
                <a:spcPct val="150000"/>
              </a:lnSpc>
              <a:spcBef>
                <a:spcPts val="0"/>
              </a:spcBef>
              <a:spcAft>
                <a:spcPts val="0"/>
              </a:spcAft>
              <a:buClrTx/>
              <a:buSzTx/>
              <a:buFontTx/>
              <a:buNone/>
              <a:tabLst/>
              <a:defRPr/>
            </a:pPr>
            <a:r>
              <a:rPr lang="en-US" sz="1050" baseline="0"/>
              <a:t>Transamerica</a:t>
            </a:r>
            <a:endParaRPr lang="en-US" sz="1400"/>
          </a:p>
        </p:txBody>
      </p:sp>
      <p:sp>
        <p:nvSpPr>
          <p:cNvPr id="8" name="Rectangle 7"/>
          <p:cNvSpPr/>
          <p:nvPr userDrawn="1"/>
        </p:nvSpPr>
        <p:spPr>
          <a:xfrm>
            <a:off x="574846" y="5944770"/>
            <a:ext cx="152400" cy="152400"/>
          </a:xfrm>
          <a:prstGeom prst="rect">
            <a:avLst/>
          </a:prstGeom>
          <a:solidFill>
            <a:schemeClr val="bg1"/>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sp>
        <p:nvSpPr>
          <p:cNvPr id="25" name="Rectangle 24"/>
          <p:cNvSpPr/>
          <p:nvPr userDrawn="1"/>
        </p:nvSpPr>
        <p:spPr>
          <a:xfrm>
            <a:off x="574846" y="6186070"/>
            <a:ext cx="152400" cy="152400"/>
          </a:xfrm>
          <a:prstGeom prst="rect">
            <a:avLst/>
          </a:prstGeom>
          <a:solidFill>
            <a:schemeClr val="bg1"/>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userDrawn="1"/>
        </p:nvSpPr>
        <p:spPr>
          <a:xfrm>
            <a:off x="574846" y="6427370"/>
            <a:ext cx="152400" cy="152400"/>
          </a:xfrm>
          <a:prstGeom prst="rect">
            <a:avLst/>
          </a:prstGeom>
          <a:solidFill>
            <a:schemeClr val="bg1"/>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userDrawn="1"/>
        </p:nvSpPr>
        <p:spPr>
          <a:xfrm>
            <a:off x="2271901" y="5944770"/>
            <a:ext cx="152400" cy="152400"/>
          </a:xfrm>
          <a:prstGeom prst="rect">
            <a:avLst/>
          </a:prstGeom>
          <a:solidFill>
            <a:schemeClr val="bg1"/>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sym typeface="Wingdings" panose="05000000000000000000" pitchFamily="2" charset="2"/>
              </a:rPr>
              <a:t></a:t>
            </a:r>
            <a:endParaRPr lang="en-US">
              <a:solidFill>
                <a:schemeClr val="tx1"/>
              </a:solidFill>
            </a:endParaRPr>
          </a:p>
        </p:txBody>
      </p:sp>
      <p:sp>
        <p:nvSpPr>
          <p:cNvPr id="29" name="Rectangle 28"/>
          <p:cNvSpPr/>
          <p:nvPr userDrawn="1"/>
        </p:nvSpPr>
        <p:spPr>
          <a:xfrm>
            <a:off x="2271901" y="6186070"/>
            <a:ext cx="152400" cy="152400"/>
          </a:xfrm>
          <a:prstGeom prst="rect">
            <a:avLst/>
          </a:prstGeom>
          <a:solidFill>
            <a:schemeClr val="bg1"/>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72BBFC3-3F18-124F-9A38-A06B2EEE2F91}"/>
              </a:ext>
            </a:extLst>
          </p:cNvPr>
          <p:cNvSpPr/>
          <p:nvPr userDrawn="1"/>
        </p:nvSpPr>
        <p:spPr>
          <a:xfrm>
            <a:off x="2268062" y="6427370"/>
            <a:ext cx="152400" cy="152400"/>
          </a:xfrm>
          <a:prstGeom prst="rect">
            <a:avLst/>
          </a:prstGeom>
          <a:solidFill>
            <a:schemeClr val="bg1"/>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31" descr="A close up of a logo&#10;&#10;Description automatically generated">
            <a:extLst>
              <a:ext uri="{FF2B5EF4-FFF2-40B4-BE49-F238E27FC236}">
                <a16:creationId xmlns:a16="http://schemas.microsoft.com/office/drawing/2014/main" id="{1493A41B-8A8D-ED4A-A236-E590C2AA41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5" y="-8305"/>
            <a:ext cx="2321311" cy="1332543"/>
          </a:xfrm>
          <a:prstGeom prst="rect">
            <a:avLst/>
          </a:prstGeom>
        </p:spPr>
      </p:pic>
      <p:cxnSp>
        <p:nvCxnSpPr>
          <p:cNvPr id="35" name="Straight Connector 34">
            <a:extLst>
              <a:ext uri="{FF2B5EF4-FFF2-40B4-BE49-F238E27FC236}">
                <a16:creationId xmlns:a16="http://schemas.microsoft.com/office/drawing/2014/main" id="{17883AC0-6D1C-EE41-9931-F3B3B6260781}"/>
              </a:ext>
            </a:extLst>
          </p:cNvPr>
          <p:cNvCxnSpPr>
            <a:cxnSpLocks/>
          </p:cNvCxnSpPr>
          <p:nvPr userDrawn="1"/>
        </p:nvCxnSpPr>
        <p:spPr>
          <a:xfrm>
            <a:off x="579437" y="5796108"/>
            <a:ext cx="380244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FD4A63A0-39D6-9144-BAC1-0755F0BB696A}"/>
              </a:ext>
            </a:extLst>
          </p:cNvPr>
          <p:cNvSpPr/>
          <p:nvPr userDrawn="1"/>
        </p:nvSpPr>
        <p:spPr>
          <a:xfrm>
            <a:off x="4178300" y="6130380"/>
            <a:ext cx="7280591" cy="733972"/>
          </a:xfrm>
          <a:custGeom>
            <a:avLst/>
            <a:gdLst>
              <a:gd name="connsiteX0" fmla="*/ 0 w 7079341"/>
              <a:gd name="connsiteY0" fmla="*/ 0 h 913230"/>
              <a:gd name="connsiteX1" fmla="*/ 7079341 w 7079341"/>
              <a:gd name="connsiteY1" fmla="*/ 0 h 913230"/>
              <a:gd name="connsiteX2" fmla="*/ 7079341 w 7079341"/>
              <a:gd name="connsiteY2" fmla="*/ 913230 h 913230"/>
              <a:gd name="connsiteX3" fmla="*/ 0 w 7079341"/>
              <a:gd name="connsiteY3" fmla="*/ 913230 h 913230"/>
              <a:gd name="connsiteX4" fmla="*/ 0 w 7079341"/>
              <a:gd name="connsiteY4" fmla="*/ 0 h 913230"/>
              <a:gd name="connsiteX0" fmla="*/ 0 w 7399381"/>
              <a:gd name="connsiteY0" fmla="*/ 22860 h 936090"/>
              <a:gd name="connsiteX1" fmla="*/ 7399381 w 7399381"/>
              <a:gd name="connsiteY1" fmla="*/ 0 h 936090"/>
              <a:gd name="connsiteX2" fmla="*/ 7079341 w 7399381"/>
              <a:gd name="connsiteY2" fmla="*/ 936090 h 936090"/>
              <a:gd name="connsiteX3" fmla="*/ 0 w 7399381"/>
              <a:gd name="connsiteY3" fmla="*/ 936090 h 936090"/>
              <a:gd name="connsiteX4" fmla="*/ 0 w 7399381"/>
              <a:gd name="connsiteY4" fmla="*/ 22860 h 936090"/>
              <a:gd name="connsiteX0" fmla="*/ 306474 w 7399381"/>
              <a:gd name="connsiteY0" fmla="*/ 12812 h 936090"/>
              <a:gd name="connsiteX1" fmla="*/ 7399381 w 7399381"/>
              <a:gd name="connsiteY1" fmla="*/ 0 h 936090"/>
              <a:gd name="connsiteX2" fmla="*/ 7079341 w 7399381"/>
              <a:gd name="connsiteY2" fmla="*/ 936090 h 936090"/>
              <a:gd name="connsiteX3" fmla="*/ 0 w 7399381"/>
              <a:gd name="connsiteY3" fmla="*/ 936090 h 936090"/>
              <a:gd name="connsiteX4" fmla="*/ 306474 w 7399381"/>
              <a:gd name="connsiteY4" fmla="*/ 12812 h 936090"/>
              <a:gd name="connsiteX0" fmla="*/ 306474 w 9339877"/>
              <a:gd name="connsiteY0" fmla="*/ 12812 h 936090"/>
              <a:gd name="connsiteX1" fmla="*/ 9339877 w 9339877"/>
              <a:gd name="connsiteY1" fmla="*/ 0 h 936090"/>
              <a:gd name="connsiteX2" fmla="*/ 7079341 w 9339877"/>
              <a:gd name="connsiteY2" fmla="*/ 936090 h 936090"/>
              <a:gd name="connsiteX3" fmla="*/ 0 w 9339877"/>
              <a:gd name="connsiteY3" fmla="*/ 936090 h 936090"/>
              <a:gd name="connsiteX4" fmla="*/ 306474 w 9339877"/>
              <a:gd name="connsiteY4" fmla="*/ 12812 h 936090"/>
              <a:gd name="connsiteX0" fmla="*/ 306474 w 9339877"/>
              <a:gd name="connsiteY0" fmla="*/ 12812 h 936090"/>
              <a:gd name="connsiteX1" fmla="*/ 9339877 w 9339877"/>
              <a:gd name="connsiteY1" fmla="*/ 0 h 936090"/>
              <a:gd name="connsiteX2" fmla="*/ 9032275 w 9339877"/>
              <a:gd name="connsiteY2" fmla="*/ 911212 h 936090"/>
              <a:gd name="connsiteX3" fmla="*/ 0 w 9339877"/>
              <a:gd name="connsiteY3" fmla="*/ 936090 h 936090"/>
              <a:gd name="connsiteX4" fmla="*/ 306474 w 9339877"/>
              <a:gd name="connsiteY4" fmla="*/ 12812 h 936090"/>
              <a:gd name="connsiteX0" fmla="*/ 306474 w 9305145"/>
              <a:gd name="connsiteY0" fmla="*/ 7023 h 930301"/>
              <a:gd name="connsiteX1" fmla="*/ 9305145 w 9305145"/>
              <a:gd name="connsiteY1" fmla="*/ 0 h 930301"/>
              <a:gd name="connsiteX2" fmla="*/ 9032275 w 9305145"/>
              <a:gd name="connsiteY2" fmla="*/ 905423 h 930301"/>
              <a:gd name="connsiteX3" fmla="*/ 0 w 9305145"/>
              <a:gd name="connsiteY3" fmla="*/ 930301 h 930301"/>
              <a:gd name="connsiteX4" fmla="*/ 306474 w 9305145"/>
              <a:gd name="connsiteY4" fmla="*/ 7023 h 930301"/>
              <a:gd name="connsiteX0" fmla="*/ 306474 w 9305145"/>
              <a:gd name="connsiteY0" fmla="*/ 7023 h 930301"/>
              <a:gd name="connsiteX1" fmla="*/ 9305145 w 9305145"/>
              <a:gd name="connsiteY1" fmla="*/ 0 h 930301"/>
              <a:gd name="connsiteX2" fmla="*/ 8997545 w 9305145"/>
              <a:gd name="connsiteY2" fmla="*/ 922788 h 930301"/>
              <a:gd name="connsiteX3" fmla="*/ 0 w 9305145"/>
              <a:gd name="connsiteY3" fmla="*/ 930301 h 930301"/>
              <a:gd name="connsiteX4" fmla="*/ 306474 w 9305145"/>
              <a:gd name="connsiteY4" fmla="*/ 7023 h 930301"/>
              <a:gd name="connsiteX0" fmla="*/ 306474 w 9317325"/>
              <a:gd name="connsiteY0" fmla="*/ 2963 h 926241"/>
              <a:gd name="connsiteX1" fmla="*/ 9317325 w 9317325"/>
              <a:gd name="connsiteY1" fmla="*/ 0 h 926241"/>
              <a:gd name="connsiteX2" fmla="*/ 8997545 w 9317325"/>
              <a:gd name="connsiteY2" fmla="*/ 918728 h 926241"/>
              <a:gd name="connsiteX3" fmla="*/ 0 w 9317325"/>
              <a:gd name="connsiteY3" fmla="*/ 926241 h 926241"/>
              <a:gd name="connsiteX4" fmla="*/ 306474 w 9317325"/>
              <a:gd name="connsiteY4" fmla="*/ 2963 h 926241"/>
              <a:gd name="connsiteX0" fmla="*/ 306474 w 9317325"/>
              <a:gd name="connsiteY0" fmla="*/ 2963 h 926848"/>
              <a:gd name="connsiteX1" fmla="*/ 9317325 w 9317325"/>
              <a:gd name="connsiteY1" fmla="*/ 0 h 926848"/>
              <a:gd name="connsiteX2" fmla="*/ 9009726 w 9317325"/>
              <a:gd name="connsiteY2" fmla="*/ 926848 h 926848"/>
              <a:gd name="connsiteX3" fmla="*/ 0 w 9317325"/>
              <a:gd name="connsiteY3" fmla="*/ 926241 h 926848"/>
              <a:gd name="connsiteX4" fmla="*/ 306474 w 9317325"/>
              <a:gd name="connsiteY4" fmla="*/ 2963 h 926848"/>
              <a:gd name="connsiteX0" fmla="*/ 322714 w 9317325"/>
              <a:gd name="connsiteY0" fmla="*/ 7023 h 926848"/>
              <a:gd name="connsiteX1" fmla="*/ 9317325 w 9317325"/>
              <a:gd name="connsiteY1" fmla="*/ 0 h 926848"/>
              <a:gd name="connsiteX2" fmla="*/ 9009726 w 9317325"/>
              <a:gd name="connsiteY2" fmla="*/ 926848 h 926848"/>
              <a:gd name="connsiteX3" fmla="*/ 0 w 9317325"/>
              <a:gd name="connsiteY3" fmla="*/ 926241 h 926848"/>
              <a:gd name="connsiteX4" fmla="*/ 322714 w 9317325"/>
              <a:gd name="connsiteY4" fmla="*/ 7023 h 926848"/>
              <a:gd name="connsiteX0" fmla="*/ 310534 w 9305145"/>
              <a:gd name="connsiteY0" fmla="*/ 7023 h 934361"/>
              <a:gd name="connsiteX1" fmla="*/ 9305145 w 9305145"/>
              <a:gd name="connsiteY1" fmla="*/ 0 h 934361"/>
              <a:gd name="connsiteX2" fmla="*/ 8997546 w 9305145"/>
              <a:gd name="connsiteY2" fmla="*/ 926848 h 934361"/>
              <a:gd name="connsiteX3" fmla="*/ 0 w 9305145"/>
              <a:gd name="connsiteY3" fmla="*/ 934361 h 934361"/>
              <a:gd name="connsiteX4" fmla="*/ 310534 w 9305145"/>
              <a:gd name="connsiteY4" fmla="*/ 7023 h 934361"/>
              <a:gd name="connsiteX0" fmla="*/ 314594 w 9305145"/>
              <a:gd name="connsiteY0" fmla="*/ 0 h 935458"/>
              <a:gd name="connsiteX1" fmla="*/ 9305145 w 9305145"/>
              <a:gd name="connsiteY1" fmla="*/ 1097 h 935458"/>
              <a:gd name="connsiteX2" fmla="*/ 8997546 w 9305145"/>
              <a:gd name="connsiteY2" fmla="*/ 927945 h 935458"/>
              <a:gd name="connsiteX3" fmla="*/ 0 w 9305145"/>
              <a:gd name="connsiteY3" fmla="*/ 935458 h 935458"/>
              <a:gd name="connsiteX4" fmla="*/ 314594 w 9305145"/>
              <a:gd name="connsiteY4" fmla="*/ 0 h 935458"/>
              <a:gd name="connsiteX0" fmla="*/ 489173 w 9305145"/>
              <a:gd name="connsiteY0" fmla="*/ 0 h 935458"/>
              <a:gd name="connsiteX1" fmla="*/ 9305145 w 9305145"/>
              <a:gd name="connsiteY1" fmla="*/ 1097 h 935458"/>
              <a:gd name="connsiteX2" fmla="*/ 8997546 w 9305145"/>
              <a:gd name="connsiteY2" fmla="*/ 927945 h 935458"/>
              <a:gd name="connsiteX3" fmla="*/ 0 w 9305145"/>
              <a:gd name="connsiteY3" fmla="*/ 935458 h 935458"/>
              <a:gd name="connsiteX4" fmla="*/ 489173 w 9305145"/>
              <a:gd name="connsiteY4" fmla="*/ 0 h 935458"/>
              <a:gd name="connsiteX0" fmla="*/ 314594 w 9305145"/>
              <a:gd name="connsiteY0" fmla="*/ 11083 h 934361"/>
              <a:gd name="connsiteX1" fmla="*/ 9305145 w 9305145"/>
              <a:gd name="connsiteY1" fmla="*/ 0 h 934361"/>
              <a:gd name="connsiteX2" fmla="*/ 8997546 w 9305145"/>
              <a:gd name="connsiteY2" fmla="*/ 926848 h 934361"/>
              <a:gd name="connsiteX3" fmla="*/ 0 w 9305145"/>
              <a:gd name="connsiteY3" fmla="*/ 934361 h 934361"/>
              <a:gd name="connsiteX4" fmla="*/ 314594 w 9305145"/>
              <a:gd name="connsiteY4" fmla="*/ 11083 h 934361"/>
              <a:gd name="connsiteX0" fmla="*/ 318652 w 9305145"/>
              <a:gd name="connsiteY0" fmla="*/ 11083 h 934361"/>
              <a:gd name="connsiteX1" fmla="*/ 9305145 w 9305145"/>
              <a:gd name="connsiteY1" fmla="*/ 0 h 934361"/>
              <a:gd name="connsiteX2" fmla="*/ 8997546 w 9305145"/>
              <a:gd name="connsiteY2" fmla="*/ 926848 h 934361"/>
              <a:gd name="connsiteX3" fmla="*/ 0 w 9305145"/>
              <a:gd name="connsiteY3" fmla="*/ 934361 h 934361"/>
              <a:gd name="connsiteX4" fmla="*/ 318652 w 9305145"/>
              <a:gd name="connsiteY4" fmla="*/ 11083 h 934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05145" h="934361">
                <a:moveTo>
                  <a:pt x="318652" y="11083"/>
                </a:moveTo>
                <a:lnTo>
                  <a:pt x="9305145" y="0"/>
                </a:lnTo>
                <a:lnTo>
                  <a:pt x="8997546" y="926848"/>
                </a:lnTo>
                <a:lnTo>
                  <a:pt x="0" y="934361"/>
                </a:lnTo>
                <a:lnTo>
                  <a:pt x="318652" y="1108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B07E610D-E145-4D1E-A445-1C611A5DA4A9}"/>
              </a:ext>
            </a:extLst>
          </p:cNvPr>
          <p:cNvSpPr txBox="1"/>
          <p:nvPr userDrawn="1"/>
        </p:nvSpPr>
        <p:spPr>
          <a:xfrm>
            <a:off x="4659225" y="6279954"/>
            <a:ext cx="6348138" cy="385362"/>
          </a:xfrm>
          <a:prstGeom prst="rect">
            <a:avLst/>
          </a:prstGeom>
          <a:noFill/>
        </p:spPr>
        <p:txBody>
          <a:bodyPr wrap="square" rIns="0" rtlCol="0">
            <a:spAutoFit/>
          </a:bodyPr>
          <a:lstStyle/>
          <a:p>
            <a:pPr algn="l">
              <a:lnSpc>
                <a:spcPts val="2500"/>
              </a:lnSpc>
            </a:pPr>
            <a:r>
              <a:rPr lang="en-US" sz="1400" b="0" i="0">
                <a:ln>
                  <a:noFill/>
                </a:ln>
                <a:solidFill>
                  <a:schemeClr val="bg1"/>
                </a:solidFill>
                <a:latin typeface="Arial" panose="020B0604020202020204" pitchFamily="34" charset="0"/>
                <a:cs typeface="Arial" panose="020B0604020202020204" pitchFamily="34" charset="0"/>
              </a:rPr>
              <a:t>Helping people achieve a lifetime of financial security</a:t>
            </a:r>
          </a:p>
        </p:txBody>
      </p:sp>
      <p:sp>
        <p:nvSpPr>
          <p:cNvPr id="20" name="Rectangle 3">
            <a:extLst>
              <a:ext uri="{FF2B5EF4-FFF2-40B4-BE49-F238E27FC236}">
                <a16:creationId xmlns:a16="http://schemas.microsoft.com/office/drawing/2014/main" id="{630D0D78-AE00-47B4-8380-D7F2219D1A24}"/>
              </a:ext>
            </a:extLst>
          </p:cNvPr>
          <p:cNvSpPr/>
          <p:nvPr userDrawn="1"/>
        </p:nvSpPr>
        <p:spPr>
          <a:xfrm>
            <a:off x="11208988" y="3984170"/>
            <a:ext cx="983012" cy="2873829"/>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74396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06373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77259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Tree>
    <p:extLst>
      <p:ext uri="{BB962C8B-B14F-4D97-AF65-F5344CB8AC3E}">
        <p14:creationId xmlns:p14="http://schemas.microsoft.com/office/powerpoint/2010/main" val="2322066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pSp>
        <p:nvGrpSpPr>
          <p:cNvPr id="8" name="Group 33">
            <a:extLst>
              <a:ext uri="{FF2B5EF4-FFF2-40B4-BE49-F238E27FC236}">
                <a16:creationId xmlns:a16="http://schemas.microsoft.com/office/drawing/2014/main" id="{0F111399-0853-4003-B801-EEE0A470D4D4}"/>
              </a:ext>
            </a:extLst>
          </p:cNvPr>
          <p:cNvGrpSpPr/>
          <p:nvPr userDrawn="1"/>
        </p:nvGrpSpPr>
        <p:grpSpPr>
          <a:xfrm>
            <a:off x="1338368" y="1900547"/>
            <a:ext cx="9605085" cy="4132027"/>
            <a:chOff x="1289907" y="1209727"/>
            <a:chExt cx="9605085" cy="4132027"/>
          </a:xfrm>
        </p:grpSpPr>
        <p:sp>
          <p:nvSpPr>
            <p:cNvPr id="9" name="Rectangle 35">
              <a:extLst>
                <a:ext uri="{FF2B5EF4-FFF2-40B4-BE49-F238E27FC236}">
                  <a16:creationId xmlns:a16="http://schemas.microsoft.com/office/drawing/2014/main" id="{9F0202DC-D15A-461B-B46A-8C32477B30E1}"/>
                </a:ext>
              </a:extLst>
            </p:cNvPr>
            <p:cNvSpPr/>
            <p:nvPr/>
          </p:nvSpPr>
          <p:spPr>
            <a:xfrm>
              <a:off x="6143002" y="1209727"/>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42">
              <a:extLst>
                <a:ext uri="{FF2B5EF4-FFF2-40B4-BE49-F238E27FC236}">
                  <a16:creationId xmlns:a16="http://schemas.microsoft.com/office/drawing/2014/main" id="{E29D36D8-FC89-4FD1-8DB6-2DF884D771EC}"/>
                </a:ext>
              </a:extLst>
            </p:cNvPr>
            <p:cNvSpPr/>
            <p:nvPr/>
          </p:nvSpPr>
          <p:spPr>
            <a:xfrm>
              <a:off x="1289907" y="1209727"/>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43">
              <a:extLst>
                <a:ext uri="{FF2B5EF4-FFF2-40B4-BE49-F238E27FC236}">
                  <a16:creationId xmlns:a16="http://schemas.microsoft.com/office/drawing/2014/main" id="{B2A292D7-806F-40A6-8A45-E82055912C74}"/>
                </a:ext>
              </a:extLst>
            </p:cNvPr>
            <p:cNvSpPr/>
            <p:nvPr/>
          </p:nvSpPr>
          <p:spPr>
            <a:xfrm>
              <a:off x="6143002" y="3321670"/>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44">
              <a:extLst>
                <a:ext uri="{FF2B5EF4-FFF2-40B4-BE49-F238E27FC236}">
                  <a16:creationId xmlns:a16="http://schemas.microsoft.com/office/drawing/2014/main" id="{002B7D63-A551-4F0C-8495-F05187FF87C4}"/>
                </a:ext>
              </a:extLst>
            </p:cNvPr>
            <p:cNvSpPr/>
            <p:nvPr/>
          </p:nvSpPr>
          <p:spPr>
            <a:xfrm>
              <a:off x="1289907" y="3321670"/>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1400175" y="1962150"/>
            <a:ext cx="3631463"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13" name="Freeform 26">
            <a:extLst>
              <a:ext uri="{FF2B5EF4-FFF2-40B4-BE49-F238E27FC236}">
                <a16:creationId xmlns:a16="http://schemas.microsoft.com/office/drawing/2014/main" id="{98C254CC-74B9-40A5-9891-B6101C2F993E}"/>
              </a:ext>
            </a:extLst>
          </p:cNvPr>
          <p:cNvSpPr/>
          <p:nvPr userDrawn="1"/>
        </p:nvSpPr>
        <p:spPr>
          <a:xfrm>
            <a:off x="4656729" y="2485354"/>
            <a:ext cx="1385168" cy="1389348"/>
          </a:xfrm>
          <a:custGeom>
            <a:avLst/>
            <a:gdLst>
              <a:gd name="connsiteX0" fmla="*/ 1385168 w 1385168"/>
              <a:gd name="connsiteY0" fmla="*/ 0 h 1389348"/>
              <a:gd name="connsiteX1" fmla="*/ 1385168 w 1385168"/>
              <a:gd name="connsiteY1" fmla="*/ 1389348 h 1389348"/>
              <a:gd name="connsiteX2" fmla="*/ 0 w 1385168"/>
              <a:gd name="connsiteY2" fmla="*/ 1389348 h 1389348"/>
              <a:gd name="connsiteX3" fmla="*/ 2484 w 1385168"/>
              <a:gd name="connsiteY3" fmla="*/ 1363430 h 1389348"/>
              <a:gd name="connsiteX4" fmla="*/ 105777 w 1385168"/>
              <a:gd name="connsiteY4" fmla="*/ 1169282 h 1389348"/>
              <a:gd name="connsiteX5" fmla="*/ 1169725 w 1385168"/>
              <a:gd name="connsiteY5" fmla="*/ 105334 h 1389348"/>
              <a:gd name="connsiteX6" fmla="*/ 1363873 w 1385168"/>
              <a:gd name="connsiteY6" fmla="*/ 2041 h 1389348"/>
              <a:gd name="connsiteX0" fmla="*/ 1385168 w 1476608"/>
              <a:gd name="connsiteY0" fmla="*/ 1389348 h 1480788"/>
              <a:gd name="connsiteX1" fmla="*/ 0 w 1476608"/>
              <a:gd name="connsiteY1" fmla="*/ 1389348 h 1480788"/>
              <a:gd name="connsiteX2" fmla="*/ 2484 w 1476608"/>
              <a:gd name="connsiteY2" fmla="*/ 1363430 h 1480788"/>
              <a:gd name="connsiteX3" fmla="*/ 105777 w 1476608"/>
              <a:gd name="connsiteY3" fmla="*/ 1169282 h 1480788"/>
              <a:gd name="connsiteX4" fmla="*/ 1169725 w 1476608"/>
              <a:gd name="connsiteY4" fmla="*/ 105334 h 1480788"/>
              <a:gd name="connsiteX5" fmla="*/ 1363873 w 1476608"/>
              <a:gd name="connsiteY5" fmla="*/ 2041 h 1480788"/>
              <a:gd name="connsiteX6" fmla="*/ 1385168 w 1476608"/>
              <a:gd name="connsiteY6" fmla="*/ 0 h 1480788"/>
              <a:gd name="connsiteX7" fmla="*/ 1476608 w 1476608"/>
              <a:gd name="connsiteY7" fmla="*/ 1480788 h 1480788"/>
              <a:gd name="connsiteX0" fmla="*/ 1385168 w 1385168"/>
              <a:gd name="connsiteY0" fmla="*/ 1389348 h 1389348"/>
              <a:gd name="connsiteX1" fmla="*/ 0 w 1385168"/>
              <a:gd name="connsiteY1" fmla="*/ 1389348 h 1389348"/>
              <a:gd name="connsiteX2" fmla="*/ 2484 w 1385168"/>
              <a:gd name="connsiteY2" fmla="*/ 1363430 h 1389348"/>
              <a:gd name="connsiteX3" fmla="*/ 105777 w 1385168"/>
              <a:gd name="connsiteY3" fmla="*/ 1169282 h 1389348"/>
              <a:gd name="connsiteX4" fmla="*/ 1169725 w 1385168"/>
              <a:gd name="connsiteY4" fmla="*/ 105334 h 1389348"/>
              <a:gd name="connsiteX5" fmla="*/ 1363873 w 1385168"/>
              <a:gd name="connsiteY5" fmla="*/ 2041 h 1389348"/>
              <a:gd name="connsiteX6" fmla="*/ 1385168 w 1385168"/>
              <a:gd name="connsiteY6" fmla="*/ 0 h 1389348"/>
              <a:gd name="connsiteX0" fmla="*/ 0 w 1385168"/>
              <a:gd name="connsiteY0" fmla="*/ 1389348 h 1389348"/>
              <a:gd name="connsiteX1" fmla="*/ 2484 w 1385168"/>
              <a:gd name="connsiteY1" fmla="*/ 1363430 h 1389348"/>
              <a:gd name="connsiteX2" fmla="*/ 105777 w 1385168"/>
              <a:gd name="connsiteY2" fmla="*/ 1169282 h 1389348"/>
              <a:gd name="connsiteX3" fmla="*/ 1169725 w 1385168"/>
              <a:gd name="connsiteY3" fmla="*/ 105334 h 1389348"/>
              <a:gd name="connsiteX4" fmla="*/ 1363873 w 1385168"/>
              <a:gd name="connsiteY4" fmla="*/ 2041 h 1389348"/>
              <a:gd name="connsiteX5" fmla="*/ 1385168 w 1385168"/>
              <a:gd name="connsiteY5" fmla="*/ 0 h 138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5168" h="1389348">
                <a:moveTo>
                  <a:pt x="0" y="1389348"/>
                </a:moveTo>
                <a:lnTo>
                  <a:pt x="2484" y="1363430"/>
                </a:lnTo>
                <a:cubicBezTo>
                  <a:pt x="16256" y="1292296"/>
                  <a:pt x="50687" y="1224371"/>
                  <a:pt x="105777" y="1169282"/>
                </a:cubicBezTo>
                <a:lnTo>
                  <a:pt x="1169725" y="105334"/>
                </a:lnTo>
                <a:cubicBezTo>
                  <a:pt x="1224815" y="50244"/>
                  <a:pt x="1292740" y="15814"/>
                  <a:pt x="1363873" y="2041"/>
                </a:cubicBezTo>
                <a:lnTo>
                  <a:pt x="1385168"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a:extLst>
              <a:ext uri="{FF2B5EF4-FFF2-40B4-BE49-F238E27FC236}">
                <a16:creationId xmlns:a16="http://schemas.microsoft.com/office/drawing/2014/main" id="{B69BB58D-0B1D-49CF-AC59-FABFB91E2B11}"/>
              </a:ext>
            </a:extLst>
          </p:cNvPr>
          <p:cNvSpPr/>
          <p:nvPr userDrawn="1"/>
        </p:nvSpPr>
        <p:spPr>
          <a:xfrm>
            <a:off x="4937155" y="2761246"/>
            <a:ext cx="1104742" cy="1113457"/>
          </a:xfrm>
          <a:custGeom>
            <a:avLst/>
            <a:gdLst>
              <a:gd name="connsiteX0" fmla="*/ 1104742 w 1104742"/>
              <a:gd name="connsiteY0" fmla="*/ 0 h 1113457"/>
              <a:gd name="connsiteX1" fmla="*/ 1104742 w 1104742"/>
              <a:gd name="connsiteY1" fmla="*/ 1113457 h 1113457"/>
              <a:gd name="connsiteX2" fmla="*/ 0 w 1104742"/>
              <a:gd name="connsiteY2" fmla="*/ 1113457 h 1113457"/>
              <a:gd name="connsiteX3" fmla="*/ 13331 w 1104742"/>
              <a:gd name="connsiteY3" fmla="*/ 1044950 h 1113457"/>
              <a:gd name="connsiteX4" fmla="*/ 80134 w 1104742"/>
              <a:gd name="connsiteY4" fmla="*/ 944349 h 1113457"/>
              <a:gd name="connsiteX5" fmla="*/ 940257 w 1104742"/>
              <a:gd name="connsiteY5" fmla="*/ 84226 h 1113457"/>
              <a:gd name="connsiteX6" fmla="*/ 1097211 w 1104742"/>
              <a:gd name="connsiteY6" fmla="*/ 722 h 111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4742" h="1113457">
                <a:moveTo>
                  <a:pt x="1104742" y="0"/>
                </a:moveTo>
                <a:lnTo>
                  <a:pt x="1104742" y="1113457"/>
                </a:lnTo>
                <a:lnTo>
                  <a:pt x="0" y="1113457"/>
                </a:lnTo>
                <a:lnTo>
                  <a:pt x="13331" y="1044950"/>
                </a:lnTo>
                <a:cubicBezTo>
                  <a:pt x="28176" y="1008342"/>
                  <a:pt x="50444" y="974040"/>
                  <a:pt x="80134" y="944349"/>
                </a:cubicBezTo>
                <a:lnTo>
                  <a:pt x="940257" y="84226"/>
                </a:lnTo>
                <a:cubicBezTo>
                  <a:pt x="984793" y="39691"/>
                  <a:pt x="1039705" y="11856"/>
                  <a:pt x="1097211" y="7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5">
            <a:extLst>
              <a:ext uri="{FF2B5EF4-FFF2-40B4-BE49-F238E27FC236}">
                <a16:creationId xmlns:a16="http://schemas.microsoft.com/office/drawing/2014/main" id="{36A11DBA-8340-488E-9332-C90AAF45B3EB}"/>
              </a:ext>
            </a:extLst>
          </p:cNvPr>
          <p:cNvSpPr>
            <a:spLocks noChangeAspect="1"/>
          </p:cNvSpPr>
          <p:nvPr userDrawn="1"/>
        </p:nvSpPr>
        <p:spPr>
          <a:xfrm rot="18900000">
            <a:off x="6017211" y="2789844"/>
            <a:ext cx="844084" cy="1568503"/>
          </a:xfrm>
          <a:custGeom>
            <a:avLst/>
            <a:gdLst>
              <a:gd name="connsiteX0" fmla="*/ 787333 w 844084"/>
              <a:gd name="connsiteY0" fmla="*/ 0 h 1568503"/>
              <a:gd name="connsiteX1" fmla="*/ 792147 w 844084"/>
              <a:gd name="connsiteY1" fmla="*/ 5835 h 1568503"/>
              <a:gd name="connsiteX2" fmla="*/ 844084 w 844084"/>
              <a:gd name="connsiteY2" fmla="*/ 175864 h 1568503"/>
              <a:gd name="connsiteX3" fmla="*/ 844084 w 844084"/>
              <a:gd name="connsiteY3" fmla="*/ 1392262 h 1568503"/>
              <a:gd name="connsiteX4" fmla="*/ 820186 w 844084"/>
              <a:gd name="connsiteY4" fmla="*/ 1510635 h 1568503"/>
              <a:gd name="connsiteX5" fmla="*/ 781170 w 844084"/>
              <a:gd name="connsiteY5" fmla="*/ 1568503 h 1568503"/>
              <a:gd name="connsiteX6" fmla="*/ 0 w 844084"/>
              <a:gd name="connsiteY6" fmla="*/ 787333 h 1568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84" h="1568503">
                <a:moveTo>
                  <a:pt x="787333" y="0"/>
                </a:moveTo>
                <a:lnTo>
                  <a:pt x="792147" y="5835"/>
                </a:lnTo>
                <a:cubicBezTo>
                  <a:pt x="824938" y="54371"/>
                  <a:pt x="844084" y="112881"/>
                  <a:pt x="844084" y="175864"/>
                </a:cubicBezTo>
                <a:lnTo>
                  <a:pt x="844084" y="1392262"/>
                </a:lnTo>
                <a:cubicBezTo>
                  <a:pt x="844084" y="1434251"/>
                  <a:pt x="835575" y="1474252"/>
                  <a:pt x="820186" y="1510635"/>
                </a:cubicBezTo>
                <a:lnTo>
                  <a:pt x="781170" y="1568503"/>
                </a:lnTo>
                <a:lnTo>
                  <a:pt x="0" y="78733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7">
            <a:extLst>
              <a:ext uri="{FF2B5EF4-FFF2-40B4-BE49-F238E27FC236}">
                <a16:creationId xmlns:a16="http://schemas.microsoft.com/office/drawing/2014/main" id="{299C1602-1934-42DC-A4B4-34AB2EDE311A}"/>
              </a:ext>
            </a:extLst>
          </p:cNvPr>
          <p:cNvSpPr>
            <a:spLocks noChangeAspect="1"/>
          </p:cNvSpPr>
          <p:nvPr userDrawn="1"/>
        </p:nvSpPr>
        <p:spPr>
          <a:xfrm rot="18900000">
            <a:off x="5655001" y="3845128"/>
            <a:ext cx="1568502" cy="844083"/>
          </a:xfrm>
          <a:custGeom>
            <a:avLst/>
            <a:gdLst>
              <a:gd name="connsiteX0" fmla="*/ 787332 w 1568502"/>
              <a:gd name="connsiteY0" fmla="*/ 0 h 844083"/>
              <a:gd name="connsiteX1" fmla="*/ 1568502 w 1568502"/>
              <a:gd name="connsiteY1" fmla="*/ 781170 h 844083"/>
              <a:gd name="connsiteX2" fmla="*/ 1510635 w 1568502"/>
              <a:gd name="connsiteY2" fmla="*/ 820185 h 844083"/>
              <a:gd name="connsiteX3" fmla="*/ 1392262 w 1568502"/>
              <a:gd name="connsiteY3" fmla="*/ 844083 h 844083"/>
              <a:gd name="connsiteX4" fmla="*/ 175864 w 1568502"/>
              <a:gd name="connsiteY4" fmla="*/ 844083 h 844083"/>
              <a:gd name="connsiteX5" fmla="*/ 5835 w 1568502"/>
              <a:gd name="connsiteY5" fmla="*/ 792146 h 844083"/>
              <a:gd name="connsiteX6" fmla="*/ 0 w 1568502"/>
              <a:gd name="connsiteY6" fmla="*/ 787332 h 8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502" h="844083">
                <a:moveTo>
                  <a:pt x="787332" y="0"/>
                </a:moveTo>
                <a:lnTo>
                  <a:pt x="1568502" y="781170"/>
                </a:lnTo>
                <a:lnTo>
                  <a:pt x="1510635" y="820185"/>
                </a:lnTo>
                <a:cubicBezTo>
                  <a:pt x="1474252" y="835574"/>
                  <a:pt x="1434251" y="844083"/>
                  <a:pt x="1392262" y="844083"/>
                </a:cubicBezTo>
                <a:lnTo>
                  <a:pt x="175864" y="844083"/>
                </a:lnTo>
                <a:cubicBezTo>
                  <a:pt x="112881" y="844083"/>
                  <a:pt x="54371" y="824937"/>
                  <a:pt x="5835" y="792146"/>
                </a:cubicBezTo>
                <a:lnTo>
                  <a:pt x="0" y="78733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Freeform 19">
            <a:extLst>
              <a:ext uri="{FF2B5EF4-FFF2-40B4-BE49-F238E27FC236}">
                <a16:creationId xmlns:a16="http://schemas.microsoft.com/office/drawing/2014/main" id="{95C505BA-60C7-4516-A2F3-F6C352F531C3}"/>
              </a:ext>
            </a:extLst>
          </p:cNvPr>
          <p:cNvSpPr>
            <a:spLocks noChangeAspect="1"/>
          </p:cNvSpPr>
          <p:nvPr userDrawn="1"/>
        </p:nvSpPr>
        <p:spPr>
          <a:xfrm rot="18900000">
            <a:off x="5323605" y="3482917"/>
            <a:ext cx="844084" cy="1568502"/>
          </a:xfrm>
          <a:custGeom>
            <a:avLst/>
            <a:gdLst>
              <a:gd name="connsiteX0" fmla="*/ 62914 w 844084"/>
              <a:gd name="connsiteY0" fmla="*/ 0 h 1568502"/>
              <a:gd name="connsiteX1" fmla="*/ 844084 w 844084"/>
              <a:gd name="connsiteY1" fmla="*/ 781170 h 1568502"/>
              <a:gd name="connsiteX2" fmla="*/ 56752 w 844084"/>
              <a:gd name="connsiteY2" fmla="*/ 1568502 h 1568502"/>
              <a:gd name="connsiteX3" fmla="*/ 51937 w 844084"/>
              <a:gd name="connsiteY3" fmla="*/ 1562666 h 1568502"/>
              <a:gd name="connsiteX4" fmla="*/ 0 w 844084"/>
              <a:gd name="connsiteY4" fmla="*/ 1392637 h 1568502"/>
              <a:gd name="connsiteX5" fmla="*/ 0 w 844084"/>
              <a:gd name="connsiteY5" fmla="*/ 176239 h 1568502"/>
              <a:gd name="connsiteX6" fmla="*/ 23898 w 844084"/>
              <a:gd name="connsiteY6" fmla="*/ 57867 h 156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84" h="1568502">
                <a:moveTo>
                  <a:pt x="62914" y="0"/>
                </a:moveTo>
                <a:lnTo>
                  <a:pt x="844084" y="781170"/>
                </a:lnTo>
                <a:lnTo>
                  <a:pt x="56752" y="1568502"/>
                </a:lnTo>
                <a:lnTo>
                  <a:pt x="51937" y="1562666"/>
                </a:lnTo>
                <a:cubicBezTo>
                  <a:pt x="19147" y="1514131"/>
                  <a:pt x="0" y="1455620"/>
                  <a:pt x="0" y="1392637"/>
                </a:cubicBezTo>
                <a:lnTo>
                  <a:pt x="0" y="176239"/>
                </a:lnTo>
                <a:cubicBezTo>
                  <a:pt x="0" y="134250"/>
                  <a:pt x="8510" y="94250"/>
                  <a:pt x="23898" y="57867"/>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28">
            <a:extLst>
              <a:ext uri="{FF2B5EF4-FFF2-40B4-BE49-F238E27FC236}">
                <a16:creationId xmlns:a16="http://schemas.microsoft.com/office/drawing/2014/main" id="{EE052943-05BC-4408-9668-3D70A72B4EF7}"/>
              </a:ext>
            </a:extLst>
          </p:cNvPr>
          <p:cNvSpPr>
            <a:spLocks noChangeAspect="1"/>
          </p:cNvSpPr>
          <p:nvPr userDrawn="1"/>
        </p:nvSpPr>
        <p:spPr>
          <a:xfrm rot="18900000">
            <a:off x="5281379" y="3707823"/>
            <a:ext cx="80814" cy="1961879"/>
          </a:xfrm>
          <a:custGeom>
            <a:avLst/>
            <a:gdLst>
              <a:gd name="connsiteX0" fmla="*/ 80814 w 1060276"/>
              <a:gd name="connsiteY0" fmla="*/ 0 h 1961879"/>
              <a:gd name="connsiteX1" fmla="*/ 1060276 w 1060276"/>
              <a:gd name="connsiteY1" fmla="*/ 979462 h 1961879"/>
              <a:gd name="connsiteX2" fmla="*/ 77859 w 1060276"/>
              <a:gd name="connsiteY2" fmla="*/ 1961879 h 1961879"/>
              <a:gd name="connsiteX3" fmla="*/ 64245 w 1060276"/>
              <a:gd name="connsiteY3" fmla="*/ 1945377 h 1961879"/>
              <a:gd name="connsiteX4" fmla="*/ 0 w 1060276"/>
              <a:gd name="connsiteY4" fmla="*/ 1735055 h 1961879"/>
              <a:gd name="connsiteX5" fmla="*/ 0 w 1060276"/>
              <a:gd name="connsiteY5" fmla="*/ 230405 h 1961879"/>
              <a:gd name="connsiteX6" fmla="*/ 64245 w 1060276"/>
              <a:gd name="connsiteY6" fmla="*/ 20083 h 1961879"/>
              <a:gd name="connsiteX0" fmla="*/ 1060276 w 1151716"/>
              <a:gd name="connsiteY0" fmla="*/ 979462 h 1961879"/>
              <a:gd name="connsiteX1" fmla="*/ 77859 w 1151716"/>
              <a:gd name="connsiteY1" fmla="*/ 1961879 h 1961879"/>
              <a:gd name="connsiteX2" fmla="*/ 64245 w 1151716"/>
              <a:gd name="connsiteY2" fmla="*/ 1945377 h 1961879"/>
              <a:gd name="connsiteX3" fmla="*/ 0 w 1151716"/>
              <a:gd name="connsiteY3" fmla="*/ 1735055 h 1961879"/>
              <a:gd name="connsiteX4" fmla="*/ 0 w 1151716"/>
              <a:gd name="connsiteY4" fmla="*/ 230405 h 1961879"/>
              <a:gd name="connsiteX5" fmla="*/ 64245 w 1151716"/>
              <a:gd name="connsiteY5" fmla="*/ 20083 h 1961879"/>
              <a:gd name="connsiteX6" fmla="*/ 80814 w 1151716"/>
              <a:gd name="connsiteY6" fmla="*/ 0 h 1961879"/>
              <a:gd name="connsiteX7" fmla="*/ 1151716 w 1151716"/>
              <a:gd name="connsiteY7" fmla="*/ 1070902 h 1961879"/>
              <a:gd name="connsiteX0" fmla="*/ 77859 w 1151716"/>
              <a:gd name="connsiteY0" fmla="*/ 1961879 h 1961879"/>
              <a:gd name="connsiteX1" fmla="*/ 64245 w 1151716"/>
              <a:gd name="connsiteY1" fmla="*/ 1945377 h 1961879"/>
              <a:gd name="connsiteX2" fmla="*/ 0 w 1151716"/>
              <a:gd name="connsiteY2" fmla="*/ 1735055 h 1961879"/>
              <a:gd name="connsiteX3" fmla="*/ 0 w 1151716"/>
              <a:gd name="connsiteY3" fmla="*/ 230405 h 1961879"/>
              <a:gd name="connsiteX4" fmla="*/ 64245 w 1151716"/>
              <a:gd name="connsiteY4" fmla="*/ 20083 h 1961879"/>
              <a:gd name="connsiteX5" fmla="*/ 80814 w 1151716"/>
              <a:gd name="connsiteY5" fmla="*/ 0 h 1961879"/>
              <a:gd name="connsiteX6" fmla="*/ 1151716 w 1151716"/>
              <a:gd name="connsiteY6" fmla="*/ 1070902 h 1961879"/>
              <a:gd name="connsiteX0" fmla="*/ 77859 w 80814"/>
              <a:gd name="connsiteY0" fmla="*/ 1961879 h 1961879"/>
              <a:gd name="connsiteX1" fmla="*/ 64245 w 80814"/>
              <a:gd name="connsiteY1" fmla="*/ 1945377 h 1961879"/>
              <a:gd name="connsiteX2" fmla="*/ 0 w 80814"/>
              <a:gd name="connsiteY2" fmla="*/ 1735055 h 1961879"/>
              <a:gd name="connsiteX3" fmla="*/ 0 w 80814"/>
              <a:gd name="connsiteY3" fmla="*/ 230405 h 1961879"/>
              <a:gd name="connsiteX4" fmla="*/ 64245 w 80814"/>
              <a:gd name="connsiteY4" fmla="*/ 20083 h 1961879"/>
              <a:gd name="connsiteX5" fmla="*/ 80814 w 80814"/>
              <a:gd name="connsiteY5" fmla="*/ 0 h 196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814" h="1961879">
                <a:moveTo>
                  <a:pt x="77859" y="1961879"/>
                </a:moveTo>
                <a:lnTo>
                  <a:pt x="64245" y="1945377"/>
                </a:lnTo>
                <a:cubicBezTo>
                  <a:pt x="23684" y="1885340"/>
                  <a:pt x="0" y="1812964"/>
                  <a:pt x="0" y="1735055"/>
                </a:cubicBezTo>
                <a:lnTo>
                  <a:pt x="0" y="230405"/>
                </a:lnTo>
                <a:cubicBezTo>
                  <a:pt x="0" y="152497"/>
                  <a:pt x="23684" y="80120"/>
                  <a:pt x="64245" y="20083"/>
                </a:cubicBezTo>
                <a:lnTo>
                  <a:pt x="80814" y="0"/>
                </a:ln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30">
            <a:extLst>
              <a:ext uri="{FF2B5EF4-FFF2-40B4-BE49-F238E27FC236}">
                <a16:creationId xmlns:a16="http://schemas.microsoft.com/office/drawing/2014/main" id="{5A032A09-67A8-4E51-82B8-6101FBF08EB2}"/>
              </a:ext>
            </a:extLst>
          </p:cNvPr>
          <p:cNvSpPr>
            <a:spLocks noChangeAspect="1"/>
          </p:cNvSpPr>
          <p:nvPr userDrawn="1"/>
        </p:nvSpPr>
        <p:spPr>
          <a:xfrm rot="18900000">
            <a:off x="5882174" y="4648357"/>
            <a:ext cx="1961878" cy="80814"/>
          </a:xfrm>
          <a:custGeom>
            <a:avLst/>
            <a:gdLst>
              <a:gd name="connsiteX0" fmla="*/ 982417 w 1961878"/>
              <a:gd name="connsiteY0" fmla="*/ 0 h 1060275"/>
              <a:gd name="connsiteX1" fmla="*/ 1961878 w 1961878"/>
              <a:gd name="connsiteY1" fmla="*/ 979461 h 1060275"/>
              <a:gd name="connsiteX2" fmla="*/ 1941795 w 1961878"/>
              <a:gd name="connsiteY2" fmla="*/ 996031 h 1060275"/>
              <a:gd name="connsiteX3" fmla="*/ 1731473 w 1961878"/>
              <a:gd name="connsiteY3" fmla="*/ 1060275 h 1060275"/>
              <a:gd name="connsiteX4" fmla="*/ 226823 w 1961878"/>
              <a:gd name="connsiteY4" fmla="*/ 1060275 h 1060275"/>
              <a:gd name="connsiteX5" fmla="*/ 16501 w 1961878"/>
              <a:gd name="connsiteY5" fmla="*/ 996031 h 1060275"/>
              <a:gd name="connsiteX6" fmla="*/ 0 w 1961878"/>
              <a:gd name="connsiteY6" fmla="*/ 982417 h 1060275"/>
              <a:gd name="connsiteX0" fmla="*/ 982417 w 1961878"/>
              <a:gd name="connsiteY0" fmla="*/ 0 h 1060275"/>
              <a:gd name="connsiteX1" fmla="*/ 1961878 w 1961878"/>
              <a:gd name="connsiteY1" fmla="*/ 979461 h 1060275"/>
              <a:gd name="connsiteX2" fmla="*/ 1941795 w 1961878"/>
              <a:gd name="connsiteY2" fmla="*/ 996031 h 1060275"/>
              <a:gd name="connsiteX3" fmla="*/ 1731473 w 1961878"/>
              <a:gd name="connsiteY3" fmla="*/ 1060275 h 1060275"/>
              <a:gd name="connsiteX4" fmla="*/ 226823 w 1961878"/>
              <a:gd name="connsiteY4" fmla="*/ 1060275 h 1060275"/>
              <a:gd name="connsiteX5" fmla="*/ 16501 w 1961878"/>
              <a:gd name="connsiteY5" fmla="*/ 996031 h 1060275"/>
              <a:gd name="connsiteX6" fmla="*/ 0 w 1961878"/>
              <a:gd name="connsiteY6" fmla="*/ 982417 h 1060275"/>
              <a:gd name="connsiteX7" fmla="*/ 1073857 w 1961878"/>
              <a:gd name="connsiteY7" fmla="*/ 91440 h 1060275"/>
              <a:gd name="connsiteX0" fmla="*/ 1961878 w 1961878"/>
              <a:gd name="connsiteY0" fmla="*/ 888021 h 968835"/>
              <a:gd name="connsiteX1" fmla="*/ 1941795 w 1961878"/>
              <a:gd name="connsiteY1" fmla="*/ 904591 h 968835"/>
              <a:gd name="connsiteX2" fmla="*/ 1731473 w 1961878"/>
              <a:gd name="connsiteY2" fmla="*/ 968835 h 968835"/>
              <a:gd name="connsiteX3" fmla="*/ 226823 w 1961878"/>
              <a:gd name="connsiteY3" fmla="*/ 968835 h 968835"/>
              <a:gd name="connsiteX4" fmla="*/ 16501 w 1961878"/>
              <a:gd name="connsiteY4" fmla="*/ 904591 h 968835"/>
              <a:gd name="connsiteX5" fmla="*/ 0 w 1961878"/>
              <a:gd name="connsiteY5" fmla="*/ 890977 h 968835"/>
              <a:gd name="connsiteX6" fmla="*/ 1073857 w 1961878"/>
              <a:gd name="connsiteY6" fmla="*/ 0 h 968835"/>
              <a:gd name="connsiteX0" fmla="*/ 1961878 w 1961878"/>
              <a:gd name="connsiteY0" fmla="*/ 0 h 80814"/>
              <a:gd name="connsiteX1" fmla="*/ 1941795 w 1961878"/>
              <a:gd name="connsiteY1" fmla="*/ 16570 h 80814"/>
              <a:gd name="connsiteX2" fmla="*/ 1731473 w 1961878"/>
              <a:gd name="connsiteY2" fmla="*/ 80814 h 80814"/>
              <a:gd name="connsiteX3" fmla="*/ 226823 w 1961878"/>
              <a:gd name="connsiteY3" fmla="*/ 80814 h 80814"/>
              <a:gd name="connsiteX4" fmla="*/ 16501 w 1961878"/>
              <a:gd name="connsiteY4" fmla="*/ 16570 h 80814"/>
              <a:gd name="connsiteX5" fmla="*/ 0 w 1961878"/>
              <a:gd name="connsiteY5" fmla="*/ 2956 h 8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1878" h="80814">
                <a:moveTo>
                  <a:pt x="1961878" y="0"/>
                </a:moveTo>
                <a:lnTo>
                  <a:pt x="1941795" y="16570"/>
                </a:lnTo>
                <a:cubicBezTo>
                  <a:pt x="1881758" y="57131"/>
                  <a:pt x="1809381" y="80814"/>
                  <a:pt x="1731473" y="80814"/>
                </a:cubicBezTo>
                <a:lnTo>
                  <a:pt x="226823" y="80814"/>
                </a:lnTo>
                <a:cubicBezTo>
                  <a:pt x="148915" y="80814"/>
                  <a:pt x="76539" y="57130"/>
                  <a:pt x="16501" y="16570"/>
                </a:cubicBezTo>
                <a:lnTo>
                  <a:pt x="0" y="2956"/>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Freeform 32">
            <a:extLst>
              <a:ext uri="{FF2B5EF4-FFF2-40B4-BE49-F238E27FC236}">
                <a16:creationId xmlns:a16="http://schemas.microsoft.com/office/drawing/2014/main" id="{BC94C936-AB5F-4BFD-97FD-13CB694666C7}"/>
              </a:ext>
            </a:extLst>
          </p:cNvPr>
          <p:cNvSpPr>
            <a:spLocks noChangeAspect="1"/>
          </p:cNvSpPr>
          <p:nvPr userDrawn="1"/>
        </p:nvSpPr>
        <p:spPr>
          <a:xfrm rot="18900000">
            <a:off x="6822706" y="2171562"/>
            <a:ext cx="80814" cy="1961879"/>
          </a:xfrm>
          <a:custGeom>
            <a:avLst/>
            <a:gdLst>
              <a:gd name="connsiteX0" fmla="*/ 982417 w 1060276"/>
              <a:gd name="connsiteY0" fmla="*/ 0 h 1961879"/>
              <a:gd name="connsiteX1" fmla="*/ 996031 w 1060276"/>
              <a:gd name="connsiteY1" fmla="*/ 16501 h 1961879"/>
              <a:gd name="connsiteX2" fmla="*/ 1060276 w 1060276"/>
              <a:gd name="connsiteY2" fmla="*/ 226823 h 1961879"/>
              <a:gd name="connsiteX3" fmla="*/ 1060276 w 1060276"/>
              <a:gd name="connsiteY3" fmla="*/ 1731473 h 1961879"/>
              <a:gd name="connsiteX4" fmla="*/ 996032 w 1060276"/>
              <a:gd name="connsiteY4" fmla="*/ 1941795 h 1961879"/>
              <a:gd name="connsiteX5" fmla="*/ 979462 w 1060276"/>
              <a:gd name="connsiteY5" fmla="*/ 1961879 h 1961879"/>
              <a:gd name="connsiteX6" fmla="*/ 0 w 1060276"/>
              <a:gd name="connsiteY6" fmla="*/ 982418 h 1961879"/>
              <a:gd name="connsiteX0" fmla="*/ 0 w 1060276"/>
              <a:gd name="connsiteY0" fmla="*/ 982418 h 1961879"/>
              <a:gd name="connsiteX1" fmla="*/ 982417 w 1060276"/>
              <a:gd name="connsiteY1" fmla="*/ 0 h 1961879"/>
              <a:gd name="connsiteX2" fmla="*/ 996031 w 1060276"/>
              <a:gd name="connsiteY2" fmla="*/ 16501 h 1961879"/>
              <a:gd name="connsiteX3" fmla="*/ 1060276 w 1060276"/>
              <a:gd name="connsiteY3" fmla="*/ 226823 h 1961879"/>
              <a:gd name="connsiteX4" fmla="*/ 1060276 w 1060276"/>
              <a:gd name="connsiteY4" fmla="*/ 1731473 h 1961879"/>
              <a:gd name="connsiteX5" fmla="*/ 996032 w 1060276"/>
              <a:gd name="connsiteY5" fmla="*/ 1941795 h 1961879"/>
              <a:gd name="connsiteX6" fmla="*/ 979462 w 1060276"/>
              <a:gd name="connsiteY6" fmla="*/ 1961879 h 1961879"/>
              <a:gd name="connsiteX7" fmla="*/ 91440 w 1060276"/>
              <a:gd name="connsiteY7" fmla="*/ 1073858 h 1961879"/>
              <a:gd name="connsiteX0" fmla="*/ 890977 w 968836"/>
              <a:gd name="connsiteY0" fmla="*/ 0 h 1961879"/>
              <a:gd name="connsiteX1" fmla="*/ 904591 w 968836"/>
              <a:gd name="connsiteY1" fmla="*/ 16501 h 1961879"/>
              <a:gd name="connsiteX2" fmla="*/ 968836 w 968836"/>
              <a:gd name="connsiteY2" fmla="*/ 226823 h 1961879"/>
              <a:gd name="connsiteX3" fmla="*/ 968836 w 968836"/>
              <a:gd name="connsiteY3" fmla="*/ 1731473 h 1961879"/>
              <a:gd name="connsiteX4" fmla="*/ 904592 w 968836"/>
              <a:gd name="connsiteY4" fmla="*/ 1941795 h 1961879"/>
              <a:gd name="connsiteX5" fmla="*/ 888022 w 968836"/>
              <a:gd name="connsiteY5" fmla="*/ 1961879 h 1961879"/>
              <a:gd name="connsiteX6" fmla="*/ 0 w 968836"/>
              <a:gd name="connsiteY6" fmla="*/ 1073858 h 1961879"/>
              <a:gd name="connsiteX0" fmla="*/ 2955 w 80814"/>
              <a:gd name="connsiteY0" fmla="*/ 0 h 1961879"/>
              <a:gd name="connsiteX1" fmla="*/ 16569 w 80814"/>
              <a:gd name="connsiteY1" fmla="*/ 16501 h 1961879"/>
              <a:gd name="connsiteX2" fmla="*/ 80814 w 80814"/>
              <a:gd name="connsiteY2" fmla="*/ 226823 h 1961879"/>
              <a:gd name="connsiteX3" fmla="*/ 80814 w 80814"/>
              <a:gd name="connsiteY3" fmla="*/ 1731473 h 1961879"/>
              <a:gd name="connsiteX4" fmla="*/ 16570 w 80814"/>
              <a:gd name="connsiteY4" fmla="*/ 1941795 h 1961879"/>
              <a:gd name="connsiteX5" fmla="*/ 0 w 80814"/>
              <a:gd name="connsiteY5" fmla="*/ 1961879 h 196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814" h="1961879">
                <a:moveTo>
                  <a:pt x="2955" y="0"/>
                </a:moveTo>
                <a:lnTo>
                  <a:pt x="16569" y="16501"/>
                </a:lnTo>
                <a:cubicBezTo>
                  <a:pt x="57130" y="76539"/>
                  <a:pt x="80814" y="148915"/>
                  <a:pt x="80814" y="226823"/>
                </a:cubicBezTo>
                <a:lnTo>
                  <a:pt x="80814" y="1731473"/>
                </a:lnTo>
                <a:cubicBezTo>
                  <a:pt x="80814" y="1809381"/>
                  <a:pt x="57131" y="1881758"/>
                  <a:pt x="16570" y="1941795"/>
                </a:cubicBezTo>
                <a:lnTo>
                  <a:pt x="0" y="1961879"/>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11">
            <a:extLst>
              <a:ext uri="{FF2B5EF4-FFF2-40B4-BE49-F238E27FC236}">
                <a16:creationId xmlns:a16="http://schemas.microsoft.com/office/drawing/2014/main" id="{237F6B36-262D-4304-8620-95CE914E91E8}"/>
              </a:ext>
            </a:extLst>
          </p:cNvPr>
          <p:cNvSpPr>
            <a:spLocks noGrp="1"/>
          </p:cNvSpPr>
          <p:nvPr>
            <p:ph type="body" sz="quarter" idx="14" hasCustomPrompt="1"/>
          </p:nvPr>
        </p:nvSpPr>
        <p:spPr>
          <a:xfrm>
            <a:off x="1400176" y="4080633"/>
            <a:ext cx="3631462"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30" name="Tijdelijke aanduiding voor tekst 11">
            <a:extLst>
              <a:ext uri="{FF2B5EF4-FFF2-40B4-BE49-F238E27FC236}">
                <a16:creationId xmlns:a16="http://schemas.microsoft.com/office/drawing/2014/main" id="{9B3353CF-18B6-4732-9FC2-7BCABCA2AF74}"/>
              </a:ext>
            </a:extLst>
          </p:cNvPr>
          <p:cNvSpPr>
            <a:spLocks noGrp="1"/>
          </p:cNvSpPr>
          <p:nvPr>
            <p:ph type="body" sz="quarter" idx="15" hasCustomPrompt="1"/>
          </p:nvPr>
        </p:nvSpPr>
        <p:spPr>
          <a:xfrm>
            <a:off x="7575790" y="1962150"/>
            <a:ext cx="3216036"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31" name="Tijdelijke aanduiding voor tekst 11">
            <a:extLst>
              <a:ext uri="{FF2B5EF4-FFF2-40B4-BE49-F238E27FC236}">
                <a16:creationId xmlns:a16="http://schemas.microsoft.com/office/drawing/2014/main" id="{29191A71-D738-4511-9190-DA2629706DA8}"/>
              </a:ext>
            </a:extLst>
          </p:cNvPr>
          <p:cNvSpPr>
            <a:spLocks noGrp="1"/>
          </p:cNvSpPr>
          <p:nvPr>
            <p:ph type="body" sz="quarter" idx="16" hasCustomPrompt="1"/>
          </p:nvPr>
        </p:nvSpPr>
        <p:spPr>
          <a:xfrm>
            <a:off x="7575790" y="4080633"/>
            <a:ext cx="3216036"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5" name="Tijdelijke aanduiding voor tekst 4">
            <a:extLst>
              <a:ext uri="{FF2B5EF4-FFF2-40B4-BE49-F238E27FC236}">
                <a16:creationId xmlns:a16="http://schemas.microsoft.com/office/drawing/2014/main" id="{0ACADCD3-098C-45DE-9F13-7A32B841EC7F}"/>
              </a:ext>
            </a:extLst>
          </p:cNvPr>
          <p:cNvSpPr>
            <a:spLocks noGrp="1"/>
          </p:cNvSpPr>
          <p:nvPr>
            <p:ph type="body" sz="quarter" idx="17" hasCustomPrompt="1"/>
          </p:nvPr>
        </p:nvSpPr>
        <p:spPr>
          <a:xfrm>
            <a:off x="5343525" y="3429000"/>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
        <p:nvSpPr>
          <p:cNvPr id="32" name="Tijdelijke aanduiding voor tekst 4">
            <a:extLst>
              <a:ext uri="{FF2B5EF4-FFF2-40B4-BE49-F238E27FC236}">
                <a16:creationId xmlns:a16="http://schemas.microsoft.com/office/drawing/2014/main" id="{95FB77A0-6438-4527-9242-A03F3A0D6FFD}"/>
              </a:ext>
            </a:extLst>
          </p:cNvPr>
          <p:cNvSpPr>
            <a:spLocks noGrp="1"/>
          </p:cNvSpPr>
          <p:nvPr>
            <p:ph type="body" sz="quarter" idx="18" hasCustomPrompt="1"/>
          </p:nvPr>
        </p:nvSpPr>
        <p:spPr>
          <a:xfrm>
            <a:off x="6228810" y="3429000"/>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
        <p:nvSpPr>
          <p:cNvPr id="33" name="Tijdelijke aanduiding voor tekst 4">
            <a:extLst>
              <a:ext uri="{FF2B5EF4-FFF2-40B4-BE49-F238E27FC236}">
                <a16:creationId xmlns:a16="http://schemas.microsoft.com/office/drawing/2014/main" id="{C23C21B9-452B-47AF-972C-70148CCA2C9C}"/>
              </a:ext>
            </a:extLst>
          </p:cNvPr>
          <p:cNvSpPr>
            <a:spLocks noGrp="1"/>
          </p:cNvSpPr>
          <p:nvPr>
            <p:ph type="body" sz="quarter" idx="19" hasCustomPrompt="1"/>
          </p:nvPr>
        </p:nvSpPr>
        <p:spPr>
          <a:xfrm>
            <a:off x="5343525" y="4039456"/>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
        <p:nvSpPr>
          <p:cNvPr id="34" name="Tijdelijke aanduiding voor tekst 4">
            <a:extLst>
              <a:ext uri="{FF2B5EF4-FFF2-40B4-BE49-F238E27FC236}">
                <a16:creationId xmlns:a16="http://schemas.microsoft.com/office/drawing/2014/main" id="{F0DD2AEF-768F-4569-A000-6F18A6682AAF}"/>
              </a:ext>
            </a:extLst>
          </p:cNvPr>
          <p:cNvSpPr>
            <a:spLocks noGrp="1"/>
          </p:cNvSpPr>
          <p:nvPr>
            <p:ph type="body" sz="quarter" idx="20" hasCustomPrompt="1"/>
          </p:nvPr>
        </p:nvSpPr>
        <p:spPr>
          <a:xfrm>
            <a:off x="6228810" y="4039456"/>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Tree>
    <p:extLst>
      <p:ext uri="{BB962C8B-B14F-4D97-AF65-F5344CB8AC3E}">
        <p14:creationId xmlns:p14="http://schemas.microsoft.com/office/powerpoint/2010/main" val="1721413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19" name="Tijdelijke aanduiding voor afbeelding 18">
            <a:extLst>
              <a:ext uri="{FF2B5EF4-FFF2-40B4-BE49-F238E27FC236}">
                <a16:creationId xmlns:a16="http://schemas.microsoft.com/office/drawing/2014/main" id="{7B375A55-05DF-4620-927B-CEFAB4E05C4E}"/>
              </a:ext>
            </a:extLst>
          </p:cNvPr>
          <p:cNvSpPr>
            <a:spLocks noGrp="1"/>
          </p:cNvSpPr>
          <p:nvPr>
            <p:ph type="pic" sz="quarter" idx="10" hasCustomPrompt="1"/>
          </p:nvPr>
        </p:nvSpPr>
        <p:spPr>
          <a:xfrm>
            <a:off x="-11113" y="-11113"/>
            <a:ext cx="7049592" cy="6869113"/>
          </a:xfrm>
          <a:custGeom>
            <a:avLst/>
            <a:gdLst>
              <a:gd name="connsiteX0" fmla="*/ 0 w 7049592"/>
              <a:gd name="connsiteY0" fmla="*/ 0 h 6869113"/>
              <a:gd name="connsiteX1" fmla="*/ 7049592 w 7049592"/>
              <a:gd name="connsiteY1" fmla="*/ 0 h 6869113"/>
              <a:gd name="connsiteX2" fmla="*/ 6961918 w 7049592"/>
              <a:gd name="connsiteY2" fmla="*/ 304793 h 6869113"/>
              <a:gd name="connsiteX3" fmla="*/ 4716550 w 7049592"/>
              <a:gd name="connsiteY3" fmla="*/ 6869113 h 6869113"/>
              <a:gd name="connsiteX4" fmla="*/ 0 w 7049592"/>
              <a:gd name="connsiteY4" fmla="*/ 6869113 h 6869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9592" h="6869113">
                <a:moveTo>
                  <a:pt x="0" y="0"/>
                </a:moveTo>
                <a:lnTo>
                  <a:pt x="7049592" y="0"/>
                </a:lnTo>
                <a:lnTo>
                  <a:pt x="6961918" y="304793"/>
                </a:lnTo>
                <a:lnTo>
                  <a:pt x="4716550" y="6869113"/>
                </a:lnTo>
                <a:lnTo>
                  <a:pt x="0" y="686911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a:lvl1pPr>
          </a:lstStyle>
          <a:p>
            <a:pPr marL="228600" lvl="0" indent="-228600" algn="ctr"/>
            <a:r>
              <a:rPr lang="nl-NL"/>
              <a:t>Click icon to insert an image</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6979454" y="1458410"/>
            <a:ext cx="4862858" cy="2152893"/>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grpSp>
        <p:nvGrpSpPr>
          <p:cNvPr id="22" name="Group 21">
            <a:extLst>
              <a:ext uri="{FF2B5EF4-FFF2-40B4-BE49-F238E27FC236}">
                <a16:creationId xmlns:a16="http://schemas.microsoft.com/office/drawing/2014/main" id="{7FEC5561-0D1D-48CD-9857-C6F2175A0034}"/>
              </a:ext>
            </a:extLst>
          </p:cNvPr>
          <p:cNvGrpSpPr/>
          <p:nvPr userDrawn="1"/>
        </p:nvGrpSpPr>
        <p:grpSpPr>
          <a:xfrm>
            <a:off x="10422255" y="6286500"/>
            <a:ext cx="693334" cy="249834"/>
            <a:chOff x="3078163" y="2341563"/>
            <a:chExt cx="6035676" cy="2174875"/>
          </a:xfrm>
        </p:grpSpPr>
        <p:sp>
          <p:nvSpPr>
            <p:cNvPr id="23" name="Freeform 5">
              <a:extLst>
                <a:ext uri="{FF2B5EF4-FFF2-40B4-BE49-F238E27FC236}">
                  <a16:creationId xmlns:a16="http://schemas.microsoft.com/office/drawing/2014/main" id="{2CF1C0AB-2340-43C1-BA25-042D1257445A}"/>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4" name="Freeform 6">
              <a:extLst>
                <a:ext uri="{FF2B5EF4-FFF2-40B4-BE49-F238E27FC236}">
                  <a16:creationId xmlns:a16="http://schemas.microsoft.com/office/drawing/2014/main" id="{BF98D281-DE49-4E93-B406-2BD8838AE412}"/>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5" name="Freeform 7">
              <a:extLst>
                <a:ext uri="{FF2B5EF4-FFF2-40B4-BE49-F238E27FC236}">
                  <a16:creationId xmlns:a16="http://schemas.microsoft.com/office/drawing/2014/main" id="{96BF50F2-0F4D-4E09-91A9-7168DF2C52CA}"/>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6" name="Freeform 8">
              <a:extLst>
                <a:ext uri="{FF2B5EF4-FFF2-40B4-BE49-F238E27FC236}">
                  <a16:creationId xmlns:a16="http://schemas.microsoft.com/office/drawing/2014/main" id="{D73F4D8E-E8EB-44B1-9D1B-50EB8D93F694}"/>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7" name="Freeform 9">
              <a:extLst>
                <a:ext uri="{FF2B5EF4-FFF2-40B4-BE49-F238E27FC236}">
                  <a16:creationId xmlns:a16="http://schemas.microsoft.com/office/drawing/2014/main" id="{2997CEF5-AF3F-4824-B002-420B2ABD90D3}"/>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8" name="Freeform 10">
              <a:extLst>
                <a:ext uri="{FF2B5EF4-FFF2-40B4-BE49-F238E27FC236}">
                  <a16:creationId xmlns:a16="http://schemas.microsoft.com/office/drawing/2014/main" id="{7D747C3B-8656-4D8A-B48E-243D5FF3D422}"/>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9" name="Freeform 11">
              <a:extLst>
                <a:ext uri="{FF2B5EF4-FFF2-40B4-BE49-F238E27FC236}">
                  <a16:creationId xmlns:a16="http://schemas.microsoft.com/office/drawing/2014/main" id="{DF60A912-7DDF-4D79-85CA-DF822EEA9961}"/>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
        <p:nvSpPr>
          <p:cNvPr id="14" name="Rechthoek 13">
            <a:extLst>
              <a:ext uri="{FF2B5EF4-FFF2-40B4-BE49-F238E27FC236}">
                <a16:creationId xmlns:a16="http://schemas.microsoft.com/office/drawing/2014/main" id="{C5203CEB-4AE2-470B-9D88-1FC55D2A891A}"/>
              </a:ext>
            </a:extLst>
          </p:cNvPr>
          <p:cNvSpPr/>
          <p:nvPr userDrawn="1"/>
        </p:nvSpPr>
        <p:spPr>
          <a:xfrm>
            <a:off x="11330202" y="6259335"/>
            <a:ext cx="861798" cy="276999"/>
          </a:xfrm>
          <a:prstGeom prst="rect">
            <a:avLst/>
          </a:prstGeom>
        </p:spPr>
        <p:txBody>
          <a:bodyPr wrap="squar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a:solidFill>
                <a:schemeClr val="bg1"/>
              </a:solidFill>
              <a:cs typeface="Arial" pitchFamily="34" charset="0"/>
            </a:endParaRPr>
          </a:p>
        </p:txBody>
      </p:sp>
      <p:sp>
        <p:nvSpPr>
          <p:cNvPr id="17" name="Rectangle 3">
            <a:extLst>
              <a:ext uri="{FF2B5EF4-FFF2-40B4-BE49-F238E27FC236}">
                <a16:creationId xmlns:a16="http://schemas.microsoft.com/office/drawing/2014/main" id="{5EA75EB1-61A0-4441-894D-6C34DF8EEFE1}"/>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350834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ullets + image">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64DBFC7E-333F-4BC0-97AA-1D3ED89F7F20}"/>
              </a:ext>
            </a:extLst>
          </p:cNvPr>
          <p:cNvSpPr>
            <a:spLocks noGrp="1"/>
          </p:cNvSpPr>
          <p:nvPr>
            <p:ph type="pic" sz="quarter" idx="12" hasCustomPrompt="1"/>
          </p:nvPr>
        </p:nvSpPr>
        <p:spPr>
          <a:xfrm>
            <a:off x="6114448" y="-21971"/>
            <a:ext cx="6087079" cy="6885758"/>
          </a:xfrm>
          <a:custGeom>
            <a:avLst/>
            <a:gdLst>
              <a:gd name="connsiteX0" fmla="*/ 2353342 w 6087079"/>
              <a:gd name="connsiteY0" fmla="*/ 0 h 6885758"/>
              <a:gd name="connsiteX1" fmla="*/ 6077554 w 6087079"/>
              <a:gd name="connsiteY1" fmla="*/ 10395 h 6885758"/>
              <a:gd name="connsiteX2" fmla="*/ 6087079 w 6087079"/>
              <a:gd name="connsiteY2" fmla="*/ 4007761 h 6885758"/>
              <a:gd name="connsiteX3" fmla="*/ 5101422 w 6087079"/>
              <a:gd name="connsiteY3" fmla="*/ 6885758 h 6885758"/>
              <a:gd name="connsiteX4" fmla="*/ 0 w 6087079"/>
              <a:gd name="connsiteY4" fmla="*/ 6879986 h 688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7079" h="6885758">
                <a:moveTo>
                  <a:pt x="2353342" y="0"/>
                </a:moveTo>
                <a:lnTo>
                  <a:pt x="6077554" y="10395"/>
                </a:lnTo>
                <a:lnTo>
                  <a:pt x="6087079" y="4007761"/>
                </a:lnTo>
                <a:lnTo>
                  <a:pt x="5101422" y="6885758"/>
                </a:lnTo>
                <a:lnTo>
                  <a:pt x="0" y="6879986"/>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a:lvl1pPr>
          </a:lstStyle>
          <a:p>
            <a:pPr marL="228600" lvl="0" indent="-228600" algn="ctr"/>
            <a:r>
              <a:rPr lang="nl-NL"/>
              <a:t>Click icon to insert an image</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7143071"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5511603"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6955681"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6735762"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206378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7502678"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pic>
        <p:nvPicPr>
          <p:cNvPr id="8" name="Picture 7" descr="Android.png">
            <a:extLst>
              <a:ext uri="{FF2B5EF4-FFF2-40B4-BE49-F238E27FC236}">
                <a16:creationId xmlns:a16="http://schemas.microsoft.com/office/drawing/2014/main" id="{697FABA5-4118-4203-BA93-DBCD7FC450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5" name="Picture Placeholder 4">
            <a:extLst>
              <a:ext uri="{FF2B5EF4-FFF2-40B4-BE49-F238E27FC236}">
                <a16:creationId xmlns:a16="http://schemas.microsoft.com/office/drawing/2014/main" id="{10B00AF0-3BFA-4AC7-AB36-69D01C90D683}"/>
              </a:ext>
            </a:extLst>
          </p:cNvPr>
          <p:cNvSpPr>
            <a:spLocks noGrp="1"/>
          </p:cNvSpPr>
          <p:nvPr>
            <p:ph type="pic" sz="quarter" idx="14" hasCustomPrompt="1"/>
          </p:nvPr>
        </p:nvSpPr>
        <p:spPr>
          <a:xfrm>
            <a:off x="8747760" y="2174240"/>
            <a:ext cx="1955800" cy="3281679"/>
          </a:xfrm>
          <a:prstGeom prst="rect">
            <a:avLst/>
          </a:prstGeom>
          <a:pattFill prst="dkUpDiag">
            <a:fgClr>
              <a:schemeClr val="bg1">
                <a:lumMod val="75000"/>
              </a:schemeClr>
            </a:fgClr>
            <a:bgClr>
              <a:schemeClr val="bg1">
                <a:lumMod val="95000"/>
              </a:schemeClr>
            </a:bgClr>
          </a:pattFill>
        </p:spPr>
        <p:txBody>
          <a:bodyPr tIns="180000"/>
          <a:lstStyle>
            <a:lvl1pPr>
              <a:defRPr lang="nl-NL" sz="1600"/>
            </a:lvl1pPr>
          </a:lstStyle>
          <a:p>
            <a:pPr marL="0" lvl="0" indent="0" algn="ctr">
              <a:buNone/>
            </a:pPr>
            <a:r>
              <a:rPr lang="nl-NL"/>
              <a:t>Click icon to insert an image</a:t>
            </a:r>
          </a:p>
        </p:txBody>
      </p:sp>
    </p:spTree>
    <p:extLst>
      <p:ext uri="{BB962C8B-B14F-4D97-AF65-F5344CB8AC3E}">
        <p14:creationId xmlns:p14="http://schemas.microsoft.com/office/powerpoint/2010/main" val="2208239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frame full">
    <p:spTree>
      <p:nvGrpSpPr>
        <p:cNvPr id="1" name=""/>
        <p:cNvGrpSpPr/>
        <p:nvPr/>
      </p:nvGrpSpPr>
      <p:grpSpPr>
        <a:xfrm>
          <a:off x="0" y="0"/>
          <a:ext cx="0" cy="0"/>
          <a:chOff x="0" y="0"/>
          <a:chExt cx="0" cy="0"/>
        </a:xfrm>
      </p:grpSpPr>
      <p:sp>
        <p:nvSpPr>
          <p:cNvPr id="18" name="Rectangle 3">
            <a:extLst>
              <a:ext uri="{FF2B5EF4-FFF2-40B4-BE49-F238E27FC236}">
                <a16:creationId xmlns:a16="http://schemas.microsoft.com/office/drawing/2014/main" id="{BA86B133-8EA2-4BCA-9047-7964C012F2D3}"/>
              </a:ext>
            </a:extLst>
          </p:cNvPr>
          <p:cNvSpPr/>
          <p:nvPr userDrawn="1"/>
        </p:nvSpPr>
        <p:spPr>
          <a:xfrm rot="10800000">
            <a:off x="-12760" y="-11579"/>
            <a:ext cx="2293503" cy="6880685"/>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grpSp>
        <p:nvGrpSpPr>
          <p:cNvPr id="46" name="Group 45">
            <a:extLst>
              <a:ext uri="{FF2B5EF4-FFF2-40B4-BE49-F238E27FC236}">
                <a16:creationId xmlns:a16="http://schemas.microsoft.com/office/drawing/2014/main" id="{D52F4F2B-D6E4-49FD-A49C-C066BB1C819A}"/>
              </a:ext>
            </a:extLst>
          </p:cNvPr>
          <p:cNvGrpSpPr/>
          <p:nvPr userDrawn="1"/>
        </p:nvGrpSpPr>
        <p:grpSpPr>
          <a:xfrm>
            <a:off x="375971" y="509430"/>
            <a:ext cx="1269708" cy="457523"/>
            <a:chOff x="3078163" y="2341563"/>
            <a:chExt cx="6035676" cy="2174875"/>
          </a:xfrm>
        </p:grpSpPr>
        <p:sp>
          <p:nvSpPr>
            <p:cNvPr id="47" name="Freeform 5">
              <a:extLst>
                <a:ext uri="{FF2B5EF4-FFF2-40B4-BE49-F238E27FC236}">
                  <a16:creationId xmlns:a16="http://schemas.microsoft.com/office/drawing/2014/main" id="{CC873411-21FD-495E-B469-63EE401DFB8D}"/>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8" name="Freeform 6">
              <a:extLst>
                <a:ext uri="{FF2B5EF4-FFF2-40B4-BE49-F238E27FC236}">
                  <a16:creationId xmlns:a16="http://schemas.microsoft.com/office/drawing/2014/main" id="{C37F28F2-3A6B-4A2D-BB07-336F952F95BC}"/>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9" name="Freeform 7">
              <a:extLst>
                <a:ext uri="{FF2B5EF4-FFF2-40B4-BE49-F238E27FC236}">
                  <a16:creationId xmlns:a16="http://schemas.microsoft.com/office/drawing/2014/main" id="{F6C91EE9-45B1-4CA7-B9FF-2B382E9BA059}"/>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0" name="Freeform 8">
              <a:extLst>
                <a:ext uri="{FF2B5EF4-FFF2-40B4-BE49-F238E27FC236}">
                  <a16:creationId xmlns:a16="http://schemas.microsoft.com/office/drawing/2014/main" id="{8FB6BFED-CA50-4767-90E7-F7F31F6E872C}"/>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1" name="Freeform 9">
              <a:extLst>
                <a:ext uri="{FF2B5EF4-FFF2-40B4-BE49-F238E27FC236}">
                  <a16:creationId xmlns:a16="http://schemas.microsoft.com/office/drawing/2014/main" id="{1CCB9127-4DB0-4E41-9BAE-0917376F7AA8}"/>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2" name="Freeform 10">
              <a:extLst>
                <a:ext uri="{FF2B5EF4-FFF2-40B4-BE49-F238E27FC236}">
                  <a16:creationId xmlns:a16="http://schemas.microsoft.com/office/drawing/2014/main" id="{54C9E3C8-5976-4789-B0A2-88D59AF83147}"/>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3" name="Freeform 11">
              <a:extLst>
                <a:ext uri="{FF2B5EF4-FFF2-40B4-BE49-F238E27FC236}">
                  <a16:creationId xmlns:a16="http://schemas.microsoft.com/office/drawing/2014/main" id="{D20CC8FB-6D1D-428F-A33D-C001800D262E}"/>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
        <p:nvSpPr>
          <p:cNvPr id="15" name="Tijdelijke aanduiding voor afbeelding 14">
            <a:extLst>
              <a:ext uri="{FF2B5EF4-FFF2-40B4-BE49-F238E27FC236}">
                <a16:creationId xmlns:a16="http://schemas.microsoft.com/office/drawing/2014/main" id="{B0BA5DFF-164C-4F33-9EF5-BBA2D30D6CB1}"/>
              </a:ext>
            </a:extLst>
          </p:cNvPr>
          <p:cNvSpPr>
            <a:spLocks noGrp="1"/>
          </p:cNvSpPr>
          <p:nvPr>
            <p:ph type="pic" sz="quarter" idx="12" hasCustomPrompt="1"/>
          </p:nvPr>
        </p:nvSpPr>
        <p:spPr>
          <a:xfrm>
            <a:off x="-9525" y="-11574"/>
            <a:ext cx="12201525" cy="6880686"/>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1525" h="6880686">
                <a:moveTo>
                  <a:pt x="2318085" y="0"/>
                </a:moveTo>
                <a:lnTo>
                  <a:pt x="12201525" y="463"/>
                </a:lnTo>
                <a:cubicBezTo>
                  <a:pt x="12200620" y="625408"/>
                  <a:pt x="12199714" y="1250354"/>
                  <a:pt x="12198810" y="1875299"/>
                </a:cubicBezTo>
                <a:lnTo>
                  <a:pt x="12201525" y="1875299"/>
                </a:lnTo>
                <a:lnTo>
                  <a:pt x="12201525" y="6344112"/>
                </a:lnTo>
                <a:lnTo>
                  <a:pt x="12199508" y="6344112"/>
                </a:lnTo>
                <a:cubicBezTo>
                  <a:pt x="12200181" y="6522970"/>
                  <a:pt x="12200852" y="6701828"/>
                  <a:pt x="12201525" y="6880686"/>
                </a:cubicBezTo>
                <a:lnTo>
                  <a:pt x="0" y="6880686"/>
                </a:lnTo>
                <a:lnTo>
                  <a:pt x="11673" y="6841306"/>
                </a:lnTo>
                <a:lnTo>
                  <a:pt x="1308276" y="2995309"/>
                </a:lnTo>
                <a:lnTo>
                  <a:pt x="1457809" y="2580257"/>
                </a:lnTo>
                <a:cubicBezTo>
                  <a:pt x="1662353" y="2006866"/>
                  <a:pt x="1860795" y="1433476"/>
                  <a:pt x="2040932" y="860085"/>
                </a:cubicBezTo>
                <a:lnTo>
                  <a:pt x="2134197" y="54545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Font typeface="Arial" panose="020B0604020202020204" pitchFamily="34" charset="0"/>
              <a:buNone/>
              <a:defRPr lang="nl-NL" sz="1599" dirty="0"/>
            </a:lvl1pPr>
          </a:lstStyle>
          <a:p>
            <a:pPr marL="228486" lvl="0" indent="-228486" algn="ctr"/>
            <a:r>
              <a:rPr lang="nl-NL" noProof="0"/>
              <a:t>Klik op pictogram om een afbeelding in te voegen
</a:t>
            </a:r>
            <a:endParaRPr lang="en-US" noProof="0"/>
          </a:p>
        </p:txBody>
      </p:sp>
    </p:spTree>
    <p:extLst>
      <p:ext uri="{BB962C8B-B14F-4D97-AF65-F5344CB8AC3E}">
        <p14:creationId xmlns:p14="http://schemas.microsoft.com/office/powerpoint/2010/main" val="2303766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2">
          <p15:clr>
            <a:srgbClr val="FBAE40"/>
          </p15:clr>
        </p15:guide>
        <p15:guide id="4" orient="horz" pos="4065">
          <p15:clr>
            <a:srgbClr val="FBAE40"/>
          </p15:clr>
        </p15:guide>
        <p15:guide id="5" pos="4404">
          <p15:clr>
            <a:srgbClr val="FBAE40"/>
          </p15:clr>
        </p15:guide>
        <p15:guide id="6" pos="1232">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9" name="Picture 27" descr="ipad.png">
            <a:extLst>
              <a:ext uri="{FF2B5EF4-FFF2-40B4-BE49-F238E27FC236}">
                <a16:creationId xmlns:a16="http://schemas.microsoft.com/office/drawing/2014/main" id="{40E220D6-FD15-44C4-AA9B-F78ACC70C4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12880" y="2087067"/>
            <a:ext cx="4915097" cy="3567164"/>
          </a:xfrm>
          <a:prstGeom prst="rect">
            <a:avLst/>
          </a:prstGeom>
        </p:spPr>
      </p:pic>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5399682"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5" name="Picture Placeholder 4">
            <a:extLst>
              <a:ext uri="{FF2B5EF4-FFF2-40B4-BE49-F238E27FC236}">
                <a16:creationId xmlns:a16="http://schemas.microsoft.com/office/drawing/2014/main" id="{10B00AF0-3BFA-4AC7-AB36-69D01C90D683}"/>
              </a:ext>
            </a:extLst>
          </p:cNvPr>
          <p:cNvSpPr>
            <a:spLocks noGrp="1"/>
          </p:cNvSpPr>
          <p:nvPr>
            <p:ph type="pic" sz="quarter" idx="14" hasCustomPrompt="1"/>
          </p:nvPr>
        </p:nvSpPr>
        <p:spPr>
          <a:xfrm>
            <a:off x="6633210" y="2286000"/>
            <a:ext cx="4069080" cy="3093719"/>
          </a:xfrm>
          <a:prstGeom prst="rect">
            <a:avLst/>
          </a:prstGeom>
          <a:pattFill prst="dkUpDiag">
            <a:fgClr>
              <a:schemeClr val="bg1">
                <a:lumMod val="75000"/>
              </a:schemeClr>
            </a:fgClr>
            <a:bgClr>
              <a:schemeClr val="bg1">
                <a:lumMod val="95000"/>
              </a:schemeClr>
            </a:bgClr>
          </a:pattFill>
        </p:spPr>
        <p:txBody>
          <a:bodyPr tIns="180000"/>
          <a:lstStyle>
            <a:lvl1pPr>
              <a:defRPr lang="nl-NL" sz="1600"/>
            </a:lvl1pPr>
          </a:lstStyle>
          <a:p>
            <a:pPr marL="0" lvl="0" indent="0" algn="ctr">
              <a:buNone/>
            </a:pPr>
            <a:r>
              <a:rPr lang="nl-NL"/>
              <a:t>Click icon to insert an image</a:t>
            </a:r>
          </a:p>
        </p:txBody>
      </p:sp>
    </p:spTree>
    <p:extLst>
      <p:ext uri="{BB962C8B-B14F-4D97-AF65-F5344CB8AC3E}">
        <p14:creationId xmlns:p14="http://schemas.microsoft.com/office/powerpoint/2010/main" val="2240890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Laptop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3277318" y="1898249"/>
            <a:ext cx="5718742" cy="3755982"/>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9" name="Picture Placeholder 8">
            <a:extLst>
              <a:ext uri="{FF2B5EF4-FFF2-40B4-BE49-F238E27FC236}">
                <a16:creationId xmlns:a16="http://schemas.microsoft.com/office/drawing/2014/main" id="{F8E80370-8790-4863-AB9C-02FC64D074B3}"/>
              </a:ext>
            </a:extLst>
          </p:cNvPr>
          <p:cNvSpPr>
            <a:spLocks noGrp="1"/>
          </p:cNvSpPr>
          <p:nvPr>
            <p:ph type="pic" sz="quarter" idx="12" hasCustomPrompt="1"/>
          </p:nvPr>
        </p:nvSpPr>
        <p:spPr>
          <a:xfrm>
            <a:off x="4017963" y="2287588"/>
            <a:ext cx="4191000" cy="2595562"/>
          </a:xfrm>
          <a:prstGeom prst="rect">
            <a:avLst/>
          </a:prstGeom>
          <a:pattFill prst="dkUpDiag">
            <a:fgClr>
              <a:schemeClr val="bg1">
                <a:lumMod val="75000"/>
              </a:schemeClr>
            </a:fgClr>
            <a:bgClr>
              <a:schemeClr val="bg1">
                <a:lumMod val="95000"/>
              </a:schemeClr>
            </a:bgClr>
          </a:pattFill>
        </p:spPr>
        <p:txBody>
          <a:bodyPr tIns="180000"/>
          <a:lstStyle>
            <a:lvl1pPr marL="0" indent="0" algn="ctr">
              <a:buNone/>
              <a:defRPr sz="1600"/>
            </a:lvl1pPr>
          </a:lstStyle>
          <a:p>
            <a:r>
              <a:rPr lang="nl-NL"/>
              <a:t>Click icon to insert an image</a:t>
            </a:r>
          </a:p>
        </p:txBody>
      </p:sp>
    </p:spTree>
    <p:extLst>
      <p:ext uri="{BB962C8B-B14F-4D97-AF65-F5344CB8AC3E}">
        <p14:creationId xmlns:p14="http://schemas.microsoft.com/office/powerpoint/2010/main" val="323448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Laptop vide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3277318" y="1898249"/>
            <a:ext cx="5718742" cy="3755982"/>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0" name="Media Placeholder 9">
            <a:extLst>
              <a:ext uri="{FF2B5EF4-FFF2-40B4-BE49-F238E27FC236}">
                <a16:creationId xmlns:a16="http://schemas.microsoft.com/office/drawing/2014/main" id="{A6C3A0F0-27BB-4883-B60B-CFCD69CCC8D5}"/>
              </a:ext>
            </a:extLst>
          </p:cNvPr>
          <p:cNvSpPr>
            <a:spLocks noGrp="1"/>
          </p:cNvSpPr>
          <p:nvPr>
            <p:ph type="media" sz="quarter" idx="12" hasCustomPrompt="1"/>
          </p:nvPr>
        </p:nvSpPr>
        <p:spPr>
          <a:xfrm>
            <a:off x="4017963" y="2287588"/>
            <a:ext cx="4191000" cy="2595562"/>
          </a:xfrm>
          <a:prstGeom prst="rect">
            <a:avLst/>
          </a:prstGeom>
          <a:pattFill prst="dkUpDiag">
            <a:fgClr>
              <a:schemeClr val="bg1">
                <a:lumMod val="75000"/>
              </a:schemeClr>
            </a:fgClr>
            <a:bgClr>
              <a:schemeClr val="bg1">
                <a:lumMod val="95000"/>
              </a:schemeClr>
            </a:bgClr>
          </a:pattFill>
        </p:spPr>
        <p:txBody>
          <a:bodyPr tIns="18000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t>Click icon to </a:t>
            </a:r>
            <a:r>
              <a:rPr lang="nl-NL" err="1"/>
              <a:t>insert</a:t>
            </a:r>
            <a:r>
              <a:rPr lang="nl-NL"/>
              <a:t> media</a:t>
            </a:r>
          </a:p>
        </p:txBody>
      </p:sp>
    </p:spTree>
    <p:extLst>
      <p:ext uri="{BB962C8B-B14F-4D97-AF65-F5344CB8AC3E}">
        <p14:creationId xmlns:p14="http://schemas.microsoft.com/office/powerpoint/2010/main" val="3645720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Laptop XL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2174335" y="1452622"/>
            <a:ext cx="7843329" cy="5151378"/>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9" name="Picture Placeholder 8">
            <a:extLst>
              <a:ext uri="{FF2B5EF4-FFF2-40B4-BE49-F238E27FC236}">
                <a16:creationId xmlns:a16="http://schemas.microsoft.com/office/drawing/2014/main" id="{F8E80370-8790-4863-AB9C-02FC64D074B3}"/>
              </a:ext>
            </a:extLst>
          </p:cNvPr>
          <p:cNvSpPr>
            <a:spLocks noGrp="1"/>
          </p:cNvSpPr>
          <p:nvPr>
            <p:ph type="pic" sz="quarter" idx="12" hasCustomPrompt="1"/>
          </p:nvPr>
        </p:nvSpPr>
        <p:spPr>
          <a:xfrm>
            <a:off x="3184586" y="1986646"/>
            <a:ext cx="5751070" cy="3569202"/>
          </a:xfrm>
          <a:prstGeom prst="rect">
            <a:avLst/>
          </a:prstGeom>
          <a:pattFill prst="dkUpDiag">
            <a:fgClr>
              <a:schemeClr val="bg1">
                <a:lumMod val="75000"/>
              </a:schemeClr>
            </a:fgClr>
            <a:bgClr>
              <a:schemeClr val="bg1">
                <a:lumMod val="95000"/>
              </a:schemeClr>
            </a:bgClr>
          </a:pattFill>
        </p:spPr>
        <p:txBody>
          <a:bodyPr tIns="180000"/>
          <a:lstStyle>
            <a:lvl1pPr marL="0" indent="0" algn="ctr">
              <a:buNone/>
              <a:defRPr sz="1600"/>
            </a:lvl1pPr>
          </a:lstStyle>
          <a:p>
            <a:r>
              <a:rPr lang="nl-NL"/>
              <a:t>Click icon to insert an image</a:t>
            </a:r>
          </a:p>
        </p:txBody>
      </p:sp>
    </p:spTree>
    <p:extLst>
      <p:ext uri="{BB962C8B-B14F-4D97-AF65-F5344CB8AC3E}">
        <p14:creationId xmlns:p14="http://schemas.microsoft.com/office/powerpoint/2010/main" val="136037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aptop XL vide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2174335" y="1452622"/>
            <a:ext cx="7843329" cy="5151378"/>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0" name="Media Placeholder 9">
            <a:extLst>
              <a:ext uri="{FF2B5EF4-FFF2-40B4-BE49-F238E27FC236}">
                <a16:creationId xmlns:a16="http://schemas.microsoft.com/office/drawing/2014/main" id="{19DB4B01-EB8D-4060-A3E9-7E3E8B6AFED0}"/>
              </a:ext>
            </a:extLst>
          </p:cNvPr>
          <p:cNvSpPr>
            <a:spLocks noGrp="1"/>
          </p:cNvSpPr>
          <p:nvPr>
            <p:ph type="media" sz="quarter" idx="12" hasCustomPrompt="1"/>
          </p:nvPr>
        </p:nvSpPr>
        <p:spPr>
          <a:xfrm>
            <a:off x="3189288" y="1987550"/>
            <a:ext cx="5749925" cy="3559175"/>
          </a:xfrm>
          <a:prstGeom prst="rect">
            <a:avLst/>
          </a:prstGeom>
          <a:pattFill prst="dkUpDiag">
            <a:fgClr>
              <a:schemeClr val="bg1">
                <a:lumMod val="75000"/>
              </a:schemeClr>
            </a:fgClr>
            <a:bgClr>
              <a:schemeClr val="bg1">
                <a:lumMod val="95000"/>
              </a:schemeClr>
            </a:bgClr>
          </a:pattFill>
        </p:spPr>
        <p:txBody>
          <a:bodyPr tIns="18000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t>Click icon to </a:t>
            </a:r>
            <a:r>
              <a:rPr lang="nl-NL" err="1"/>
              <a:t>insert</a:t>
            </a:r>
            <a:r>
              <a:rPr lang="nl-NL"/>
              <a:t> media</a:t>
            </a:r>
          </a:p>
        </p:txBody>
      </p:sp>
    </p:spTree>
    <p:extLst>
      <p:ext uri="{BB962C8B-B14F-4D97-AF65-F5344CB8AC3E}">
        <p14:creationId xmlns:p14="http://schemas.microsoft.com/office/powerpoint/2010/main" val="56951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Photo frame full">
    <p:spTree>
      <p:nvGrpSpPr>
        <p:cNvPr id="1" name=""/>
        <p:cNvGrpSpPr/>
        <p:nvPr/>
      </p:nvGrpSpPr>
      <p:grpSpPr>
        <a:xfrm>
          <a:off x="0" y="0"/>
          <a:ext cx="0" cy="0"/>
          <a:chOff x="0" y="0"/>
          <a:chExt cx="0" cy="0"/>
        </a:xfrm>
      </p:grpSpPr>
      <p:sp>
        <p:nvSpPr>
          <p:cNvPr id="18" name="Rectangle 3">
            <a:extLst>
              <a:ext uri="{FF2B5EF4-FFF2-40B4-BE49-F238E27FC236}">
                <a16:creationId xmlns:a16="http://schemas.microsoft.com/office/drawing/2014/main" id="{BA86B133-8EA2-4BCA-9047-7964C012F2D3}"/>
              </a:ext>
            </a:extLst>
          </p:cNvPr>
          <p:cNvSpPr/>
          <p:nvPr userDrawn="1"/>
        </p:nvSpPr>
        <p:spPr>
          <a:xfrm rot="10800000">
            <a:off x="-12761" y="-11579"/>
            <a:ext cx="2293503" cy="6880685"/>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46" name="Group 45">
            <a:extLst>
              <a:ext uri="{FF2B5EF4-FFF2-40B4-BE49-F238E27FC236}">
                <a16:creationId xmlns:a16="http://schemas.microsoft.com/office/drawing/2014/main" id="{D52F4F2B-D6E4-49FD-A49C-C066BB1C819A}"/>
              </a:ext>
            </a:extLst>
          </p:cNvPr>
          <p:cNvGrpSpPr/>
          <p:nvPr userDrawn="1"/>
        </p:nvGrpSpPr>
        <p:grpSpPr>
          <a:xfrm>
            <a:off x="375970" y="509428"/>
            <a:ext cx="1269708" cy="457523"/>
            <a:chOff x="3078163" y="2341563"/>
            <a:chExt cx="6035676" cy="2174875"/>
          </a:xfrm>
        </p:grpSpPr>
        <p:sp>
          <p:nvSpPr>
            <p:cNvPr id="47" name="Freeform 5">
              <a:extLst>
                <a:ext uri="{FF2B5EF4-FFF2-40B4-BE49-F238E27FC236}">
                  <a16:creationId xmlns:a16="http://schemas.microsoft.com/office/drawing/2014/main" id="{CC873411-21FD-495E-B469-63EE401DFB8D}"/>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48" name="Freeform 6">
              <a:extLst>
                <a:ext uri="{FF2B5EF4-FFF2-40B4-BE49-F238E27FC236}">
                  <a16:creationId xmlns:a16="http://schemas.microsoft.com/office/drawing/2014/main" id="{C37F28F2-3A6B-4A2D-BB07-336F952F95BC}"/>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49" name="Freeform 7">
              <a:extLst>
                <a:ext uri="{FF2B5EF4-FFF2-40B4-BE49-F238E27FC236}">
                  <a16:creationId xmlns:a16="http://schemas.microsoft.com/office/drawing/2014/main" id="{F6C91EE9-45B1-4CA7-B9FF-2B382E9BA059}"/>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50" name="Freeform 8">
              <a:extLst>
                <a:ext uri="{FF2B5EF4-FFF2-40B4-BE49-F238E27FC236}">
                  <a16:creationId xmlns:a16="http://schemas.microsoft.com/office/drawing/2014/main" id="{8FB6BFED-CA50-4767-90E7-F7F31F6E872C}"/>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51" name="Freeform 9">
              <a:extLst>
                <a:ext uri="{FF2B5EF4-FFF2-40B4-BE49-F238E27FC236}">
                  <a16:creationId xmlns:a16="http://schemas.microsoft.com/office/drawing/2014/main" id="{1CCB9127-4DB0-4E41-9BAE-0917376F7AA8}"/>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52" name="Freeform 10">
              <a:extLst>
                <a:ext uri="{FF2B5EF4-FFF2-40B4-BE49-F238E27FC236}">
                  <a16:creationId xmlns:a16="http://schemas.microsoft.com/office/drawing/2014/main" id="{54C9E3C8-5976-4789-B0A2-88D59AF83147}"/>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53" name="Freeform 11">
              <a:extLst>
                <a:ext uri="{FF2B5EF4-FFF2-40B4-BE49-F238E27FC236}">
                  <a16:creationId xmlns:a16="http://schemas.microsoft.com/office/drawing/2014/main" id="{D20CC8FB-6D1D-428F-A33D-C001800D262E}"/>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
        <p:nvSpPr>
          <p:cNvPr id="15" name="Tijdelijke aanduiding voor afbeelding 14">
            <a:extLst>
              <a:ext uri="{FF2B5EF4-FFF2-40B4-BE49-F238E27FC236}">
                <a16:creationId xmlns:a16="http://schemas.microsoft.com/office/drawing/2014/main" id="{B0BA5DFF-164C-4F33-9EF5-BBA2D30D6CB1}"/>
              </a:ext>
            </a:extLst>
          </p:cNvPr>
          <p:cNvSpPr>
            <a:spLocks noGrp="1"/>
          </p:cNvSpPr>
          <p:nvPr>
            <p:ph type="pic" sz="quarter" idx="12" hasCustomPrompt="1"/>
          </p:nvPr>
        </p:nvSpPr>
        <p:spPr>
          <a:xfrm>
            <a:off x="-9526" y="-11574"/>
            <a:ext cx="12201525" cy="6880686"/>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1525" h="6880686">
                <a:moveTo>
                  <a:pt x="2318085" y="0"/>
                </a:moveTo>
                <a:lnTo>
                  <a:pt x="12201525" y="463"/>
                </a:lnTo>
                <a:cubicBezTo>
                  <a:pt x="12200620" y="625408"/>
                  <a:pt x="12199714" y="1250354"/>
                  <a:pt x="12198810" y="1875299"/>
                </a:cubicBezTo>
                <a:lnTo>
                  <a:pt x="12201525" y="1875299"/>
                </a:lnTo>
                <a:lnTo>
                  <a:pt x="12201525" y="6344112"/>
                </a:lnTo>
                <a:lnTo>
                  <a:pt x="12199508" y="6344112"/>
                </a:lnTo>
                <a:cubicBezTo>
                  <a:pt x="12200181" y="6522970"/>
                  <a:pt x="12200852" y="6701828"/>
                  <a:pt x="12201525" y="6880686"/>
                </a:cubicBezTo>
                <a:lnTo>
                  <a:pt x="0" y="6880686"/>
                </a:lnTo>
                <a:lnTo>
                  <a:pt x="11673" y="6841306"/>
                </a:lnTo>
                <a:lnTo>
                  <a:pt x="1308276" y="2995309"/>
                </a:lnTo>
                <a:lnTo>
                  <a:pt x="1457809" y="2580257"/>
                </a:lnTo>
                <a:cubicBezTo>
                  <a:pt x="1662353" y="2006866"/>
                  <a:pt x="1860795" y="1433476"/>
                  <a:pt x="2040932" y="860085"/>
                </a:cubicBezTo>
                <a:lnTo>
                  <a:pt x="2134197" y="54545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dirty="0"/>
            </a:lvl1pPr>
          </a:lstStyle>
          <a:p>
            <a:pPr marL="228600" lvl="0" indent="-228600" algn="ctr"/>
            <a:r>
              <a:rPr lang="en-US" noProof="0"/>
              <a:t>Click icon to insert an image</a:t>
            </a:r>
          </a:p>
        </p:txBody>
      </p:sp>
    </p:spTree>
    <p:extLst>
      <p:ext uri="{BB962C8B-B14F-4D97-AF65-F5344CB8AC3E}">
        <p14:creationId xmlns:p14="http://schemas.microsoft.com/office/powerpoint/2010/main" val="295176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2">
          <p15:clr>
            <a:srgbClr val="FBAE40"/>
          </p15:clr>
        </p15:guide>
        <p15:guide id="4" orient="horz" pos="4065">
          <p15:clr>
            <a:srgbClr val="FBAE40"/>
          </p15:clr>
        </p15:guide>
        <p15:guide id="5" pos="4404">
          <p15:clr>
            <a:srgbClr val="FBAE40"/>
          </p15:clr>
        </p15:guide>
        <p15:guide id="6" pos="123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sp>
        <p:nvSpPr>
          <p:cNvPr id="25" name="Vrije vorm: vorm 24">
            <a:extLst>
              <a:ext uri="{FF2B5EF4-FFF2-40B4-BE49-F238E27FC236}">
                <a16:creationId xmlns:a16="http://schemas.microsoft.com/office/drawing/2014/main" id="{3774BEBC-C794-4D39-9811-6F1CA9DF3061}"/>
              </a:ext>
            </a:extLst>
          </p:cNvPr>
          <p:cNvSpPr/>
          <p:nvPr userDrawn="1"/>
        </p:nvSpPr>
        <p:spPr>
          <a:xfrm>
            <a:off x="5873442" y="2546429"/>
            <a:ext cx="6318556" cy="3293654"/>
          </a:xfrm>
          <a:custGeom>
            <a:avLst/>
            <a:gdLst>
              <a:gd name="connsiteX0" fmla="*/ 1106090 w 6318556"/>
              <a:gd name="connsiteY0" fmla="*/ 0 h 3293654"/>
              <a:gd name="connsiteX1" fmla="*/ 1126600 w 6318556"/>
              <a:gd name="connsiteY1" fmla="*/ 46 h 3293654"/>
              <a:gd name="connsiteX2" fmla="*/ 1126615 w 6318556"/>
              <a:gd name="connsiteY2" fmla="*/ 0 h 3293654"/>
              <a:gd name="connsiteX3" fmla="*/ 1126615 w 6318556"/>
              <a:gd name="connsiteY3" fmla="*/ 46 h 3293654"/>
              <a:gd name="connsiteX4" fmla="*/ 6318556 w 6318556"/>
              <a:gd name="connsiteY4" fmla="*/ 11652 h 3293654"/>
              <a:gd name="connsiteX5" fmla="*/ 6318556 w 6318556"/>
              <a:gd name="connsiteY5" fmla="*/ 3293654 h 3293654"/>
              <a:gd name="connsiteX6" fmla="*/ 0 w 6318556"/>
              <a:gd name="connsiteY6" fmla="*/ 3293654 h 3293654"/>
              <a:gd name="connsiteX7" fmla="*/ 955335 w 6318556"/>
              <a:gd name="connsiteY7" fmla="*/ 500738 h 3293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8556" h="3293654">
                <a:moveTo>
                  <a:pt x="1106090" y="0"/>
                </a:moveTo>
                <a:lnTo>
                  <a:pt x="1126600" y="46"/>
                </a:lnTo>
                <a:lnTo>
                  <a:pt x="1126615" y="0"/>
                </a:lnTo>
                <a:lnTo>
                  <a:pt x="1126615" y="46"/>
                </a:lnTo>
                <a:lnTo>
                  <a:pt x="6318556" y="11652"/>
                </a:lnTo>
                <a:lnTo>
                  <a:pt x="6318556" y="3293654"/>
                </a:lnTo>
                <a:lnTo>
                  <a:pt x="0" y="3293654"/>
                </a:lnTo>
                <a:lnTo>
                  <a:pt x="955335" y="5007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 name="Rectangle 3">
            <a:extLst>
              <a:ext uri="{FF2B5EF4-FFF2-40B4-BE49-F238E27FC236}">
                <a16:creationId xmlns:a16="http://schemas.microsoft.com/office/drawing/2014/main" id="{BA86B133-8EA2-4BCA-9047-7964C012F2D3}"/>
              </a:ext>
            </a:extLst>
          </p:cNvPr>
          <p:cNvSpPr/>
          <p:nvPr userDrawn="1"/>
        </p:nvSpPr>
        <p:spPr>
          <a:xfrm rot="10800000">
            <a:off x="-9530" y="-11577"/>
            <a:ext cx="2311293" cy="6880686"/>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6979454" y="2995165"/>
            <a:ext cx="4862858" cy="2152893"/>
          </a:xfrm>
          <a:prstGeom prst="rect">
            <a:avLst/>
          </a:prstGeom>
        </p:spPr>
        <p:txBody>
          <a:bodyPr lIns="0" tIns="0" rIns="0" bIns="72000" anchor="b" anchorCtr="0"/>
          <a:lstStyle>
            <a:lvl1pPr>
              <a:defRPr sz="2800">
                <a:solidFill>
                  <a:schemeClr val="bg1"/>
                </a:solidFill>
              </a:defRPr>
            </a:lvl1pPr>
          </a:lstStyle>
          <a:p>
            <a:r>
              <a:rPr lang="en-US"/>
              <a:t>Click to edit </a:t>
            </a:r>
            <a:br>
              <a:rPr lang="en-US"/>
            </a:br>
            <a:r>
              <a:rPr lang="en-US"/>
              <a:t>Master title style</a:t>
            </a:r>
            <a:endParaRPr lang="nl-NL"/>
          </a:p>
        </p:txBody>
      </p:sp>
      <p:sp>
        <p:nvSpPr>
          <p:cNvPr id="14" name="TextBox 13">
            <a:extLst>
              <a:ext uri="{FF2B5EF4-FFF2-40B4-BE49-F238E27FC236}">
                <a16:creationId xmlns:a16="http://schemas.microsoft.com/office/drawing/2014/main" id="{6CAC65C5-D382-4D46-8330-6C7F60B3857A}"/>
              </a:ext>
            </a:extLst>
          </p:cNvPr>
          <p:cNvSpPr txBox="1"/>
          <p:nvPr userDrawn="1"/>
        </p:nvSpPr>
        <p:spPr>
          <a:xfrm>
            <a:off x="7001550" y="5340452"/>
            <a:ext cx="5181214" cy="364908"/>
          </a:xfrm>
          <a:prstGeom prst="rect">
            <a:avLst/>
          </a:prstGeom>
          <a:noFill/>
        </p:spPr>
        <p:txBody>
          <a:bodyPr wrap="square" lIns="0" rIns="0" rtlCol="0">
            <a:spAutoFit/>
          </a:bodyPr>
          <a:lstStyle/>
          <a:p>
            <a:pPr>
              <a:lnSpc>
                <a:spcPts val="2500"/>
              </a:lnSpc>
            </a:pPr>
            <a:r>
              <a:rPr lang="en-US" sz="1000" b="1" i="1">
                <a:solidFill>
                  <a:schemeClr val="bg1"/>
                </a:solidFill>
                <a:latin typeface="Arial" panose="020B0604020202020204" pitchFamily="34" charset="0"/>
                <a:cs typeface="Arial" panose="020B0604020202020204" pitchFamily="34" charset="0"/>
              </a:rPr>
              <a:t>Helping people achieve a lifetime of financial security</a:t>
            </a:r>
          </a:p>
        </p:txBody>
      </p:sp>
      <p:sp>
        <p:nvSpPr>
          <p:cNvPr id="26" name="Tijdelijke aanduiding voor afbeelding 25">
            <a:extLst>
              <a:ext uri="{FF2B5EF4-FFF2-40B4-BE49-F238E27FC236}">
                <a16:creationId xmlns:a16="http://schemas.microsoft.com/office/drawing/2014/main" id="{D2D835CF-AC8F-47B2-9687-324E766D8FE4}"/>
              </a:ext>
            </a:extLst>
          </p:cNvPr>
          <p:cNvSpPr>
            <a:spLocks noGrp="1"/>
          </p:cNvSpPr>
          <p:nvPr>
            <p:ph type="pic" sz="quarter" idx="12" hasCustomPrompt="1"/>
          </p:nvPr>
        </p:nvSpPr>
        <p:spPr>
          <a:xfrm>
            <a:off x="-9526" y="-11574"/>
            <a:ext cx="12201525" cy="6880686"/>
          </a:xfrm>
          <a:custGeom>
            <a:avLst/>
            <a:gdLst>
              <a:gd name="connsiteX0" fmla="*/ 6989058 w 12201525"/>
              <a:gd name="connsiteY0" fmla="*/ 2558003 h 6880686"/>
              <a:gd name="connsiteX1" fmla="*/ 6838303 w 12201525"/>
              <a:gd name="connsiteY1" fmla="*/ 3058741 h 6880686"/>
              <a:gd name="connsiteX2" fmla="*/ 5882968 w 12201525"/>
              <a:gd name="connsiteY2" fmla="*/ 5851657 h 6880686"/>
              <a:gd name="connsiteX3" fmla="*/ 12201524 w 12201525"/>
              <a:gd name="connsiteY3" fmla="*/ 5851657 h 6880686"/>
              <a:gd name="connsiteX4" fmla="*/ 12201524 w 12201525"/>
              <a:gd name="connsiteY4" fmla="*/ 2569655 h 6880686"/>
              <a:gd name="connsiteX5" fmla="*/ 7009583 w 12201525"/>
              <a:gd name="connsiteY5" fmla="*/ 2558049 h 6880686"/>
              <a:gd name="connsiteX6" fmla="*/ 7009583 w 12201525"/>
              <a:gd name="connsiteY6" fmla="*/ 2558003 h 6880686"/>
              <a:gd name="connsiteX7" fmla="*/ 7009568 w 12201525"/>
              <a:gd name="connsiteY7" fmla="*/ 2558049 h 6880686"/>
              <a:gd name="connsiteX8" fmla="*/ 2318085 w 12201525"/>
              <a:gd name="connsiteY8" fmla="*/ 0 h 6880686"/>
              <a:gd name="connsiteX9" fmla="*/ 12201525 w 12201525"/>
              <a:gd name="connsiteY9" fmla="*/ 463 h 6880686"/>
              <a:gd name="connsiteX10" fmla="*/ 12198810 w 12201525"/>
              <a:gd name="connsiteY10" fmla="*/ 1875299 h 6880686"/>
              <a:gd name="connsiteX11" fmla="*/ 12201525 w 12201525"/>
              <a:gd name="connsiteY11" fmla="*/ 1875299 h 6880686"/>
              <a:gd name="connsiteX12" fmla="*/ 12201525 w 12201525"/>
              <a:gd name="connsiteY12" fmla="*/ 6344112 h 6880686"/>
              <a:gd name="connsiteX13" fmla="*/ 12199508 w 12201525"/>
              <a:gd name="connsiteY13" fmla="*/ 6344112 h 6880686"/>
              <a:gd name="connsiteX14" fmla="*/ 12201525 w 12201525"/>
              <a:gd name="connsiteY14" fmla="*/ 6880686 h 6880686"/>
              <a:gd name="connsiteX15" fmla="*/ 0 w 12201525"/>
              <a:gd name="connsiteY15" fmla="*/ 6880686 h 6880686"/>
              <a:gd name="connsiteX16" fmla="*/ 11673 w 12201525"/>
              <a:gd name="connsiteY16" fmla="*/ 6841306 h 6880686"/>
              <a:gd name="connsiteX17" fmla="*/ 1308276 w 12201525"/>
              <a:gd name="connsiteY17" fmla="*/ 2995309 h 6880686"/>
              <a:gd name="connsiteX18" fmla="*/ 1457809 w 12201525"/>
              <a:gd name="connsiteY18" fmla="*/ 2580257 h 6880686"/>
              <a:gd name="connsiteX19" fmla="*/ 2040932 w 12201525"/>
              <a:gd name="connsiteY19" fmla="*/ 860085 h 6880686"/>
              <a:gd name="connsiteX20" fmla="*/ 2134197 w 12201525"/>
              <a:gd name="connsiteY20" fmla="*/ 545453 h 688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01525" h="6880686">
                <a:moveTo>
                  <a:pt x="6989058" y="2558003"/>
                </a:moveTo>
                <a:lnTo>
                  <a:pt x="6838303" y="3058741"/>
                </a:lnTo>
                <a:lnTo>
                  <a:pt x="5882968" y="5851657"/>
                </a:lnTo>
                <a:lnTo>
                  <a:pt x="12201524" y="5851657"/>
                </a:lnTo>
                <a:lnTo>
                  <a:pt x="12201524" y="2569655"/>
                </a:lnTo>
                <a:lnTo>
                  <a:pt x="7009583" y="2558049"/>
                </a:lnTo>
                <a:lnTo>
                  <a:pt x="7009583" y="2558003"/>
                </a:lnTo>
                <a:lnTo>
                  <a:pt x="7009568" y="2558049"/>
                </a:lnTo>
                <a:close/>
                <a:moveTo>
                  <a:pt x="2318085" y="0"/>
                </a:moveTo>
                <a:lnTo>
                  <a:pt x="12201525" y="463"/>
                </a:lnTo>
                <a:cubicBezTo>
                  <a:pt x="12200620" y="625408"/>
                  <a:pt x="12199714" y="1250354"/>
                  <a:pt x="12198810" y="1875299"/>
                </a:cubicBezTo>
                <a:lnTo>
                  <a:pt x="12201525" y="1875299"/>
                </a:lnTo>
                <a:lnTo>
                  <a:pt x="12201525" y="6344112"/>
                </a:lnTo>
                <a:lnTo>
                  <a:pt x="12199508" y="6344112"/>
                </a:lnTo>
                <a:cubicBezTo>
                  <a:pt x="12200181" y="6522970"/>
                  <a:pt x="12200852" y="6701828"/>
                  <a:pt x="12201525" y="6880686"/>
                </a:cubicBezTo>
                <a:lnTo>
                  <a:pt x="0" y="6880686"/>
                </a:lnTo>
                <a:lnTo>
                  <a:pt x="11673" y="6841306"/>
                </a:lnTo>
                <a:lnTo>
                  <a:pt x="1308276" y="2995309"/>
                </a:lnTo>
                <a:lnTo>
                  <a:pt x="1457809" y="2580257"/>
                </a:lnTo>
                <a:cubicBezTo>
                  <a:pt x="1662353" y="2006866"/>
                  <a:pt x="1860795" y="1433476"/>
                  <a:pt x="2040932" y="860085"/>
                </a:cubicBezTo>
                <a:lnTo>
                  <a:pt x="2134197" y="54545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dirty="0"/>
            </a:lvl1pPr>
          </a:lstStyle>
          <a:p>
            <a:pPr marL="228600" lvl="0" indent="-228600" algn="ctr"/>
            <a:r>
              <a:rPr lang="en-US" noProof="0"/>
              <a:t>Click icon to insert an image</a:t>
            </a:r>
          </a:p>
        </p:txBody>
      </p:sp>
      <p:grpSp>
        <p:nvGrpSpPr>
          <p:cNvPr id="15" name="Group 14">
            <a:extLst>
              <a:ext uri="{FF2B5EF4-FFF2-40B4-BE49-F238E27FC236}">
                <a16:creationId xmlns:a16="http://schemas.microsoft.com/office/drawing/2014/main" id="{C0FAACAD-4552-CD4D-BDF0-611AEAED22F5}"/>
              </a:ext>
            </a:extLst>
          </p:cNvPr>
          <p:cNvGrpSpPr/>
          <p:nvPr userDrawn="1"/>
        </p:nvGrpSpPr>
        <p:grpSpPr>
          <a:xfrm>
            <a:off x="375970" y="509428"/>
            <a:ext cx="1269708" cy="457523"/>
            <a:chOff x="3078163" y="2341563"/>
            <a:chExt cx="6035676" cy="2174875"/>
          </a:xfrm>
        </p:grpSpPr>
        <p:sp>
          <p:nvSpPr>
            <p:cNvPr id="16" name="Freeform 5">
              <a:extLst>
                <a:ext uri="{FF2B5EF4-FFF2-40B4-BE49-F238E27FC236}">
                  <a16:creationId xmlns:a16="http://schemas.microsoft.com/office/drawing/2014/main" id="{C83A5D12-FAF6-504C-B2FD-C6E83D549131}"/>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7" name="Freeform 6">
              <a:extLst>
                <a:ext uri="{FF2B5EF4-FFF2-40B4-BE49-F238E27FC236}">
                  <a16:creationId xmlns:a16="http://schemas.microsoft.com/office/drawing/2014/main" id="{6E8BC0E6-FFF7-964A-A8F8-259E13B42E78}"/>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9" name="Freeform 7">
              <a:extLst>
                <a:ext uri="{FF2B5EF4-FFF2-40B4-BE49-F238E27FC236}">
                  <a16:creationId xmlns:a16="http://schemas.microsoft.com/office/drawing/2014/main" id="{114F31EA-8D74-B946-A277-58356FD95CB4}"/>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0" name="Freeform 8">
              <a:extLst>
                <a:ext uri="{FF2B5EF4-FFF2-40B4-BE49-F238E27FC236}">
                  <a16:creationId xmlns:a16="http://schemas.microsoft.com/office/drawing/2014/main" id="{BE90E716-DDAC-D744-B755-8020656C05B4}"/>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1" name="Freeform 9">
              <a:extLst>
                <a:ext uri="{FF2B5EF4-FFF2-40B4-BE49-F238E27FC236}">
                  <a16:creationId xmlns:a16="http://schemas.microsoft.com/office/drawing/2014/main" id="{BBEDE278-6817-6642-9CED-73B9B0EF7C22}"/>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2" name="Freeform 10">
              <a:extLst>
                <a:ext uri="{FF2B5EF4-FFF2-40B4-BE49-F238E27FC236}">
                  <a16:creationId xmlns:a16="http://schemas.microsoft.com/office/drawing/2014/main" id="{334752CE-ADF5-5C4D-8231-CC00983FD69C}"/>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3" name="Freeform 11">
              <a:extLst>
                <a:ext uri="{FF2B5EF4-FFF2-40B4-BE49-F238E27FC236}">
                  <a16:creationId xmlns:a16="http://schemas.microsoft.com/office/drawing/2014/main" id="{F927F4F0-2CD3-A742-9CB0-20710EA6AA61}"/>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Tree>
    <p:extLst>
      <p:ext uri="{BB962C8B-B14F-4D97-AF65-F5344CB8AC3E}">
        <p14:creationId xmlns:p14="http://schemas.microsoft.com/office/powerpoint/2010/main" val="107173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4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Lst>
  </p:timing>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guide id="5" pos="4404">
          <p15:clr>
            <a:srgbClr val="FBAE40"/>
          </p15:clr>
        </p15:guide>
        <p15:guide id="6" pos="1232">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91015" y="1477881"/>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91015" y="18928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558081" y="1477881"/>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1291015" y="2868418"/>
            <a:ext cx="2759201" cy="37659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4" name="Tijdelijke aanduiding voor tekst 37"/>
          <p:cNvSpPr>
            <a:spLocks noGrp="1"/>
          </p:cNvSpPr>
          <p:nvPr>
            <p:ph type="body" sz="quarter" idx="39" hasCustomPrompt="1"/>
          </p:nvPr>
        </p:nvSpPr>
        <p:spPr>
          <a:xfrm>
            <a:off x="1291015" y="3255173"/>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5" name="Tijdelijke aanduiding voor tekst 71"/>
          <p:cNvSpPr>
            <a:spLocks noGrp="1"/>
          </p:cNvSpPr>
          <p:nvPr>
            <p:ph type="body" sz="quarter" idx="40" hasCustomPrompt="1"/>
          </p:nvPr>
        </p:nvSpPr>
        <p:spPr>
          <a:xfrm>
            <a:off x="558081" y="2868418"/>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1291015" y="4258955"/>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7" name="Tijdelijke aanduiding voor tekst 37"/>
          <p:cNvSpPr>
            <a:spLocks noGrp="1"/>
          </p:cNvSpPr>
          <p:nvPr>
            <p:ph type="body" sz="quarter" idx="42" hasCustomPrompt="1"/>
          </p:nvPr>
        </p:nvSpPr>
        <p:spPr>
          <a:xfrm>
            <a:off x="1291015" y="4646200"/>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8" name="Tijdelijke aanduiding voor tekst 71"/>
          <p:cNvSpPr>
            <a:spLocks noGrp="1"/>
          </p:cNvSpPr>
          <p:nvPr>
            <p:ph type="body" sz="quarter" idx="43" hasCustomPrompt="1"/>
          </p:nvPr>
        </p:nvSpPr>
        <p:spPr>
          <a:xfrm>
            <a:off x="558081" y="4258955"/>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9" name="Tijdelijke aanduiding voor tekst 35"/>
          <p:cNvSpPr>
            <a:spLocks noGrp="1"/>
          </p:cNvSpPr>
          <p:nvPr>
            <p:ph type="body" sz="quarter" idx="44" hasCustomPrompt="1"/>
          </p:nvPr>
        </p:nvSpPr>
        <p:spPr>
          <a:xfrm>
            <a:off x="5061465" y="1477881"/>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0" name="Tijdelijke aanduiding voor tekst 37"/>
          <p:cNvSpPr>
            <a:spLocks noGrp="1"/>
          </p:cNvSpPr>
          <p:nvPr>
            <p:ph type="body" sz="quarter" idx="45" hasCustomPrompt="1"/>
          </p:nvPr>
        </p:nvSpPr>
        <p:spPr>
          <a:xfrm>
            <a:off x="5061465" y="18928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1" name="Tijdelijke aanduiding voor tekst 71"/>
          <p:cNvSpPr>
            <a:spLocks noGrp="1"/>
          </p:cNvSpPr>
          <p:nvPr>
            <p:ph type="body" sz="quarter" idx="46" hasCustomPrompt="1"/>
          </p:nvPr>
        </p:nvSpPr>
        <p:spPr>
          <a:xfrm>
            <a:off x="4328531" y="1477881"/>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2" name="Tijdelijke aanduiding voor tekst 35"/>
          <p:cNvSpPr>
            <a:spLocks noGrp="1"/>
          </p:cNvSpPr>
          <p:nvPr>
            <p:ph type="body" sz="quarter" idx="47" hasCustomPrompt="1"/>
          </p:nvPr>
        </p:nvSpPr>
        <p:spPr>
          <a:xfrm>
            <a:off x="5061465" y="2868418"/>
            <a:ext cx="2759201" cy="37659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3" name="Tijdelijke aanduiding voor tekst 37"/>
          <p:cNvSpPr>
            <a:spLocks noGrp="1"/>
          </p:cNvSpPr>
          <p:nvPr>
            <p:ph type="body" sz="quarter" idx="48" hasCustomPrompt="1"/>
          </p:nvPr>
        </p:nvSpPr>
        <p:spPr>
          <a:xfrm>
            <a:off x="5061465" y="3255173"/>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4" name="Tijdelijke aanduiding voor tekst 71"/>
          <p:cNvSpPr>
            <a:spLocks noGrp="1"/>
          </p:cNvSpPr>
          <p:nvPr>
            <p:ph type="body" sz="quarter" idx="49" hasCustomPrompt="1"/>
          </p:nvPr>
        </p:nvSpPr>
        <p:spPr>
          <a:xfrm>
            <a:off x="4328531" y="2868418"/>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5" name="Tijdelijke aanduiding voor tekst 35"/>
          <p:cNvSpPr>
            <a:spLocks noGrp="1"/>
          </p:cNvSpPr>
          <p:nvPr>
            <p:ph type="body" sz="quarter" idx="50" hasCustomPrompt="1"/>
          </p:nvPr>
        </p:nvSpPr>
        <p:spPr>
          <a:xfrm>
            <a:off x="5061465" y="4258955"/>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6" name="Tijdelijke aanduiding voor tekst 37"/>
          <p:cNvSpPr>
            <a:spLocks noGrp="1"/>
          </p:cNvSpPr>
          <p:nvPr>
            <p:ph type="body" sz="quarter" idx="51" hasCustomPrompt="1"/>
          </p:nvPr>
        </p:nvSpPr>
        <p:spPr>
          <a:xfrm>
            <a:off x="5061465" y="4646200"/>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7" name="Tijdelijke aanduiding voor tekst 71"/>
          <p:cNvSpPr>
            <a:spLocks noGrp="1"/>
          </p:cNvSpPr>
          <p:nvPr>
            <p:ph type="body" sz="quarter" idx="52" hasCustomPrompt="1"/>
          </p:nvPr>
        </p:nvSpPr>
        <p:spPr>
          <a:xfrm>
            <a:off x="4328531" y="4258955"/>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8" name="Tijdelijke aanduiding voor tekst 35"/>
          <p:cNvSpPr>
            <a:spLocks noGrp="1"/>
          </p:cNvSpPr>
          <p:nvPr>
            <p:ph type="body" sz="quarter" idx="53" hasCustomPrompt="1"/>
          </p:nvPr>
        </p:nvSpPr>
        <p:spPr>
          <a:xfrm>
            <a:off x="8891403" y="1477881"/>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9" name="Tijdelijke aanduiding voor tekst 37"/>
          <p:cNvSpPr>
            <a:spLocks noGrp="1"/>
          </p:cNvSpPr>
          <p:nvPr>
            <p:ph type="body" sz="quarter" idx="54" hasCustomPrompt="1"/>
          </p:nvPr>
        </p:nvSpPr>
        <p:spPr>
          <a:xfrm>
            <a:off x="8891403" y="18928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90" name="Tijdelijke aanduiding voor tekst 71"/>
          <p:cNvSpPr>
            <a:spLocks noGrp="1"/>
          </p:cNvSpPr>
          <p:nvPr>
            <p:ph type="body" sz="quarter" idx="55" hasCustomPrompt="1"/>
          </p:nvPr>
        </p:nvSpPr>
        <p:spPr>
          <a:xfrm>
            <a:off x="8158469" y="1477881"/>
            <a:ext cx="678534"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91" name="Tijdelijke aanduiding voor tekst 35"/>
          <p:cNvSpPr>
            <a:spLocks noGrp="1"/>
          </p:cNvSpPr>
          <p:nvPr>
            <p:ph type="body" sz="quarter" idx="56" hasCustomPrompt="1"/>
          </p:nvPr>
        </p:nvSpPr>
        <p:spPr>
          <a:xfrm>
            <a:off x="8891403" y="2868418"/>
            <a:ext cx="2759201" cy="37659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92" name="Tijdelijke aanduiding voor tekst 37"/>
          <p:cNvSpPr>
            <a:spLocks noGrp="1"/>
          </p:cNvSpPr>
          <p:nvPr>
            <p:ph type="body" sz="quarter" idx="57" hasCustomPrompt="1"/>
          </p:nvPr>
        </p:nvSpPr>
        <p:spPr>
          <a:xfrm>
            <a:off x="8891403" y="3255173"/>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93" name="Tijdelijke aanduiding voor tekst 71"/>
          <p:cNvSpPr>
            <a:spLocks noGrp="1"/>
          </p:cNvSpPr>
          <p:nvPr>
            <p:ph type="body" sz="quarter" idx="58" hasCustomPrompt="1"/>
          </p:nvPr>
        </p:nvSpPr>
        <p:spPr>
          <a:xfrm>
            <a:off x="8158469" y="2868418"/>
            <a:ext cx="678534"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94" name="Tijdelijke aanduiding voor tekst 35"/>
          <p:cNvSpPr>
            <a:spLocks noGrp="1"/>
          </p:cNvSpPr>
          <p:nvPr>
            <p:ph type="body" sz="quarter" idx="59" hasCustomPrompt="1"/>
          </p:nvPr>
        </p:nvSpPr>
        <p:spPr>
          <a:xfrm>
            <a:off x="8891403" y="4258955"/>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95" name="Tijdelijke aanduiding voor tekst 37"/>
          <p:cNvSpPr>
            <a:spLocks noGrp="1"/>
          </p:cNvSpPr>
          <p:nvPr>
            <p:ph type="body" sz="quarter" idx="60" hasCustomPrompt="1"/>
          </p:nvPr>
        </p:nvSpPr>
        <p:spPr>
          <a:xfrm>
            <a:off x="8891403" y="4646200"/>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96" name="Tijdelijke aanduiding voor tekst 71"/>
          <p:cNvSpPr>
            <a:spLocks noGrp="1"/>
          </p:cNvSpPr>
          <p:nvPr>
            <p:ph type="body" sz="quarter" idx="61" hasCustomPrompt="1"/>
          </p:nvPr>
        </p:nvSpPr>
        <p:spPr>
          <a:xfrm>
            <a:off x="8158469" y="4258955"/>
            <a:ext cx="678534"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33" name="Title 1">
            <a:extLst>
              <a:ext uri="{FF2B5EF4-FFF2-40B4-BE49-F238E27FC236}">
                <a16:creationId xmlns:a16="http://schemas.microsoft.com/office/drawing/2014/main" id="{6A8FA3C3-982D-4FF0-AC3B-7CEC4B93EAF9}"/>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accent1"/>
                </a:solidFill>
              </a:defRPr>
            </a:lvl1pPr>
          </a:lstStyle>
          <a:p>
            <a:r>
              <a:rPr lang="en-US"/>
              <a:t>Click to edit </a:t>
            </a:r>
            <a:br>
              <a:rPr lang="en-US"/>
            </a:br>
            <a:r>
              <a:rPr lang="en-US"/>
              <a:t>Master title style</a:t>
            </a:r>
            <a:endParaRPr lang="nl-NL"/>
          </a:p>
        </p:txBody>
      </p:sp>
    </p:spTree>
    <p:extLst>
      <p:ext uri="{BB962C8B-B14F-4D97-AF65-F5344CB8AC3E}">
        <p14:creationId xmlns:p14="http://schemas.microsoft.com/office/powerpoint/2010/main" val="264711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498201"/>
            <a:ext cx="3494215" cy="36032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cxnSp>
        <p:nvCxnSpPr>
          <p:cNvPr id="15" name="Straight Connector 59"/>
          <p:cNvCxnSpPr/>
          <p:nvPr userDrawn="1"/>
        </p:nvCxnSpPr>
        <p:spPr>
          <a:xfrm>
            <a:off x="6079237" y="1457561"/>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1896933"/>
            <a:ext cx="3494678"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2489026" y="2888738"/>
            <a:ext cx="3494215"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4" name="Tijdelijke aanduiding voor tekst 37"/>
          <p:cNvSpPr>
            <a:spLocks noGrp="1"/>
          </p:cNvSpPr>
          <p:nvPr>
            <p:ph type="body" sz="quarter" idx="39" hasCustomPrompt="1"/>
          </p:nvPr>
        </p:nvSpPr>
        <p:spPr>
          <a:xfrm>
            <a:off x="2488927" y="3265333"/>
            <a:ext cx="3494678"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5" name="Tijdelijke aanduiding voor tekst 71"/>
          <p:cNvSpPr>
            <a:spLocks noGrp="1"/>
          </p:cNvSpPr>
          <p:nvPr>
            <p:ph type="body" sz="quarter" idx="40" hasCustomPrompt="1"/>
          </p:nvPr>
        </p:nvSpPr>
        <p:spPr>
          <a:xfrm>
            <a:off x="1731788" y="2868418"/>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2489026" y="4279275"/>
            <a:ext cx="3494215"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7" name="Tijdelijke aanduiding voor tekst 37"/>
          <p:cNvSpPr>
            <a:spLocks noGrp="1"/>
          </p:cNvSpPr>
          <p:nvPr>
            <p:ph type="body" sz="quarter" idx="42" hasCustomPrompt="1"/>
          </p:nvPr>
        </p:nvSpPr>
        <p:spPr>
          <a:xfrm>
            <a:off x="2488927" y="4655870"/>
            <a:ext cx="3494678"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8" name="Tijdelijke aanduiding voor tekst 71"/>
          <p:cNvSpPr>
            <a:spLocks noGrp="1"/>
          </p:cNvSpPr>
          <p:nvPr>
            <p:ph type="body" sz="quarter" idx="43" hasCustomPrompt="1"/>
          </p:nvPr>
        </p:nvSpPr>
        <p:spPr>
          <a:xfrm>
            <a:off x="1731788" y="4258955"/>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9" name="Tijdelijke aanduiding voor tekst 35"/>
          <p:cNvSpPr>
            <a:spLocks noGrp="1"/>
          </p:cNvSpPr>
          <p:nvPr>
            <p:ph type="body" sz="quarter" idx="44" hasCustomPrompt="1"/>
          </p:nvPr>
        </p:nvSpPr>
        <p:spPr>
          <a:xfrm>
            <a:off x="6994489" y="1498201"/>
            <a:ext cx="3724311" cy="360322"/>
          </a:xfrm>
          <a:prstGeom prst="rect">
            <a:avLst/>
          </a:prstGeom>
        </p:spPr>
        <p:txBody>
          <a:bodyPr lIns="0" tIns="0" rIns="0" bIns="0"/>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0" name="Tijdelijke aanduiding voor tekst 37"/>
          <p:cNvSpPr>
            <a:spLocks noGrp="1"/>
          </p:cNvSpPr>
          <p:nvPr>
            <p:ph type="body" sz="quarter" idx="45" hasCustomPrompt="1"/>
          </p:nvPr>
        </p:nvSpPr>
        <p:spPr>
          <a:xfrm>
            <a:off x="6994489" y="1896933"/>
            <a:ext cx="3724804"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1" name="Tijdelijke aanduiding voor tekst 71"/>
          <p:cNvSpPr>
            <a:spLocks noGrp="1"/>
          </p:cNvSpPr>
          <p:nvPr>
            <p:ph type="body" sz="quarter" idx="46" hasCustomPrompt="1"/>
          </p:nvPr>
        </p:nvSpPr>
        <p:spPr>
          <a:xfrm>
            <a:off x="6261555" y="1477881"/>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2" name="Tijdelijke aanduiding voor tekst 35"/>
          <p:cNvSpPr>
            <a:spLocks noGrp="1"/>
          </p:cNvSpPr>
          <p:nvPr>
            <p:ph type="body" sz="quarter" idx="47" hasCustomPrompt="1"/>
          </p:nvPr>
        </p:nvSpPr>
        <p:spPr>
          <a:xfrm>
            <a:off x="6994489" y="2888738"/>
            <a:ext cx="3724311"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3" name="Tijdelijke aanduiding voor tekst 37"/>
          <p:cNvSpPr>
            <a:spLocks noGrp="1"/>
          </p:cNvSpPr>
          <p:nvPr>
            <p:ph type="body" sz="quarter" idx="48" hasCustomPrompt="1"/>
          </p:nvPr>
        </p:nvSpPr>
        <p:spPr>
          <a:xfrm>
            <a:off x="6994489" y="3265333"/>
            <a:ext cx="3724804"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4" name="Tijdelijke aanduiding voor tekst 71"/>
          <p:cNvSpPr>
            <a:spLocks noGrp="1"/>
          </p:cNvSpPr>
          <p:nvPr>
            <p:ph type="body" sz="quarter" idx="49" hasCustomPrompt="1"/>
          </p:nvPr>
        </p:nvSpPr>
        <p:spPr>
          <a:xfrm>
            <a:off x="6261555" y="2868418"/>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5" name="Tijdelijke aanduiding voor tekst 35"/>
          <p:cNvSpPr>
            <a:spLocks noGrp="1"/>
          </p:cNvSpPr>
          <p:nvPr>
            <p:ph type="body" sz="quarter" idx="50" hasCustomPrompt="1"/>
          </p:nvPr>
        </p:nvSpPr>
        <p:spPr>
          <a:xfrm>
            <a:off x="6994489" y="4279275"/>
            <a:ext cx="3724311"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6" name="Tijdelijke aanduiding voor tekst 37"/>
          <p:cNvSpPr>
            <a:spLocks noGrp="1"/>
          </p:cNvSpPr>
          <p:nvPr>
            <p:ph type="body" sz="quarter" idx="51" hasCustomPrompt="1"/>
          </p:nvPr>
        </p:nvSpPr>
        <p:spPr>
          <a:xfrm>
            <a:off x="6994489" y="4655870"/>
            <a:ext cx="3724804"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7" name="Tijdelijke aanduiding voor tekst 71"/>
          <p:cNvSpPr>
            <a:spLocks noGrp="1"/>
          </p:cNvSpPr>
          <p:nvPr>
            <p:ph type="body" sz="quarter" idx="52" hasCustomPrompt="1"/>
          </p:nvPr>
        </p:nvSpPr>
        <p:spPr>
          <a:xfrm>
            <a:off x="6261555" y="4258955"/>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24" name="Title 1">
            <a:extLst>
              <a:ext uri="{FF2B5EF4-FFF2-40B4-BE49-F238E27FC236}">
                <a16:creationId xmlns:a16="http://schemas.microsoft.com/office/drawing/2014/main" id="{4283E8B5-1FFF-4454-AAA0-2B6D46348C17}"/>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accent1"/>
                </a:solidFill>
              </a:defRPr>
            </a:lvl1pPr>
          </a:lstStyle>
          <a:p>
            <a:r>
              <a:rPr lang="en-US"/>
              <a:t>Click to edit </a:t>
            </a:r>
            <a:br>
              <a:rPr lang="en-US"/>
            </a:br>
            <a:r>
              <a:rPr lang="en-US"/>
              <a:t>Master title style</a:t>
            </a:r>
            <a:endParaRPr lang="nl-NL"/>
          </a:p>
        </p:txBody>
      </p:sp>
    </p:spTree>
    <p:extLst>
      <p:ext uri="{BB962C8B-B14F-4D97-AF65-F5344CB8AC3E}">
        <p14:creationId xmlns:p14="http://schemas.microsoft.com/office/powerpoint/2010/main" val="392059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498201"/>
            <a:ext cx="6364794" cy="36032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38" name="Tijdelijke aanduiding voor tekst 37"/>
          <p:cNvSpPr>
            <a:spLocks noGrp="1"/>
          </p:cNvSpPr>
          <p:nvPr>
            <p:ph type="body" sz="quarter" idx="12" hasCustomPrompt="1"/>
          </p:nvPr>
        </p:nvSpPr>
        <p:spPr>
          <a:xfrm>
            <a:off x="2488926" y="1877251"/>
            <a:ext cx="6365637"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2489026" y="2888738"/>
            <a:ext cx="6364794"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4" name="Tijdelijke aanduiding voor tekst 37"/>
          <p:cNvSpPr>
            <a:spLocks noGrp="1"/>
          </p:cNvSpPr>
          <p:nvPr>
            <p:ph type="body" sz="quarter" idx="39" hasCustomPrompt="1"/>
          </p:nvPr>
        </p:nvSpPr>
        <p:spPr>
          <a:xfrm>
            <a:off x="2488926" y="3267788"/>
            <a:ext cx="6365637"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5" name="Tijdelijke aanduiding voor tekst 71"/>
          <p:cNvSpPr>
            <a:spLocks noGrp="1"/>
          </p:cNvSpPr>
          <p:nvPr>
            <p:ph type="body" sz="quarter" idx="40" hasCustomPrompt="1"/>
          </p:nvPr>
        </p:nvSpPr>
        <p:spPr>
          <a:xfrm>
            <a:off x="1731788" y="2868418"/>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2489026" y="4279275"/>
            <a:ext cx="6364794"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7" name="Tijdelijke aanduiding voor tekst 37"/>
          <p:cNvSpPr>
            <a:spLocks noGrp="1"/>
          </p:cNvSpPr>
          <p:nvPr>
            <p:ph type="body" sz="quarter" idx="42" hasCustomPrompt="1"/>
          </p:nvPr>
        </p:nvSpPr>
        <p:spPr>
          <a:xfrm>
            <a:off x="2488926" y="4658325"/>
            <a:ext cx="6365637"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8" name="Tijdelijke aanduiding voor tekst 71"/>
          <p:cNvSpPr>
            <a:spLocks noGrp="1"/>
          </p:cNvSpPr>
          <p:nvPr>
            <p:ph type="body" sz="quarter" idx="43" hasCustomPrompt="1"/>
          </p:nvPr>
        </p:nvSpPr>
        <p:spPr>
          <a:xfrm>
            <a:off x="1731788" y="4258955"/>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14" name="Title 1">
            <a:extLst>
              <a:ext uri="{FF2B5EF4-FFF2-40B4-BE49-F238E27FC236}">
                <a16:creationId xmlns:a16="http://schemas.microsoft.com/office/drawing/2014/main" id="{74D8B13C-D7AD-40E5-AB16-80CE14088C6E}"/>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accent1"/>
                </a:solidFill>
              </a:defRPr>
            </a:lvl1pPr>
          </a:lstStyle>
          <a:p>
            <a:r>
              <a:rPr lang="en-US"/>
              <a:t>Click to edit </a:t>
            </a:r>
            <a:br>
              <a:rPr lang="en-US"/>
            </a:br>
            <a:r>
              <a:rPr lang="en-US"/>
              <a:t>Master title style</a:t>
            </a:r>
            <a:endParaRPr lang="nl-NL"/>
          </a:p>
        </p:txBody>
      </p:sp>
    </p:spTree>
    <p:extLst>
      <p:ext uri="{BB962C8B-B14F-4D97-AF65-F5344CB8AC3E}">
        <p14:creationId xmlns:p14="http://schemas.microsoft.com/office/powerpoint/2010/main" val="4154920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sp>
        <p:nvSpPr>
          <p:cNvPr id="28" name="Vrije vorm: vorm 27">
            <a:extLst>
              <a:ext uri="{FF2B5EF4-FFF2-40B4-BE49-F238E27FC236}">
                <a16:creationId xmlns:a16="http://schemas.microsoft.com/office/drawing/2014/main" id="{A7DAE745-3021-445B-9937-0EEA4C1BC8A8}"/>
              </a:ext>
            </a:extLst>
          </p:cNvPr>
          <p:cNvSpPr/>
          <p:nvPr userDrawn="1"/>
        </p:nvSpPr>
        <p:spPr>
          <a:xfrm>
            <a:off x="5873442" y="2546429"/>
            <a:ext cx="6318556" cy="3293654"/>
          </a:xfrm>
          <a:custGeom>
            <a:avLst/>
            <a:gdLst>
              <a:gd name="connsiteX0" fmla="*/ 1106090 w 6318556"/>
              <a:gd name="connsiteY0" fmla="*/ 0 h 3293654"/>
              <a:gd name="connsiteX1" fmla="*/ 1126600 w 6318556"/>
              <a:gd name="connsiteY1" fmla="*/ 46 h 3293654"/>
              <a:gd name="connsiteX2" fmla="*/ 1126615 w 6318556"/>
              <a:gd name="connsiteY2" fmla="*/ 0 h 3293654"/>
              <a:gd name="connsiteX3" fmla="*/ 1126615 w 6318556"/>
              <a:gd name="connsiteY3" fmla="*/ 46 h 3293654"/>
              <a:gd name="connsiteX4" fmla="*/ 6318556 w 6318556"/>
              <a:gd name="connsiteY4" fmla="*/ 11652 h 3293654"/>
              <a:gd name="connsiteX5" fmla="*/ 6318556 w 6318556"/>
              <a:gd name="connsiteY5" fmla="*/ 3293654 h 3293654"/>
              <a:gd name="connsiteX6" fmla="*/ 0 w 6318556"/>
              <a:gd name="connsiteY6" fmla="*/ 3293654 h 3293654"/>
              <a:gd name="connsiteX7" fmla="*/ 955335 w 6318556"/>
              <a:gd name="connsiteY7" fmla="*/ 500738 h 3293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8556" h="3293654">
                <a:moveTo>
                  <a:pt x="1106090" y="0"/>
                </a:moveTo>
                <a:lnTo>
                  <a:pt x="1126600" y="46"/>
                </a:lnTo>
                <a:lnTo>
                  <a:pt x="1126615" y="0"/>
                </a:lnTo>
                <a:lnTo>
                  <a:pt x="1126615" y="46"/>
                </a:lnTo>
                <a:lnTo>
                  <a:pt x="6318556" y="11652"/>
                </a:lnTo>
                <a:lnTo>
                  <a:pt x="6318556" y="3293654"/>
                </a:lnTo>
                <a:lnTo>
                  <a:pt x="0" y="3293654"/>
                </a:lnTo>
                <a:lnTo>
                  <a:pt x="955335" y="5007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noProof="0"/>
          </a:p>
        </p:txBody>
      </p:sp>
      <p:sp>
        <p:nvSpPr>
          <p:cNvPr id="18" name="Rectangle 3">
            <a:extLst>
              <a:ext uri="{FF2B5EF4-FFF2-40B4-BE49-F238E27FC236}">
                <a16:creationId xmlns:a16="http://schemas.microsoft.com/office/drawing/2014/main" id="{BA86B133-8EA2-4BCA-9047-7964C012F2D3}"/>
              </a:ext>
            </a:extLst>
          </p:cNvPr>
          <p:cNvSpPr/>
          <p:nvPr userDrawn="1"/>
        </p:nvSpPr>
        <p:spPr>
          <a:xfrm rot="10800000">
            <a:off x="-9529" y="-11577"/>
            <a:ext cx="2311293" cy="6880686"/>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6979454" y="2995167"/>
            <a:ext cx="4862858" cy="2152893"/>
          </a:xfrm>
          <a:prstGeom prst="rect">
            <a:avLst/>
          </a:prstGeom>
        </p:spPr>
        <p:txBody>
          <a:bodyPr lIns="0" tIns="0" rIns="0" bIns="72000" anchor="b" anchorCtr="0"/>
          <a:lstStyle>
            <a:lvl1pPr>
              <a:defRPr sz="2799">
                <a:solidFill>
                  <a:schemeClr val="bg1"/>
                </a:solidFill>
              </a:defRPr>
            </a:lvl1pPr>
          </a:lstStyle>
          <a:p>
            <a:r>
              <a:rPr lang="nl-NL" noProof="0"/>
              <a:t>Klik hier om de titelstijl van het stramien te bewerken</a:t>
            </a:r>
          </a:p>
        </p:txBody>
      </p:sp>
      <p:sp>
        <p:nvSpPr>
          <p:cNvPr id="26" name="Tijdelijke aanduiding voor afbeelding 25">
            <a:extLst>
              <a:ext uri="{FF2B5EF4-FFF2-40B4-BE49-F238E27FC236}">
                <a16:creationId xmlns:a16="http://schemas.microsoft.com/office/drawing/2014/main" id="{D2D835CF-AC8F-47B2-9687-324E766D8FE4}"/>
              </a:ext>
            </a:extLst>
          </p:cNvPr>
          <p:cNvSpPr>
            <a:spLocks noGrp="1"/>
          </p:cNvSpPr>
          <p:nvPr>
            <p:ph type="pic" sz="quarter" idx="12" hasCustomPrompt="1"/>
          </p:nvPr>
        </p:nvSpPr>
        <p:spPr>
          <a:xfrm>
            <a:off x="-9525" y="-11574"/>
            <a:ext cx="12201525" cy="6880686"/>
          </a:xfrm>
          <a:custGeom>
            <a:avLst/>
            <a:gdLst>
              <a:gd name="connsiteX0" fmla="*/ 6989058 w 12201525"/>
              <a:gd name="connsiteY0" fmla="*/ 2558003 h 6880686"/>
              <a:gd name="connsiteX1" fmla="*/ 6838303 w 12201525"/>
              <a:gd name="connsiteY1" fmla="*/ 3058741 h 6880686"/>
              <a:gd name="connsiteX2" fmla="*/ 5882968 w 12201525"/>
              <a:gd name="connsiteY2" fmla="*/ 5851657 h 6880686"/>
              <a:gd name="connsiteX3" fmla="*/ 12201524 w 12201525"/>
              <a:gd name="connsiteY3" fmla="*/ 5851657 h 6880686"/>
              <a:gd name="connsiteX4" fmla="*/ 12201524 w 12201525"/>
              <a:gd name="connsiteY4" fmla="*/ 2569655 h 6880686"/>
              <a:gd name="connsiteX5" fmla="*/ 7009583 w 12201525"/>
              <a:gd name="connsiteY5" fmla="*/ 2558049 h 6880686"/>
              <a:gd name="connsiteX6" fmla="*/ 7009583 w 12201525"/>
              <a:gd name="connsiteY6" fmla="*/ 2558003 h 6880686"/>
              <a:gd name="connsiteX7" fmla="*/ 7009568 w 12201525"/>
              <a:gd name="connsiteY7" fmla="*/ 2558049 h 6880686"/>
              <a:gd name="connsiteX8" fmla="*/ 2318085 w 12201525"/>
              <a:gd name="connsiteY8" fmla="*/ 0 h 6880686"/>
              <a:gd name="connsiteX9" fmla="*/ 12201525 w 12201525"/>
              <a:gd name="connsiteY9" fmla="*/ 463 h 6880686"/>
              <a:gd name="connsiteX10" fmla="*/ 12198810 w 12201525"/>
              <a:gd name="connsiteY10" fmla="*/ 1875299 h 6880686"/>
              <a:gd name="connsiteX11" fmla="*/ 12201525 w 12201525"/>
              <a:gd name="connsiteY11" fmla="*/ 1875299 h 6880686"/>
              <a:gd name="connsiteX12" fmla="*/ 12201525 w 12201525"/>
              <a:gd name="connsiteY12" fmla="*/ 6344112 h 6880686"/>
              <a:gd name="connsiteX13" fmla="*/ 12199508 w 12201525"/>
              <a:gd name="connsiteY13" fmla="*/ 6344112 h 6880686"/>
              <a:gd name="connsiteX14" fmla="*/ 12201525 w 12201525"/>
              <a:gd name="connsiteY14" fmla="*/ 6880686 h 6880686"/>
              <a:gd name="connsiteX15" fmla="*/ 0 w 12201525"/>
              <a:gd name="connsiteY15" fmla="*/ 6880686 h 6880686"/>
              <a:gd name="connsiteX16" fmla="*/ 11673 w 12201525"/>
              <a:gd name="connsiteY16" fmla="*/ 6841306 h 6880686"/>
              <a:gd name="connsiteX17" fmla="*/ 1308276 w 12201525"/>
              <a:gd name="connsiteY17" fmla="*/ 2995309 h 6880686"/>
              <a:gd name="connsiteX18" fmla="*/ 1457809 w 12201525"/>
              <a:gd name="connsiteY18" fmla="*/ 2580257 h 6880686"/>
              <a:gd name="connsiteX19" fmla="*/ 2040932 w 12201525"/>
              <a:gd name="connsiteY19" fmla="*/ 860085 h 6880686"/>
              <a:gd name="connsiteX20" fmla="*/ 2134197 w 12201525"/>
              <a:gd name="connsiteY20" fmla="*/ 545453 h 688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01525" h="6880686">
                <a:moveTo>
                  <a:pt x="6989058" y="2558003"/>
                </a:moveTo>
                <a:lnTo>
                  <a:pt x="6838303" y="3058741"/>
                </a:lnTo>
                <a:lnTo>
                  <a:pt x="5882968" y="5851657"/>
                </a:lnTo>
                <a:lnTo>
                  <a:pt x="12201524" y="5851657"/>
                </a:lnTo>
                <a:lnTo>
                  <a:pt x="12201524" y="2569655"/>
                </a:lnTo>
                <a:lnTo>
                  <a:pt x="7009583" y="2558049"/>
                </a:lnTo>
                <a:lnTo>
                  <a:pt x="7009583" y="2558003"/>
                </a:lnTo>
                <a:lnTo>
                  <a:pt x="7009568" y="2558049"/>
                </a:lnTo>
                <a:close/>
                <a:moveTo>
                  <a:pt x="2318085" y="0"/>
                </a:moveTo>
                <a:lnTo>
                  <a:pt x="12201525" y="463"/>
                </a:lnTo>
                <a:cubicBezTo>
                  <a:pt x="12200620" y="625408"/>
                  <a:pt x="12199714" y="1250354"/>
                  <a:pt x="12198810" y="1875299"/>
                </a:cubicBezTo>
                <a:lnTo>
                  <a:pt x="12201525" y="1875299"/>
                </a:lnTo>
                <a:lnTo>
                  <a:pt x="12201525" y="6344112"/>
                </a:lnTo>
                <a:lnTo>
                  <a:pt x="12199508" y="6344112"/>
                </a:lnTo>
                <a:cubicBezTo>
                  <a:pt x="12200181" y="6522970"/>
                  <a:pt x="12200852" y="6701828"/>
                  <a:pt x="12201525" y="6880686"/>
                </a:cubicBezTo>
                <a:lnTo>
                  <a:pt x="0" y="6880686"/>
                </a:lnTo>
                <a:lnTo>
                  <a:pt x="11673" y="6841306"/>
                </a:lnTo>
                <a:lnTo>
                  <a:pt x="1308276" y="2995309"/>
                </a:lnTo>
                <a:lnTo>
                  <a:pt x="1457809" y="2580257"/>
                </a:lnTo>
                <a:cubicBezTo>
                  <a:pt x="1662353" y="2006866"/>
                  <a:pt x="1860795" y="1433476"/>
                  <a:pt x="2040932" y="860085"/>
                </a:cubicBezTo>
                <a:lnTo>
                  <a:pt x="2134197" y="54545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Font typeface="Arial" panose="020B0604020202020204" pitchFamily="34" charset="0"/>
              <a:buNone/>
              <a:defRPr lang="nl-NL" sz="1599" dirty="0"/>
            </a:lvl1pPr>
          </a:lstStyle>
          <a:p>
            <a:pPr marL="228486" lvl="0" indent="-228486" algn="ctr"/>
            <a:r>
              <a:rPr lang="nl-NL" noProof="0"/>
              <a:t>Klik op pictogram om een afbeelding in te voegen</a:t>
            </a:r>
            <a:endParaRPr lang="en-US" noProof="0"/>
          </a:p>
        </p:txBody>
      </p:sp>
      <p:grpSp>
        <p:nvGrpSpPr>
          <p:cNvPr id="15" name="Group 14">
            <a:extLst>
              <a:ext uri="{FF2B5EF4-FFF2-40B4-BE49-F238E27FC236}">
                <a16:creationId xmlns:a16="http://schemas.microsoft.com/office/drawing/2014/main" id="{C0FAACAD-4552-CD4D-BDF0-611AEAED22F5}"/>
              </a:ext>
            </a:extLst>
          </p:cNvPr>
          <p:cNvGrpSpPr/>
          <p:nvPr userDrawn="1"/>
        </p:nvGrpSpPr>
        <p:grpSpPr>
          <a:xfrm>
            <a:off x="375971" y="509430"/>
            <a:ext cx="1269708" cy="457523"/>
            <a:chOff x="3078163" y="2341563"/>
            <a:chExt cx="6035676" cy="2174875"/>
          </a:xfrm>
        </p:grpSpPr>
        <p:sp>
          <p:nvSpPr>
            <p:cNvPr id="16" name="Freeform 5">
              <a:extLst>
                <a:ext uri="{FF2B5EF4-FFF2-40B4-BE49-F238E27FC236}">
                  <a16:creationId xmlns:a16="http://schemas.microsoft.com/office/drawing/2014/main" id="{C83A5D12-FAF6-504C-B2FD-C6E83D549131}"/>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7" name="Freeform 6">
              <a:extLst>
                <a:ext uri="{FF2B5EF4-FFF2-40B4-BE49-F238E27FC236}">
                  <a16:creationId xmlns:a16="http://schemas.microsoft.com/office/drawing/2014/main" id="{6E8BC0E6-FFF7-964A-A8F8-259E13B42E78}"/>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9" name="Freeform 7">
              <a:extLst>
                <a:ext uri="{FF2B5EF4-FFF2-40B4-BE49-F238E27FC236}">
                  <a16:creationId xmlns:a16="http://schemas.microsoft.com/office/drawing/2014/main" id="{114F31EA-8D74-B946-A277-58356FD95CB4}"/>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0" name="Freeform 8">
              <a:extLst>
                <a:ext uri="{FF2B5EF4-FFF2-40B4-BE49-F238E27FC236}">
                  <a16:creationId xmlns:a16="http://schemas.microsoft.com/office/drawing/2014/main" id="{BE90E716-DDAC-D744-B755-8020656C05B4}"/>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1" name="Freeform 9">
              <a:extLst>
                <a:ext uri="{FF2B5EF4-FFF2-40B4-BE49-F238E27FC236}">
                  <a16:creationId xmlns:a16="http://schemas.microsoft.com/office/drawing/2014/main" id="{BBEDE278-6817-6642-9CED-73B9B0EF7C22}"/>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2" name="Freeform 10">
              <a:extLst>
                <a:ext uri="{FF2B5EF4-FFF2-40B4-BE49-F238E27FC236}">
                  <a16:creationId xmlns:a16="http://schemas.microsoft.com/office/drawing/2014/main" id="{334752CE-ADF5-5C4D-8231-CC00983FD69C}"/>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3" name="Freeform 11">
              <a:extLst>
                <a:ext uri="{FF2B5EF4-FFF2-40B4-BE49-F238E27FC236}">
                  <a16:creationId xmlns:a16="http://schemas.microsoft.com/office/drawing/2014/main" id="{F927F4F0-2CD3-A742-9CB0-20710EA6AA61}"/>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
        <p:nvSpPr>
          <p:cNvPr id="27" name="Vrije vorm: vorm 26">
            <a:extLst>
              <a:ext uri="{FF2B5EF4-FFF2-40B4-BE49-F238E27FC236}">
                <a16:creationId xmlns:a16="http://schemas.microsoft.com/office/drawing/2014/main" id="{E090E6A0-BBE1-434C-8C1D-CD317F3FF280}"/>
              </a:ext>
            </a:extLst>
          </p:cNvPr>
          <p:cNvSpPr/>
          <p:nvPr userDrawn="1"/>
        </p:nvSpPr>
        <p:spPr>
          <a:xfrm>
            <a:off x="5873442" y="5340455"/>
            <a:ext cx="6318556" cy="499631"/>
          </a:xfrm>
          <a:custGeom>
            <a:avLst/>
            <a:gdLst>
              <a:gd name="connsiteX0" fmla="*/ 170902 w 6318556"/>
              <a:gd name="connsiteY0" fmla="*/ 0 h 499631"/>
              <a:gd name="connsiteX1" fmla="*/ 6318556 w 6318556"/>
              <a:gd name="connsiteY1" fmla="*/ 0 h 499631"/>
              <a:gd name="connsiteX2" fmla="*/ 6318556 w 6318556"/>
              <a:gd name="connsiteY2" fmla="*/ 499631 h 499631"/>
              <a:gd name="connsiteX3" fmla="*/ 0 w 6318556"/>
              <a:gd name="connsiteY3" fmla="*/ 499631 h 499631"/>
            </a:gdLst>
            <a:ahLst/>
            <a:cxnLst>
              <a:cxn ang="0">
                <a:pos x="connsiteX0" y="connsiteY0"/>
              </a:cxn>
              <a:cxn ang="0">
                <a:pos x="connsiteX1" y="connsiteY1"/>
              </a:cxn>
              <a:cxn ang="0">
                <a:pos x="connsiteX2" y="connsiteY2"/>
              </a:cxn>
              <a:cxn ang="0">
                <a:pos x="connsiteX3" y="connsiteY3"/>
              </a:cxn>
            </a:cxnLst>
            <a:rect l="l" t="t" r="r" b="b"/>
            <a:pathLst>
              <a:path w="6318556" h="499631">
                <a:moveTo>
                  <a:pt x="170902" y="0"/>
                </a:moveTo>
                <a:lnTo>
                  <a:pt x="6318556" y="0"/>
                </a:lnTo>
                <a:lnTo>
                  <a:pt x="6318556" y="499631"/>
                </a:lnTo>
                <a:lnTo>
                  <a:pt x="0" y="49963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noProof="0"/>
          </a:p>
        </p:txBody>
      </p:sp>
    </p:spTree>
    <p:extLst>
      <p:ext uri="{BB962C8B-B14F-4D97-AF65-F5344CB8AC3E}">
        <p14:creationId xmlns:p14="http://schemas.microsoft.com/office/powerpoint/2010/main" val="2062752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guide id="5" pos="4404">
          <p15:clr>
            <a:srgbClr val="FBAE40"/>
          </p15:clr>
        </p15:guide>
        <p15:guide id="6" pos="1232">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Holding slide">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90C0BC2C-E703-407C-8C07-F08C1589AEE4}"/>
              </a:ext>
            </a:extLst>
          </p:cNvPr>
          <p:cNvGrpSpPr/>
          <p:nvPr userDrawn="1"/>
        </p:nvGrpSpPr>
        <p:grpSpPr>
          <a:xfrm>
            <a:off x="2895600" y="2275777"/>
            <a:ext cx="6400800" cy="2306446"/>
            <a:chOff x="2895600" y="2275777"/>
            <a:chExt cx="6400800" cy="2306446"/>
          </a:xfrm>
        </p:grpSpPr>
        <p:sp>
          <p:nvSpPr>
            <p:cNvPr id="21" name="Vrije vorm: vorm 20">
              <a:extLst>
                <a:ext uri="{FF2B5EF4-FFF2-40B4-BE49-F238E27FC236}">
                  <a16:creationId xmlns:a16="http://schemas.microsoft.com/office/drawing/2014/main" id="{CA9E3DDA-395C-4DDD-B1D8-656220373CB1}"/>
                </a:ext>
              </a:extLst>
            </p:cNvPr>
            <p:cNvSpPr>
              <a:spLocks/>
            </p:cNvSpPr>
            <p:nvPr userDrawn="1"/>
          </p:nvSpPr>
          <p:spPr bwMode="auto">
            <a:xfrm>
              <a:off x="2895600" y="2275777"/>
              <a:ext cx="2087583" cy="2306446"/>
            </a:xfrm>
            <a:custGeom>
              <a:avLst/>
              <a:gdLst>
                <a:gd name="connsiteX0" fmla="*/ 1712156 w 2087583"/>
                <a:gd name="connsiteY0" fmla="*/ 643111 h 2306446"/>
                <a:gd name="connsiteX1" fmla="*/ 1888927 w 2087583"/>
                <a:gd name="connsiteY1" fmla="*/ 1190261 h 2306446"/>
                <a:gd name="connsiteX2" fmla="*/ 1540435 w 2087583"/>
                <a:gd name="connsiteY2" fmla="*/ 1183527 h 2306446"/>
                <a:gd name="connsiteX3" fmla="*/ 1725623 w 2087583"/>
                <a:gd name="connsiteY3" fmla="*/ 0 h 2306446"/>
                <a:gd name="connsiteX4" fmla="*/ 1841787 w 2087583"/>
                <a:gd name="connsiteY4" fmla="*/ 348492 h 2306446"/>
                <a:gd name="connsiteX5" fmla="*/ 1587573 w 2087583"/>
                <a:gd name="connsiteY5" fmla="*/ 348492 h 2306446"/>
                <a:gd name="connsiteX6" fmla="*/ 1176791 w 2087583"/>
                <a:gd name="connsiteY6" fmla="*/ 1580842 h 2306446"/>
                <a:gd name="connsiteX7" fmla="*/ 1424271 w 2087583"/>
                <a:gd name="connsiteY7" fmla="*/ 1580842 h 2306446"/>
                <a:gd name="connsiteX8" fmla="*/ 1478144 w 2087583"/>
                <a:gd name="connsiteY8" fmla="*/ 1388918 h 2306446"/>
                <a:gd name="connsiteX9" fmla="*/ 1957951 w 2087583"/>
                <a:gd name="connsiteY9" fmla="*/ 1388918 h 2306446"/>
                <a:gd name="connsiteX10" fmla="*/ 2087583 w 2087583"/>
                <a:gd name="connsiteY10" fmla="*/ 1806436 h 2306446"/>
                <a:gd name="connsiteX11" fmla="*/ 569035 w 2087583"/>
                <a:gd name="connsiteY11" fmla="*/ 2306446 h 2306446"/>
                <a:gd name="connsiteX12" fmla="*/ 0 w 2087583"/>
                <a:gd name="connsiteY12" fmla="*/ 567352 h 230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7583" h="2306446">
                  <a:moveTo>
                    <a:pt x="1712156" y="643111"/>
                  </a:moveTo>
                  <a:lnTo>
                    <a:pt x="1888927" y="1190261"/>
                  </a:lnTo>
                  <a:lnTo>
                    <a:pt x="1540435" y="1183527"/>
                  </a:lnTo>
                  <a:close/>
                  <a:moveTo>
                    <a:pt x="1725623" y="0"/>
                  </a:moveTo>
                  <a:lnTo>
                    <a:pt x="1841787" y="348492"/>
                  </a:lnTo>
                  <a:lnTo>
                    <a:pt x="1587573" y="348492"/>
                  </a:lnTo>
                  <a:lnTo>
                    <a:pt x="1176791" y="1580842"/>
                  </a:lnTo>
                  <a:lnTo>
                    <a:pt x="1424271" y="1580842"/>
                  </a:lnTo>
                  <a:lnTo>
                    <a:pt x="1478144" y="1388918"/>
                  </a:lnTo>
                  <a:lnTo>
                    <a:pt x="1957951" y="1388918"/>
                  </a:lnTo>
                  <a:lnTo>
                    <a:pt x="2087583" y="1806436"/>
                  </a:lnTo>
                  <a:lnTo>
                    <a:pt x="569035" y="2306446"/>
                  </a:lnTo>
                  <a:lnTo>
                    <a:pt x="0" y="56735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nl-NL"/>
            </a:p>
          </p:txBody>
        </p:sp>
        <p:sp>
          <p:nvSpPr>
            <p:cNvPr id="16" name="Freeform 7">
              <a:extLst>
                <a:ext uri="{FF2B5EF4-FFF2-40B4-BE49-F238E27FC236}">
                  <a16:creationId xmlns:a16="http://schemas.microsoft.com/office/drawing/2014/main" id="{22CB442A-9BFA-4C2F-8B09-4981059B3B0B}"/>
                </a:ext>
              </a:extLst>
            </p:cNvPr>
            <p:cNvSpPr>
              <a:spLocks/>
            </p:cNvSpPr>
            <p:nvPr userDrawn="1"/>
          </p:nvSpPr>
          <p:spPr bwMode="auto">
            <a:xfrm>
              <a:off x="4936044" y="2639421"/>
              <a:ext cx="888906" cy="1210464"/>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7" name="Freeform 8">
              <a:extLst>
                <a:ext uri="{FF2B5EF4-FFF2-40B4-BE49-F238E27FC236}">
                  <a16:creationId xmlns:a16="http://schemas.microsoft.com/office/drawing/2014/main" id="{2076A068-17F1-4D27-957C-9CFB21F4777C}"/>
                </a:ext>
              </a:extLst>
            </p:cNvPr>
            <p:cNvSpPr>
              <a:spLocks/>
            </p:cNvSpPr>
            <p:nvPr userDrawn="1"/>
          </p:nvSpPr>
          <p:spPr bwMode="auto">
            <a:xfrm>
              <a:off x="8345202" y="2639421"/>
              <a:ext cx="951198" cy="1203730"/>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8" name="Freeform 9">
              <a:extLst>
                <a:ext uri="{FF2B5EF4-FFF2-40B4-BE49-F238E27FC236}">
                  <a16:creationId xmlns:a16="http://schemas.microsoft.com/office/drawing/2014/main" id="{B41E182A-3121-41A6-8205-38D2B47289F4}"/>
                </a:ext>
              </a:extLst>
            </p:cNvPr>
            <p:cNvSpPr>
              <a:spLocks/>
            </p:cNvSpPr>
            <p:nvPr userDrawn="1"/>
          </p:nvSpPr>
          <p:spPr bwMode="auto">
            <a:xfrm>
              <a:off x="5840103" y="2604067"/>
              <a:ext cx="1067361" cy="1272754"/>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9" name="Freeform 10">
              <a:extLst>
                <a:ext uri="{FF2B5EF4-FFF2-40B4-BE49-F238E27FC236}">
                  <a16:creationId xmlns:a16="http://schemas.microsoft.com/office/drawing/2014/main" id="{789A2F69-5ED1-498D-A0B0-57D4FA4EF769}"/>
                </a:ext>
              </a:extLst>
            </p:cNvPr>
            <p:cNvSpPr>
              <a:spLocks/>
            </p:cNvSpPr>
            <p:nvPr userDrawn="1"/>
          </p:nvSpPr>
          <p:spPr bwMode="auto">
            <a:xfrm>
              <a:off x="7050564" y="2597333"/>
              <a:ext cx="1143121" cy="1272754"/>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0" name="Freeform 11">
              <a:extLst>
                <a:ext uri="{FF2B5EF4-FFF2-40B4-BE49-F238E27FC236}">
                  <a16:creationId xmlns:a16="http://schemas.microsoft.com/office/drawing/2014/main" id="{5A13FF52-B406-4569-A479-67CEFA7F7939}"/>
                </a:ext>
              </a:extLst>
            </p:cNvPr>
            <p:cNvSpPr>
              <a:spLocks/>
            </p:cNvSpPr>
            <p:nvPr userDrawn="1"/>
          </p:nvSpPr>
          <p:spPr bwMode="auto">
            <a:xfrm>
              <a:off x="5237397" y="4151237"/>
              <a:ext cx="3319930" cy="122899"/>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Tree>
    <p:extLst>
      <p:ext uri="{BB962C8B-B14F-4D97-AF65-F5344CB8AC3E}">
        <p14:creationId xmlns:p14="http://schemas.microsoft.com/office/powerpoint/2010/main" val="391096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C568EA51-E381-4FE1-8966-210825EC768D}"/>
              </a:ext>
            </a:extLst>
          </p:cNvPr>
          <p:cNvSpPr/>
          <p:nvPr userDrawn="1"/>
        </p:nvSpPr>
        <p:spPr>
          <a:xfrm>
            <a:off x="-11575" y="-11575"/>
            <a:ext cx="6238755" cy="6875362"/>
          </a:xfrm>
          <a:custGeom>
            <a:avLst/>
            <a:gdLst>
              <a:gd name="connsiteX0" fmla="*/ 0 w 6238755"/>
              <a:gd name="connsiteY0" fmla="*/ 0 h 6875362"/>
              <a:gd name="connsiteX1" fmla="*/ 6238755 w 6238755"/>
              <a:gd name="connsiteY1" fmla="*/ 0 h 6875362"/>
              <a:gd name="connsiteX2" fmla="*/ 4155312 w 6238755"/>
              <a:gd name="connsiteY2" fmla="*/ 6875362 h 6875362"/>
              <a:gd name="connsiteX3" fmla="*/ 0 w 6238755"/>
              <a:gd name="connsiteY3" fmla="*/ 6875362 h 6875362"/>
              <a:gd name="connsiteX4" fmla="*/ 0 w 6238755"/>
              <a:gd name="connsiteY4" fmla="*/ 0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8755" h="6875362">
                <a:moveTo>
                  <a:pt x="0" y="0"/>
                </a:moveTo>
                <a:lnTo>
                  <a:pt x="6238755" y="0"/>
                </a:lnTo>
                <a:lnTo>
                  <a:pt x="4155312" y="6875362"/>
                </a:lnTo>
                <a:lnTo>
                  <a:pt x="0" y="687536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88818" y="1458410"/>
            <a:ext cx="4862858" cy="2152893"/>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9" y="5950344"/>
            <a:ext cx="3708862" cy="304800"/>
          </a:xfrm>
          <a:prstGeom prst="rect">
            <a:avLst/>
          </a:prstGeom>
        </p:spPr>
        <p:txBody>
          <a:bodyPr lIns="0"/>
          <a:lstStyle>
            <a:lvl1pPr marL="0" indent="0">
              <a:buNone/>
              <a:defRPr sz="800" i="0">
                <a:solidFill>
                  <a:schemeClr val="tx1">
                    <a:lumMod val="50000"/>
                    <a:lumOff val="50000"/>
                  </a:schemeClr>
                </a:solidFill>
              </a:defRPr>
            </a:lvl1pPr>
            <a:lvl2pPr marL="457200" indent="0">
              <a:buNone/>
              <a:defRPr sz="800" i="0">
                <a:solidFill>
                  <a:schemeClr val="tx1">
                    <a:lumMod val="50000"/>
                    <a:lumOff val="50000"/>
                  </a:schemeClr>
                </a:solidFill>
              </a:defRPr>
            </a:lvl2pPr>
            <a:lvl3pPr marL="914400" indent="0">
              <a:buNone/>
              <a:defRPr sz="800" i="1"/>
            </a:lvl3pPr>
            <a:lvl4pPr marL="1371600" indent="0">
              <a:buNone/>
              <a:defRPr sz="800" i="1"/>
            </a:lvl4pPr>
            <a:lvl5pPr marL="1828800" indent="0">
              <a:buNone/>
              <a:defRPr sz="800" i="1"/>
            </a:lvl5pPr>
          </a:lstStyle>
          <a:p>
            <a:pPr lvl="0"/>
            <a:r>
              <a:rPr lang="en-US"/>
              <a:t>City, Country, Date, Year</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4016418"/>
            <a:ext cx="4293504" cy="798650"/>
          </a:xfrm>
          <a:prstGeom prst="rect">
            <a:avLst/>
          </a:prstGeom>
        </p:spPr>
        <p:txBody>
          <a:bodyPr lIns="0"/>
          <a:lstStyle>
            <a:lvl1pPr marL="0" indent="0">
              <a:buNone/>
              <a:defRPr sz="1600" b="1">
                <a:solidFill>
                  <a:schemeClr val="tx2"/>
                </a:solidFill>
              </a:defRPr>
            </a:lvl1pPr>
            <a:lvl2pPr marL="0" indent="0">
              <a:buNone/>
              <a:defRPr sz="1400">
                <a:solidFill>
                  <a:schemeClr val="bg2"/>
                </a:solidFill>
              </a:defRPr>
            </a:lvl2pPr>
          </a:lstStyle>
          <a:p>
            <a:pPr lvl="0"/>
            <a:r>
              <a:rPr lang="en-US"/>
              <a:t>Name Speaker</a:t>
            </a:r>
          </a:p>
          <a:p>
            <a:pPr lvl="1"/>
            <a:r>
              <a:rPr lang="en-US"/>
              <a:t>Department or title</a:t>
            </a:r>
          </a:p>
        </p:txBody>
      </p:sp>
      <p:sp>
        <p:nvSpPr>
          <p:cNvPr id="22" name="Tijdelijke aanduiding voor afbeelding 21">
            <a:extLst>
              <a:ext uri="{FF2B5EF4-FFF2-40B4-BE49-F238E27FC236}">
                <a16:creationId xmlns:a16="http://schemas.microsoft.com/office/drawing/2014/main" id="{928394CF-99D3-4C70-89A7-B13E7CF52CF1}"/>
              </a:ext>
            </a:extLst>
          </p:cNvPr>
          <p:cNvSpPr>
            <a:spLocks noGrp="1"/>
          </p:cNvSpPr>
          <p:nvPr>
            <p:ph type="pic" sz="quarter" idx="12" hasCustomPrompt="1"/>
          </p:nvPr>
        </p:nvSpPr>
        <p:spPr>
          <a:xfrm>
            <a:off x="4133604" y="-22625"/>
            <a:ext cx="8058396" cy="6886413"/>
          </a:xfrm>
          <a:custGeom>
            <a:avLst/>
            <a:gdLst>
              <a:gd name="connsiteX0" fmla="*/ 2353565 w 8058396"/>
              <a:gd name="connsiteY0" fmla="*/ 0 h 6886413"/>
              <a:gd name="connsiteX1" fmla="*/ 8058396 w 8058396"/>
              <a:gd name="connsiteY1" fmla="*/ 11050 h 6886413"/>
              <a:gd name="connsiteX2" fmla="*/ 8058396 w 8058396"/>
              <a:gd name="connsiteY2" fmla="*/ 4027466 h 6886413"/>
              <a:gd name="connsiteX3" fmla="*/ 7082264 w 8058396"/>
              <a:gd name="connsiteY3" fmla="*/ 6886413 h 6886413"/>
              <a:gd name="connsiteX4" fmla="*/ 0 w 8058396"/>
              <a:gd name="connsiteY4" fmla="*/ 6880635 h 6886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8396" h="6886413">
                <a:moveTo>
                  <a:pt x="2353565" y="0"/>
                </a:moveTo>
                <a:lnTo>
                  <a:pt x="8058396" y="11050"/>
                </a:lnTo>
                <a:lnTo>
                  <a:pt x="8058396" y="4027466"/>
                </a:lnTo>
                <a:lnTo>
                  <a:pt x="7082264" y="6886413"/>
                </a:lnTo>
                <a:lnTo>
                  <a:pt x="0" y="6880635"/>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Font typeface="Arial" panose="020B0604020202020204" pitchFamily="34" charset="0"/>
              <a:buNone/>
              <a:defRPr lang="nl-NL" sz="1600"/>
            </a:lvl1pPr>
          </a:lstStyle>
          <a:p>
            <a:pPr marL="228600" lvl="0" indent="-228600" algn="ctr"/>
            <a:r>
              <a:rPr lang="nl-NL"/>
              <a:t>Click icon to insert an image</a:t>
            </a:r>
          </a:p>
        </p:txBody>
      </p:sp>
      <p:sp>
        <p:nvSpPr>
          <p:cNvPr id="10" name="TextBox 9">
            <a:extLst>
              <a:ext uri="{FF2B5EF4-FFF2-40B4-BE49-F238E27FC236}">
                <a16:creationId xmlns:a16="http://schemas.microsoft.com/office/drawing/2014/main" id="{B07E610D-E145-4D1E-A445-1C611A5DA4A9}"/>
              </a:ext>
            </a:extLst>
          </p:cNvPr>
          <p:cNvSpPr txBox="1"/>
          <p:nvPr userDrawn="1"/>
        </p:nvSpPr>
        <p:spPr>
          <a:xfrm>
            <a:off x="483986" y="6170897"/>
            <a:ext cx="5181214" cy="364908"/>
          </a:xfrm>
          <a:prstGeom prst="rect">
            <a:avLst/>
          </a:prstGeom>
          <a:noFill/>
        </p:spPr>
        <p:txBody>
          <a:bodyPr wrap="square" rIns="0" rtlCol="0">
            <a:spAutoFit/>
          </a:bodyPr>
          <a:lstStyle/>
          <a:p>
            <a:pPr>
              <a:lnSpc>
                <a:spcPts val="2500"/>
              </a:lnSpc>
            </a:pPr>
            <a:r>
              <a:rPr lang="en-US" sz="1000" b="1" i="1">
                <a:solidFill>
                  <a:schemeClr val="accent1"/>
                </a:solidFill>
                <a:latin typeface="Arial" panose="020B0604020202020204" pitchFamily="34" charset="0"/>
                <a:cs typeface="Arial" panose="020B0604020202020204" pitchFamily="34" charset="0"/>
              </a:rPr>
              <a:t>Helping people achieve a lifetime of financial security</a:t>
            </a:r>
          </a:p>
        </p:txBody>
      </p:sp>
      <p:grpSp>
        <p:nvGrpSpPr>
          <p:cNvPr id="12" name="Group 11">
            <a:extLst>
              <a:ext uri="{FF2B5EF4-FFF2-40B4-BE49-F238E27FC236}">
                <a16:creationId xmlns:a16="http://schemas.microsoft.com/office/drawing/2014/main" id="{68A88978-7913-4E90-B288-9AE500E16E20}"/>
              </a:ext>
            </a:extLst>
          </p:cNvPr>
          <p:cNvGrpSpPr/>
          <p:nvPr userDrawn="1"/>
        </p:nvGrpSpPr>
        <p:grpSpPr>
          <a:xfrm>
            <a:off x="588818" y="602856"/>
            <a:ext cx="1481679" cy="533904"/>
            <a:chOff x="3078163" y="2341563"/>
            <a:chExt cx="6035676" cy="2174875"/>
          </a:xfrm>
        </p:grpSpPr>
        <p:sp>
          <p:nvSpPr>
            <p:cNvPr id="13" name="Freeform 5">
              <a:extLst>
                <a:ext uri="{FF2B5EF4-FFF2-40B4-BE49-F238E27FC236}">
                  <a16:creationId xmlns:a16="http://schemas.microsoft.com/office/drawing/2014/main" id="{C4B07133-BDCF-4DEF-8328-AE61E51008A7}"/>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4" name="Freeform 6">
              <a:extLst>
                <a:ext uri="{FF2B5EF4-FFF2-40B4-BE49-F238E27FC236}">
                  <a16:creationId xmlns:a16="http://schemas.microsoft.com/office/drawing/2014/main" id="{4A9B9578-5B96-4DA5-ACA4-C4D7220453B3}"/>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5" name="Freeform 7">
              <a:extLst>
                <a:ext uri="{FF2B5EF4-FFF2-40B4-BE49-F238E27FC236}">
                  <a16:creationId xmlns:a16="http://schemas.microsoft.com/office/drawing/2014/main" id="{FD6CC141-220C-4F40-BE1F-E52274F5C77F}"/>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Freeform 8">
              <a:extLst>
                <a:ext uri="{FF2B5EF4-FFF2-40B4-BE49-F238E27FC236}">
                  <a16:creationId xmlns:a16="http://schemas.microsoft.com/office/drawing/2014/main" id="{7053CB1B-931C-46EF-BC8C-C7ABEE87B86A}"/>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7" name="Freeform 9">
              <a:extLst>
                <a:ext uri="{FF2B5EF4-FFF2-40B4-BE49-F238E27FC236}">
                  <a16:creationId xmlns:a16="http://schemas.microsoft.com/office/drawing/2014/main" id="{AADD7239-E20E-4B00-BD99-3CAC4A3277EB}"/>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8" name="Freeform 10">
              <a:extLst>
                <a:ext uri="{FF2B5EF4-FFF2-40B4-BE49-F238E27FC236}">
                  <a16:creationId xmlns:a16="http://schemas.microsoft.com/office/drawing/2014/main" id="{93317C15-03B3-4EEE-BA26-DEA037A24E88}"/>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9" name="Freeform 11">
              <a:extLst>
                <a:ext uri="{FF2B5EF4-FFF2-40B4-BE49-F238E27FC236}">
                  <a16:creationId xmlns:a16="http://schemas.microsoft.com/office/drawing/2014/main" id="{6E663A55-7BBF-40D7-8EDD-6AE1C3FAC416}"/>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
        <p:nvSpPr>
          <p:cNvPr id="20" name="Rectangle 3">
            <a:extLst>
              <a:ext uri="{FF2B5EF4-FFF2-40B4-BE49-F238E27FC236}">
                <a16:creationId xmlns:a16="http://schemas.microsoft.com/office/drawing/2014/main" id="{630D0D78-AE00-47B4-8380-D7F2219D1A24}"/>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067015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_Cover">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C568EA51-E381-4FE1-8966-210825EC768D}"/>
              </a:ext>
            </a:extLst>
          </p:cNvPr>
          <p:cNvSpPr/>
          <p:nvPr userDrawn="1"/>
        </p:nvSpPr>
        <p:spPr>
          <a:xfrm>
            <a:off x="0" y="-8306"/>
            <a:ext cx="6472972" cy="6866302"/>
          </a:xfrm>
          <a:custGeom>
            <a:avLst/>
            <a:gdLst>
              <a:gd name="connsiteX0" fmla="*/ 0 w 6238755"/>
              <a:gd name="connsiteY0" fmla="*/ 0 h 6875362"/>
              <a:gd name="connsiteX1" fmla="*/ 6238755 w 6238755"/>
              <a:gd name="connsiteY1" fmla="*/ 0 h 6875362"/>
              <a:gd name="connsiteX2" fmla="*/ 4155312 w 6238755"/>
              <a:gd name="connsiteY2" fmla="*/ 6875362 h 6875362"/>
              <a:gd name="connsiteX3" fmla="*/ 0 w 6238755"/>
              <a:gd name="connsiteY3" fmla="*/ 6875362 h 6875362"/>
              <a:gd name="connsiteX4" fmla="*/ 0 w 6238755"/>
              <a:gd name="connsiteY4" fmla="*/ 0 h 6875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8755" h="6875362">
                <a:moveTo>
                  <a:pt x="0" y="0"/>
                </a:moveTo>
                <a:lnTo>
                  <a:pt x="6238755" y="0"/>
                </a:lnTo>
                <a:lnTo>
                  <a:pt x="4155312" y="6875362"/>
                </a:lnTo>
                <a:lnTo>
                  <a:pt x="0" y="687536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88817" y="2081324"/>
            <a:ext cx="3868883" cy="2399236"/>
          </a:xfrm>
          <a:prstGeom prst="rect">
            <a:avLst/>
          </a:prstGeom>
        </p:spPr>
        <p:txBody>
          <a:bodyPr lIns="0" tIns="0" rIns="0" bIns="72000" anchor="ctr"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4665908"/>
            <a:ext cx="3708862" cy="304800"/>
          </a:xfrm>
          <a:prstGeom prst="rect">
            <a:avLst/>
          </a:prstGeom>
        </p:spPr>
        <p:txBody>
          <a:bodyPr lIns="0" anchor="ctr"/>
          <a:lstStyle>
            <a:lvl1pPr marL="0" indent="0">
              <a:buNone/>
              <a:defRPr sz="1400" b="0" i="0">
                <a:solidFill>
                  <a:schemeClr val="tx2"/>
                </a:solidFill>
              </a:defRPr>
            </a:lvl1pPr>
            <a:lvl2pPr marL="457200" indent="0">
              <a:buNone/>
              <a:defRPr sz="800" b="1" i="0">
                <a:solidFill>
                  <a:schemeClr val="bg1"/>
                </a:solidFill>
              </a:defRPr>
            </a:lvl2pPr>
            <a:lvl3pPr marL="914400" indent="0">
              <a:buNone/>
              <a:defRPr sz="800" i="1"/>
            </a:lvl3pPr>
            <a:lvl4pPr marL="1371600" indent="0">
              <a:buNone/>
              <a:defRPr sz="800" i="1"/>
            </a:lvl4pPr>
            <a:lvl5pPr marL="1828800" indent="0">
              <a:buNone/>
              <a:defRPr sz="800" i="1"/>
            </a:lvl5pPr>
          </a:lstStyle>
          <a:p>
            <a:pPr lvl="0"/>
            <a:r>
              <a:rPr lang="en-US"/>
              <a:t>City, Country, Date, Year</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4997458"/>
            <a:ext cx="3878262" cy="798650"/>
          </a:xfrm>
          <a:prstGeom prst="rect">
            <a:avLst/>
          </a:prstGeom>
        </p:spPr>
        <p:txBody>
          <a:bodyPr lIns="0"/>
          <a:lstStyle>
            <a:lvl1pPr marL="0" indent="0">
              <a:buNone/>
              <a:defRPr sz="1600" b="1">
                <a:solidFill>
                  <a:schemeClr val="tx2"/>
                </a:solidFill>
              </a:defRPr>
            </a:lvl1pPr>
            <a:lvl2pPr marL="0" indent="0">
              <a:buNone/>
              <a:defRPr sz="1400">
                <a:solidFill>
                  <a:schemeClr val="bg2"/>
                </a:solidFill>
              </a:defRPr>
            </a:lvl2pPr>
          </a:lstStyle>
          <a:p>
            <a:pPr lvl="0"/>
            <a:r>
              <a:rPr lang="en-US"/>
              <a:t>Name Speaker</a:t>
            </a:r>
          </a:p>
          <a:p>
            <a:pPr lvl="1"/>
            <a:r>
              <a:rPr lang="en-US"/>
              <a:t>Department or title</a:t>
            </a:r>
          </a:p>
        </p:txBody>
      </p:sp>
      <p:sp>
        <p:nvSpPr>
          <p:cNvPr id="22" name="Tijdelijke aanduiding voor afbeelding 21">
            <a:extLst>
              <a:ext uri="{FF2B5EF4-FFF2-40B4-BE49-F238E27FC236}">
                <a16:creationId xmlns:a16="http://schemas.microsoft.com/office/drawing/2014/main" id="{928394CF-99D3-4C70-89A7-B13E7CF52CF1}"/>
              </a:ext>
            </a:extLst>
          </p:cNvPr>
          <p:cNvSpPr>
            <a:spLocks noGrp="1"/>
          </p:cNvSpPr>
          <p:nvPr>
            <p:ph type="pic" sz="quarter" idx="12" hasCustomPrompt="1"/>
          </p:nvPr>
        </p:nvSpPr>
        <p:spPr>
          <a:xfrm>
            <a:off x="4133604" y="-2746"/>
            <a:ext cx="8058396" cy="6860742"/>
          </a:xfrm>
          <a:custGeom>
            <a:avLst/>
            <a:gdLst>
              <a:gd name="connsiteX0" fmla="*/ 2353565 w 8058396"/>
              <a:gd name="connsiteY0" fmla="*/ 0 h 6886413"/>
              <a:gd name="connsiteX1" fmla="*/ 8058396 w 8058396"/>
              <a:gd name="connsiteY1" fmla="*/ 11050 h 6886413"/>
              <a:gd name="connsiteX2" fmla="*/ 8058396 w 8058396"/>
              <a:gd name="connsiteY2" fmla="*/ 4027466 h 6886413"/>
              <a:gd name="connsiteX3" fmla="*/ 7082264 w 8058396"/>
              <a:gd name="connsiteY3" fmla="*/ 6886413 h 6886413"/>
              <a:gd name="connsiteX4" fmla="*/ 0 w 8058396"/>
              <a:gd name="connsiteY4" fmla="*/ 6880635 h 6886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8396" h="6886413">
                <a:moveTo>
                  <a:pt x="2353565" y="0"/>
                </a:moveTo>
                <a:lnTo>
                  <a:pt x="8058396" y="11050"/>
                </a:lnTo>
                <a:lnTo>
                  <a:pt x="8058396" y="4027466"/>
                </a:lnTo>
                <a:lnTo>
                  <a:pt x="7082264" y="6886413"/>
                </a:lnTo>
                <a:lnTo>
                  <a:pt x="0" y="6880635"/>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Font typeface="Arial" panose="020B0604020202020204" pitchFamily="34" charset="0"/>
              <a:buNone/>
              <a:defRPr lang="nl-NL" sz="1600"/>
            </a:lvl1pPr>
          </a:lstStyle>
          <a:p>
            <a:pPr marL="228600" lvl="0" indent="-228600" algn="ctr"/>
            <a:r>
              <a:rPr lang="nl-NL"/>
              <a:t>Click icon to insert an image</a:t>
            </a:r>
          </a:p>
        </p:txBody>
      </p:sp>
      <p:sp>
        <p:nvSpPr>
          <p:cNvPr id="10" name="TextBox 9">
            <a:extLst>
              <a:ext uri="{FF2B5EF4-FFF2-40B4-BE49-F238E27FC236}">
                <a16:creationId xmlns:a16="http://schemas.microsoft.com/office/drawing/2014/main" id="{B07E610D-E145-4D1E-A445-1C611A5DA4A9}"/>
              </a:ext>
            </a:extLst>
          </p:cNvPr>
          <p:cNvSpPr txBox="1"/>
          <p:nvPr userDrawn="1"/>
        </p:nvSpPr>
        <p:spPr>
          <a:xfrm>
            <a:off x="4742687" y="6025953"/>
            <a:ext cx="6470258" cy="385362"/>
          </a:xfrm>
          <a:prstGeom prst="rect">
            <a:avLst/>
          </a:prstGeom>
          <a:noFill/>
        </p:spPr>
        <p:txBody>
          <a:bodyPr wrap="square" rIns="0" rtlCol="0">
            <a:spAutoFit/>
          </a:bodyPr>
          <a:lstStyle/>
          <a:p>
            <a:pPr algn="l">
              <a:lnSpc>
                <a:spcPts val="2500"/>
              </a:lnSpc>
            </a:pPr>
            <a:r>
              <a:rPr lang="en-US" sz="1600" b="0" i="0">
                <a:solidFill>
                  <a:schemeClr val="accent1"/>
                </a:solidFill>
                <a:latin typeface="Arial" panose="020B0604020202020204" pitchFamily="34" charset="0"/>
                <a:cs typeface="Arial" panose="020B0604020202020204" pitchFamily="34" charset="0"/>
              </a:rPr>
              <a:t>Helping people achieve a lifetime of financial security</a:t>
            </a:r>
          </a:p>
        </p:txBody>
      </p:sp>
      <p:sp>
        <p:nvSpPr>
          <p:cNvPr id="20" name="Rectangle 3">
            <a:extLst>
              <a:ext uri="{FF2B5EF4-FFF2-40B4-BE49-F238E27FC236}">
                <a16:creationId xmlns:a16="http://schemas.microsoft.com/office/drawing/2014/main" id="{630D0D78-AE00-47B4-8380-D7F2219D1A24}"/>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2" name="Picture 31" descr="A close up of a logo&#10;&#10;Description automatically generated">
            <a:extLst>
              <a:ext uri="{FF2B5EF4-FFF2-40B4-BE49-F238E27FC236}">
                <a16:creationId xmlns:a16="http://schemas.microsoft.com/office/drawing/2014/main" id="{1493A41B-8A8D-ED4A-A236-E590C2AA41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5" y="-8305"/>
            <a:ext cx="2321311" cy="1332543"/>
          </a:xfrm>
          <a:prstGeom prst="rect">
            <a:avLst/>
          </a:prstGeom>
        </p:spPr>
      </p:pic>
      <p:cxnSp>
        <p:nvCxnSpPr>
          <p:cNvPr id="35" name="Straight Connector 34">
            <a:extLst>
              <a:ext uri="{FF2B5EF4-FFF2-40B4-BE49-F238E27FC236}">
                <a16:creationId xmlns:a16="http://schemas.microsoft.com/office/drawing/2014/main" id="{17883AC0-6D1C-EE41-9931-F3B3B6260781}"/>
              </a:ext>
            </a:extLst>
          </p:cNvPr>
          <p:cNvCxnSpPr>
            <a:cxnSpLocks/>
          </p:cNvCxnSpPr>
          <p:nvPr userDrawn="1"/>
        </p:nvCxnSpPr>
        <p:spPr>
          <a:xfrm>
            <a:off x="579437" y="5796108"/>
            <a:ext cx="380244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5">
            <a:extLst>
              <a:ext uri="{FF2B5EF4-FFF2-40B4-BE49-F238E27FC236}">
                <a16:creationId xmlns:a16="http://schemas.microsoft.com/office/drawing/2014/main" id="{12CA51AA-C581-E342-8DE0-1F5E29C1B0D4}"/>
              </a:ext>
            </a:extLst>
          </p:cNvPr>
          <p:cNvSpPr>
            <a:spLocks noGrp="1"/>
          </p:cNvSpPr>
          <p:nvPr>
            <p:ph type="body" sz="quarter" idx="13" hasCustomPrompt="1"/>
          </p:nvPr>
        </p:nvSpPr>
        <p:spPr>
          <a:xfrm>
            <a:off x="588817" y="6089127"/>
            <a:ext cx="3878262" cy="402963"/>
          </a:xfrm>
          <a:prstGeom prst="rect">
            <a:avLst/>
          </a:prstGeom>
        </p:spPr>
        <p:txBody>
          <a:bodyPr lIns="0"/>
          <a:lstStyle>
            <a:lvl1pPr marL="0" indent="0">
              <a:buNone/>
              <a:defRPr sz="1600" b="1" baseline="0">
                <a:solidFill>
                  <a:schemeClr val="tx2"/>
                </a:solidFill>
              </a:defRPr>
            </a:lvl1pPr>
            <a:lvl2pPr marL="0" indent="0">
              <a:buNone/>
              <a:defRPr sz="1400">
                <a:solidFill>
                  <a:schemeClr val="bg2"/>
                </a:solidFill>
              </a:defRPr>
            </a:lvl2pPr>
          </a:lstStyle>
          <a:p>
            <a:pPr lvl="0"/>
            <a:r>
              <a:rPr lang="en-US"/>
              <a:t>Department or region name</a:t>
            </a:r>
          </a:p>
        </p:txBody>
      </p:sp>
    </p:spTree>
    <p:extLst>
      <p:ext uri="{BB962C8B-B14F-4D97-AF65-F5344CB8AC3E}">
        <p14:creationId xmlns:p14="http://schemas.microsoft.com/office/powerpoint/2010/main" val="349717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10" name="Tijdelijke aanduiding voor tekst 11">
            <a:extLst>
              <a:ext uri="{FF2B5EF4-FFF2-40B4-BE49-F238E27FC236}">
                <a16:creationId xmlns:a16="http://schemas.microsoft.com/office/drawing/2014/main" id="{70F47ED5-EA33-9A45-AC79-FAA2FFD22658}"/>
              </a:ext>
            </a:extLst>
          </p:cNvPr>
          <p:cNvSpPr>
            <a:spLocks noGrp="1"/>
          </p:cNvSpPr>
          <p:nvPr>
            <p:ph type="body" sz="quarter" idx="13"/>
          </p:nvPr>
        </p:nvSpPr>
        <p:spPr>
          <a:xfrm>
            <a:off x="587375" y="2241596"/>
            <a:ext cx="9602536" cy="3972653"/>
          </a:xfrm>
          <a:prstGeom prst="rect">
            <a:avLst/>
          </a:prstGeom>
        </p:spPr>
        <p:txBody>
          <a:bodyPr lIns="0" tIns="0" rIns="0" bIns="0"/>
          <a:lstStyle>
            <a:lvl1pPr marL="0" indent="0">
              <a:buClr>
                <a:schemeClr val="accent1"/>
              </a:buClr>
              <a:buFontTx/>
              <a:buNone/>
              <a:defRPr lang="en-GB" sz="1400" b="0" i="0" smtClean="0">
                <a:solidFill>
                  <a:schemeClr val="tx2"/>
                </a:solidFill>
                <a:effectLst/>
                <a:latin typeface="Arial" panose="020B0604020202020204" pitchFamily="34" charset="0"/>
                <a:cs typeface="Arial" panose="020B0604020202020204" pitchFamily="34" charset="0"/>
              </a:defRPr>
            </a:lvl1pPr>
            <a:lvl2pPr marL="625475" indent="-266700">
              <a:buClr>
                <a:schemeClr val="accent1"/>
              </a:buClr>
              <a:buFont typeface="Calibri" panose="020F0502020204030204" pitchFamily="34" charset="0"/>
              <a:buChar char="-"/>
              <a:defRPr sz="1400">
                <a:solidFill>
                  <a:schemeClr val="tx2"/>
                </a:solidFill>
              </a:defRPr>
            </a:lvl2pPr>
            <a:lvl3pPr marL="890588" indent="-265113">
              <a:buClr>
                <a:schemeClr val="accent1"/>
              </a:buClr>
              <a:buFont typeface="Wingdings" panose="05000000000000000000" pitchFamily="2" charset="2"/>
              <a:buChar char="§"/>
              <a:defRPr sz="1400">
                <a:solidFill>
                  <a:schemeClr val="tx2"/>
                </a:solidFill>
              </a:defRPr>
            </a:lvl3pPr>
          </a:lstStyle>
          <a:p>
            <a:pPr lvl="0"/>
            <a:endParaRPr lang="en-GB"/>
          </a:p>
        </p:txBody>
      </p:sp>
      <p:sp>
        <p:nvSpPr>
          <p:cNvPr id="15" name="Triangle 4">
            <a:extLst>
              <a:ext uri="{FF2B5EF4-FFF2-40B4-BE49-F238E27FC236}">
                <a16:creationId xmlns:a16="http://schemas.microsoft.com/office/drawing/2014/main" id="{099EE430-B514-0542-98B2-B665F9A85E1D}"/>
              </a:ext>
            </a:extLst>
          </p:cNvPr>
          <p:cNvSpPr/>
          <p:nvPr userDrawn="1"/>
        </p:nvSpPr>
        <p:spPr>
          <a:xfrm rot="15194351">
            <a:off x="-870387" y="-914255"/>
            <a:ext cx="7383082" cy="7705528"/>
          </a:xfrm>
          <a:custGeom>
            <a:avLst/>
            <a:gdLst>
              <a:gd name="connsiteX0" fmla="*/ 0 w 6624933"/>
              <a:gd name="connsiteY0" fmla="*/ 7259611 h 7259611"/>
              <a:gd name="connsiteX1" fmla="*/ 1656233 w 6624933"/>
              <a:gd name="connsiteY1" fmla="*/ 0 h 7259611"/>
              <a:gd name="connsiteX2" fmla="*/ 4968700 w 6624933"/>
              <a:gd name="connsiteY2" fmla="*/ 0 h 7259611"/>
              <a:gd name="connsiteX3" fmla="*/ 6624933 w 6624933"/>
              <a:gd name="connsiteY3" fmla="*/ 7259611 h 7259611"/>
              <a:gd name="connsiteX4" fmla="*/ 0 w 6624933"/>
              <a:gd name="connsiteY4" fmla="*/ 7259611 h 7259611"/>
              <a:gd name="connsiteX0" fmla="*/ 0 w 7783412"/>
              <a:gd name="connsiteY0" fmla="*/ 7259611 h 7259611"/>
              <a:gd name="connsiteX1" fmla="*/ 1656233 w 7783412"/>
              <a:gd name="connsiteY1" fmla="*/ 0 h 7259611"/>
              <a:gd name="connsiteX2" fmla="*/ 7783412 w 7783412"/>
              <a:gd name="connsiteY2" fmla="*/ 1247918 h 7259611"/>
              <a:gd name="connsiteX3" fmla="*/ 6624933 w 7783412"/>
              <a:gd name="connsiteY3" fmla="*/ 7259611 h 7259611"/>
              <a:gd name="connsiteX4" fmla="*/ 0 w 7783412"/>
              <a:gd name="connsiteY4" fmla="*/ 7259611 h 7259611"/>
              <a:gd name="connsiteX0" fmla="*/ 0 w 7783412"/>
              <a:gd name="connsiteY0" fmla="*/ 7259611 h 7259611"/>
              <a:gd name="connsiteX1" fmla="*/ 1656233 w 7783412"/>
              <a:gd name="connsiteY1" fmla="*/ 0 h 7259611"/>
              <a:gd name="connsiteX2" fmla="*/ 7783412 w 7783412"/>
              <a:gd name="connsiteY2" fmla="*/ 1247918 h 7259611"/>
              <a:gd name="connsiteX3" fmla="*/ 6189517 w 7783412"/>
              <a:gd name="connsiteY3" fmla="*/ 6985735 h 7259611"/>
              <a:gd name="connsiteX4" fmla="*/ 0 w 7783412"/>
              <a:gd name="connsiteY4" fmla="*/ 7259611 h 7259611"/>
              <a:gd name="connsiteX0" fmla="*/ 0 w 7783412"/>
              <a:gd name="connsiteY0" fmla="*/ 7868396 h 7868396"/>
              <a:gd name="connsiteX1" fmla="*/ 1209883 w 7783412"/>
              <a:gd name="connsiteY1" fmla="*/ 0 h 7868396"/>
              <a:gd name="connsiteX2" fmla="*/ 7783412 w 7783412"/>
              <a:gd name="connsiteY2" fmla="*/ 1856703 h 7868396"/>
              <a:gd name="connsiteX3" fmla="*/ 6189517 w 7783412"/>
              <a:gd name="connsiteY3" fmla="*/ 7594520 h 7868396"/>
              <a:gd name="connsiteX4" fmla="*/ 0 w 7783412"/>
              <a:gd name="connsiteY4" fmla="*/ 7868396 h 7868396"/>
              <a:gd name="connsiteX0" fmla="*/ 0 w 7245116"/>
              <a:gd name="connsiteY0" fmla="*/ 2334330 h 7594520"/>
              <a:gd name="connsiteX1" fmla="*/ 671587 w 7245116"/>
              <a:gd name="connsiteY1" fmla="*/ 0 h 7594520"/>
              <a:gd name="connsiteX2" fmla="*/ 7245116 w 7245116"/>
              <a:gd name="connsiteY2" fmla="*/ 1856703 h 7594520"/>
              <a:gd name="connsiteX3" fmla="*/ 5651221 w 7245116"/>
              <a:gd name="connsiteY3" fmla="*/ 7594520 h 7594520"/>
              <a:gd name="connsiteX4" fmla="*/ 0 w 7245116"/>
              <a:gd name="connsiteY4" fmla="*/ 2334330 h 7594520"/>
              <a:gd name="connsiteX0" fmla="*/ 0 w 7273050"/>
              <a:gd name="connsiteY0" fmla="*/ 2334330 h 7594520"/>
              <a:gd name="connsiteX1" fmla="*/ 671587 w 7273050"/>
              <a:gd name="connsiteY1" fmla="*/ 0 h 7594520"/>
              <a:gd name="connsiteX2" fmla="*/ 7273050 w 7273050"/>
              <a:gd name="connsiteY2" fmla="*/ 1864598 h 7594520"/>
              <a:gd name="connsiteX3" fmla="*/ 5651221 w 7273050"/>
              <a:gd name="connsiteY3" fmla="*/ 7594520 h 7594520"/>
              <a:gd name="connsiteX4" fmla="*/ 0 w 7273050"/>
              <a:gd name="connsiteY4" fmla="*/ 2334330 h 7594520"/>
              <a:gd name="connsiteX0" fmla="*/ 0 w 7273050"/>
              <a:gd name="connsiteY0" fmla="*/ 2334330 h 7995624"/>
              <a:gd name="connsiteX1" fmla="*/ 671587 w 7273050"/>
              <a:gd name="connsiteY1" fmla="*/ 0 h 7995624"/>
              <a:gd name="connsiteX2" fmla="*/ 7273050 w 7273050"/>
              <a:gd name="connsiteY2" fmla="*/ 1864598 h 7995624"/>
              <a:gd name="connsiteX3" fmla="*/ 5522787 w 7273050"/>
              <a:gd name="connsiteY3" fmla="*/ 7995624 h 7995624"/>
              <a:gd name="connsiteX4" fmla="*/ 0 w 7273050"/>
              <a:gd name="connsiteY4" fmla="*/ 2334330 h 7995624"/>
              <a:gd name="connsiteX0" fmla="*/ 0 w 6675901"/>
              <a:gd name="connsiteY0" fmla="*/ 2334330 h 7995624"/>
              <a:gd name="connsiteX1" fmla="*/ 671587 w 6675901"/>
              <a:gd name="connsiteY1" fmla="*/ 0 h 7995624"/>
              <a:gd name="connsiteX2" fmla="*/ 6675901 w 6675901"/>
              <a:gd name="connsiteY2" fmla="*/ 3910404 h 7995624"/>
              <a:gd name="connsiteX3" fmla="*/ 5522787 w 6675901"/>
              <a:gd name="connsiteY3" fmla="*/ 7995624 h 7995624"/>
              <a:gd name="connsiteX4" fmla="*/ 0 w 6675901"/>
              <a:gd name="connsiteY4" fmla="*/ 2334330 h 7995624"/>
              <a:gd name="connsiteX0" fmla="*/ 0 w 6675901"/>
              <a:gd name="connsiteY0" fmla="*/ 0 h 5661294"/>
              <a:gd name="connsiteX1" fmla="*/ 2353734 w 6675901"/>
              <a:gd name="connsiteY1" fmla="*/ 154335 h 5661294"/>
              <a:gd name="connsiteX2" fmla="*/ 6675901 w 6675901"/>
              <a:gd name="connsiteY2" fmla="*/ 1576074 h 5661294"/>
              <a:gd name="connsiteX3" fmla="*/ 5522787 w 6675901"/>
              <a:gd name="connsiteY3" fmla="*/ 5661294 h 5661294"/>
              <a:gd name="connsiteX4" fmla="*/ 0 w 6675901"/>
              <a:gd name="connsiteY4" fmla="*/ 0 h 5661294"/>
              <a:gd name="connsiteX0" fmla="*/ 0 w 4869510"/>
              <a:gd name="connsiteY0" fmla="*/ 1675630 h 5506959"/>
              <a:gd name="connsiteX1" fmla="*/ 547343 w 4869510"/>
              <a:gd name="connsiteY1" fmla="*/ 0 h 5506959"/>
              <a:gd name="connsiteX2" fmla="*/ 4869510 w 4869510"/>
              <a:gd name="connsiteY2" fmla="*/ 1421739 h 5506959"/>
              <a:gd name="connsiteX3" fmla="*/ 3716396 w 4869510"/>
              <a:gd name="connsiteY3" fmla="*/ 5506959 h 5506959"/>
              <a:gd name="connsiteX4" fmla="*/ 0 w 4869510"/>
              <a:gd name="connsiteY4" fmla="*/ 1675630 h 5506959"/>
              <a:gd name="connsiteX0" fmla="*/ 0 w 4869510"/>
              <a:gd name="connsiteY0" fmla="*/ 1683001 h 5514330"/>
              <a:gd name="connsiteX1" fmla="*/ 476150 w 4869510"/>
              <a:gd name="connsiteY1" fmla="*/ 0 h 5514330"/>
              <a:gd name="connsiteX2" fmla="*/ 4869510 w 4869510"/>
              <a:gd name="connsiteY2" fmla="*/ 1429110 h 5514330"/>
              <a:gd name="connsiteX3" fmla="*/ 3716396 w 4869510"/>
              <a:gd name="connsiteY3" fmla="*/ 5514330 h 5514330"/>
              <a:gd name="connsiteX4" fmla="*/ 0 w 4869510"/>
              <a:gd name="connsiteY4" fmla="*/ 1683001 h 5514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9510" h="5514330">
                <a:moveTo>
                  <a:pt x="0" y="1683001"/>
                </a:moveTo>
                <a:lnTo>
                  <a:pt x="476150" y="0"/>
                </a:lnTo>
                <a:lnTo>
                  <a:pt x="4869510" y="1429110"/>
                </a:lnTo>
                <a:lnTo>
                  <a:pt x="3716396" y="5514330"/>
                </a:lnTo>
                <a:lnTo>
                  <a:pt x="0" y="1683001"/>
                </a:lnTo>
                <a:close/>
              </a:path>
            </a:pathLst>
          </a:custGeom>
          <a:gradFill flip="none" rotWithShape="1">
            <a:gsLst>
              <a:gs pos="50000">
                <a:schemeClr val="bg1">
                  <a:alpha val="0"/>
                </a:schemeClr>
              </a:gs>
              <a:gs pos="100000">
                <a:schemeClr val="bg1">
                  <a:alpha val="55000"/>
                </a:schemeClr>
              </a:gs>
            </a:gsLst>
            <a:lin ang="27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BCB1CEFF-46BF-AB4C-B0A8-E0B9436F7AC9}"/>
              </a:ext>
            </a:extLst>
          </p:cNvPr>
          <p:cNvSpPr>
            <a:spLocks noGrp="1"/>
          </p:cNvSpPr>
          <p:nvPr>
            <p:ph type="title" hasCustomPrompt="1"/>
          </p:nvPr>
        </p:nvSpPr>
        <p:spPr>
          <a:xfrm>
            <a:off x="606801" y="615315"/>
            <a:ext cx="9579190" cy="1130466"/>
          </a:xfrm>
          <a:prstGeom prst="rect">
            <a:avLst/>
          </a:prstGeom>
        </p:spPr>
        <p:txBody>
          <a:bodyPr lIns="0" tIns="0" rIns="0" bIns="72000" anchor="t" anchorCtr="0"/>
          <a:lstStyle>
            <a:lvl1pPr>
              <a:defRPr sz="3600">
                <a:solidFill>
                  <a:schemeClr val="bg2"/>
                </a:solidFill>
              </a:defRPr>
            </a:lvl1pPr>
          </a:lstStyle>
          <a:p>
            <a:r>
              <a:rPr lang="en-GB"/>
              <a:t>Text slide</a:t>
            </a:r>
            <a:endParaRPr lang="nl-NL"/>
          </a:p>
        </p:txBody>
      </p:sp>
      <p:sp>
        <p:nvSpPr>
          <p:cNvPr id="13" name="TextBox 12">
            <a:extLst>
              <a:ext uri="{FF2B5EF4-FFF2-40B4-BE49-F238E27FC236}">
                <a16:creationId xmlns:a16="http://schemas.microsoft.com/office/drawing/2014/main" id="{56A78754-7D90-3C4A-8FB4-B54539FFA560}"/>
              </a:ext>
            </a:extLst>
          </p:cNvPr>
          <p:cNvSpPr txBox="1"/>
          <p:nvPr userDrawn="1"/>
        </p:nvSpPr>
        <p:spPr>
          <a:xfrm>
            <a:off x="334130" y="6413014"/>
            <a:ext cx="681872" cy="246221"/>
          </a:xfrm>
          <a:prstGeom prst="rect">
            <a:avLst/>
          </a:prstGeom>
          <a:noFill/>
        </p:spPr>
        <p:txBody>
          <a:bodyPr wrap="square" rtlCol="0" anchor="ctr">
            <a:spAutoFit/>
          </a:bodyPr>
          <a:lstStyle/>
          <a:p>
            <a:pPr algn="ctr"/>
            <a:fld id="{4179701B-2C59-7348-8178-03E6727D2236}" type="slidenum">
              <a:rPr lang="en-GB" sz="1000" smtClean="0">
                <a:solidFill>
                  <a:schemeClr val="accent1"/>
                </a:solidFill>
              </a:rPr>
              <a:t>‹#›</a:t>
            </a:fld>
            <a:endParaRPr lang="en-GB" sz="1000">
              <a:solidFill>
                <a:schemeClr val="accent1"/>
              </a:solidFill>
            </a:endParaRPr>
          </a:p>
        </p:txBody>
      </p:sp>
    </p:spTree>
    <p:extLst>
      <p:ext uri="{BB962C8B-B14F-4D97-AF65-F5344CB8AC3E}">
        <p14:creationId xmlns:p14="http://schemas.microsoft.com/office/powerpoint/2010/main" val="1707351201"/>
      </p:ext>
    </p:extLst>
  </p:cSld>
  <p:clrMapOvr>
    <a:masterClrMapping/>
  </p:clrMapOvr>
  <p:transition spd="med">
    <p:fade/>
  </p:transition>
  <p:extLst>
    <p:ext uri="{DCECCB84-F9BA-43D5-87BE-67443E8EF086}">
      <p15:sldGuideLst xmlns:p15="http://schemas.microsoft.com/office/powerpoint/2012/main">
        <p15:guide id="1" orient="horz" pos="38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9145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spcBef>
                <a:spcPts val="300"/>
              </a:spcBef>
              <a:spcAft>
                <a:spcPts val="300"/>
              </a:spcAft>
            </a:pPr>
            <a:endParaRPr lang="en-US" sz="3600" b="0" i="0" baseline="0">
              <a:solidFill>
                <a:schemeClr val="bg1"/>
              </a:solidFill>
              <a:latin typeface="Arial" panose="020B0604020202020204" pitchFamily="34" charset="0"/>
              <a:ea typeface="+mj-ea"/>
              <a:cs typeface="+mj-cs"/>
              <a:sym typeface="Arial" panose="020B0604020202020204" pitchFamily="34" charset="0"/>
            </a:endParaRPr>
          </a:p>
        </p:txBody>
      </p:sp>
      <p:pic>
        <p:nvPicPr>
          <p:cNvPr id="14" name="Picture 13">
            <a:extLst>
              <a:ext uri="{FF2B5EF4-FFF2-40B4-BE49-F238E27FC236}">
                <a16:creationId xmlns:a16="http://schemas.microsoft.com/office/drawing/2014/main" id="{066517BD-CED6-41A0-9424-5298E82CCA47}"/>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31666" y="4511749"/>
            <a:ext cx="386607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a:t>Edit date or title/role</a:t>
            </a:r>
          </a:p>
        </p:txBody>
      </p:sp>
      <p:sp>
        <p:nvSpPr>
          <p:cNvPr id="11" name="Rectangle 3">
            <a:extLst>
              <a:ext uri="{FF2B5EF4-FFF2-40B4-BE49-F238E27FC236}">
                <a16:creationId xmlns:a16="http://schemas.microsoft.com/office/drawing/2014/main" id="{C8D1BAA3-60A7-40C0-A64F-5BA2BD5CA2D1}"/>
              </a:ext>
            </a:extLst>
          </p:cNvPr>
          <p:cNvSpPr/>
          <p:nvPr userDrawn="1"/>
        </p:nvSpPr>
        <p:spPr>
          <a:xfrm>
            <a:off x="11188701" y="3887729"/>
            <a:ext cx="1016000" cy="2970271"/>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rgbClr val="0069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2" name="TextBox 13">
            <a:extLst>
              <a:ext uri="{FF2B5EF4-FFF2-40B4-BE49-F238E27FC236}">
                <a16:creationId xmlns:a16="http://schemas.microsoft.com/office/drawing/2014/main" id="{FE407A0C-1E3B-4A05-A78A-1374E0537158}"/>
              </a:ext>
            </a:extLst>
          </p:cNvPr>
          <p:cNvSpPr txBox="1"/>
          <p:nvPr userDrawn="1"/>
        </p:nvSpPr>
        <p:spPr>
          <a:xfrm>
            <a:off x="531666" y="6219002"/>
            <a:ext cx="4626377" cy="638998"/>
          </a:xfrm>
          <a:prstGeom prst="rect">
            <a:avLst/>
          </a:prstGeom>
          <a:noFill/>
        </p:spPr>
        <p:txBody>
          <a:bodyPr wrap="none" lIns="0" rIns="0" rtlCol="0" anchor="ctr" anchorCtr="0">
            <a:noAutofit/>
          </a:bodyPr>
          <a:lstStyle/>
          <a:p>
            <a:pPr>
              <a:lnSpc>
                <a:spcPts val="2500"/>
              </a:lnSpc>
            </a:pPr>
            <a:r>
              <a:rPr lang="en-US" sz="1000" b="1" i="1">
                <a:solidFill>
                  <a:schemeClr val="accent1"/>
                </a:solidFill>
                <a:cs typeface="Arial" panose="020B0604020202020204" pitchFamily="34" charset="0"/>
              </a:rPr>
              <a:t>Helping people achieve a lifetime of financial security</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31666" y="3298313"/>
            <a:ext cx="386607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b="1" dirty="0">
                <a:solidFill>
                  <a:schemeClr val="tx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31666" y="1838656"/>
            <a:ext cx="4645152" cy="11079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3600" dirty="0">
                <a:solidFill>
                  <a:schemeClr val="accent1"/>
                </a:solidFill>
              </a:defRPr>
            </a:lvl1pPr>
          </a:lstStyle>
          <a:p>
            <a:pPr lvl="0"/>
            <a:r>
              <a:rPr lang="en-US"/>
              <a:t>Click to edit Master title style</a:t>
            </a:r>
          </a:p>
        </p:txBody>
      </p:sp>
      <p:pic>
        <p:nvPicPr>
          <p:cNvPr id="13" name="Picture 12">
            <a:extLst>
              <a:ext uri="{FF2B5EF4-FFF2-40B4-BE49-F238E27FC236}">
                <a16:creationId xmlns:a16="http://schemas.microsoft.com/office/drawing/2014/main" id="{6318411C-F6D3-4EB0-ACC5-F84C738FB366}"/>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295" y="-8305"/>
            <a:ext cx="2321311" cy="1332543"/>
          </a:xfrm>
          <a:prstGeom prst="rect">
            <a:avLst/>
          </a:prstGeom>
        </p:spPr>
      </p:pic>
    </p:spTree>
    <p:extLst>
      <p:ext uri="{BB962C8B-B14F-4D97-AF65-F5344CB8AC3E}">
        <p14:creationId xmlns:p14="http://schemas.microsoft.com/office/powerpoint/2010/main" val="346943214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4944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56932"/>
            <a:ext cx="11082528" cy="38472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53933"/>
            <a:ext cx="11082528" cy="276999"/>
          </a:xfrm>
          <a:prstGeom prst="rect">
            <a:avLst/>
          </a:prstGeom>
        </p:spPr>
        <p:txBody>
          <a:bodyPr vert="horz" wrap="square" lIns="0" tIns="0" rIns="0" bIns="0" rtlCol="0">
            <a:noAutofit/>
          </a:bodyPr>
          <a:lstStyle>
            <a:lvl1pPr>
              <a:defRPr lang="en-US" sz="1800" b="1" dirty="0">
                <a:solidFill>
                  <a:schemeClr val="tx2"/>
                </a:solidFill>
              </a:defRPr>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29" name="Slide Number">
            <a:extLst>
              <a:ext uri="{FF2B5EF4-FFF2-40B4-BE49-F238E27FC236}">
                <a16:creationId xmlns:a16="http://schemas.microsoft.com/office/drawing/2014/main" id="{E0104528-CC0C-42B2-AF9F-07E04955F5E0}"/>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5315164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97115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C3F1A89E-D0C5-45F7-8AF9-E7B50C941994}"/>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6656262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019221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E0E016BF-9936-4AF4-89C5-B782612726A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09707945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868906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0F53DC0C-D0A5-4B3D-BB09-8BFDBC3680C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65360842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11023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0E9CC3CB-55A5-4DC6-8D5F-0C6664A0F2E8}"/>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773516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91016" y="1477881"/>
            <a:ext cx="2759201" cy="380642"/>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cxnSp>
        <p:nvCxnSpPr>
          <p:cNvPr id="15" name="Straight Connector 59"/>
          <p:cNvCxnSpPr/>
          <p:nvPr userDrawn="1"/>
        </p:nvCxnSpPr>
        <p:spPr>
          <a:xfrm>
            <a:off x="4067557" y="1349411"/>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91016" y="1892887"/>
            <a:ext cx="2759566" cy="380642"/>
          </a:xfrm>
          <a:prstGeom prst="rect">
            <a:avLst/>
          </a:prstGeom>
        </p:spPr>
        <p:txBody>
          <a:bodyPr/>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cxnSp>
        <p:nvCxnSpPr>
          <p:cNvPr id="52" name="Straight Connector 59"/>
          <p:cNvCxnSpPr/>
          <p:nvPr userDrawn="1"/>
        </p:nvCxnSpPr>
        <p:spPr>
          <a:xfrm>
            <a:off x="7897494" y="1349411"/>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558082" y="1477881"/>
            <a:ext cx="688393"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1291016" y="2868420"/>
            <a:ext cx="2759201" cy="376595"/>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74" name="Tijdelijke aanduiding voor tekst 37"/>
          <p:cNvSpPr>
            <a:spLocks noGrp="1"/>
          </p:cNvSpPr>
          <p:nvPr>
            <p:ph type="body" sz="quarter" idx="39" hasCustomPrompt="1"/>
          </p:nvPr>
        </p:nvSpPr>
        <p:spPr>
          <a:xfrm>
            <a:off x="1291016" y="3255173"/>
            <a:ext cx="2759566" cy="380642"/>
          </a:xfrm>
          <a:prstGeom prst="rect">
            <a:avLst/>
          </a:prstGeom>
        </p:spPr>
        <p:txBody>
          <a:bodyPr/>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75" name="Tijdelijke aanduiding voor tekst 71"/>
          <p:cNvSpPr>
            <a:spLocks noGrp="1"/>
          </p:cNvSpPr>
          <p:nvPr>
            <p:ph type="body" sz="quarter" idx="40" hasCustomPrompt="1"/>
          </p:nvPr>
        </p:nvSpPr>
        <p:spPr>
          <a:xfrm>
            <a:off x="558082" y="2868420"/>
            <a:ext cx="688393"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1291016" y="4258955"/>
            <a:ext cx="2759201" cy="380642"/>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77" name="Tijdelijke aanduiding voor tekst 37"/>
          <p:cNvSpPr>
            <a:spLocks noGrp="1"/>
          </p:cNvSpPr>
          <p:nvPr>
            <p:ph type="body" sz="quarter" idx="42" hasCustomPrompt="1"/>
          </p:nvPr>
        </p:nvSpPr>
        <p:spPr>
          <a:xfrm>
            <a:off x="1291016" y="4646200"/>
            <a:ext cx="2759566" cy="380642"/>
          </a:xfrm>
          <a:prstGeom prst="rect">
            <a:avLst/>
          </a:prstGeom>
        </p:spPr>
        <p:txBody>
          <a:bodyPr/>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78" name="Tijdelijke aanduiding voor tekst 71"/>
          <p:cNvSpPr>
            <a:spLocks noGrp="1"/>
          </p:cNvSpPr>
          <p:nvPr>
            <p:ph type="body" sz="quarter" idx="43" hasCustomPrompt="1"/>
          </p:nvPr>
        </p:nvSpPr>
        <p:spPr>
          <a:xfrm>
            <a:off x="558082" y="4258957"/>
            <a:ext cx="688393"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79" name="Tijdelijke aanduiding voor tekst 35"/>
          <p:cNvSpPr>
            <a:spLocks noGrp="1"/>
          </p:cNvSpPr>
          <p:nvPr>
            <p:ph type="body" sz="quarter" idx="44" hasCustomPrompt="1"/>
          </p:nvPr>
        </p:nvSpPr>
        <p:spPr>
          <a:xfrm>
            <a:off x="5061466" y="1477881"/>
            <a:ext cx="2759201" cy="380642"/>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80" name="Tijdelijke aanduiding voor tekst 37"/>
          <p:cNvSpPr>
            <a:spLocks noGrp="1"/>
          </p:cNvSpPr>
          <p:nvPr>
            <p:ph type="body" sz="quarter" idx="45" hasCustomPrompt="1"/>
          </p:nvPr>
        </p:nvSpPr>
        <p:spPr>
          <a:xfrm>
            <a:off x="5061465" y="1892887"/>
            <a:ext cx="2759566" cy="380642"/>
          </a:xfrm>
          <a:prstGeom prst="rect">
            <a:avLst/>
          </a:prstGeom>
        </p:spPr>
        <p:txBody>
          <a:bodyPr/>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81" name="Tijdelijke aanduiding voor tekst 71"/>
          <p:cNvSpPr>
            <a:spLocks noGrp="1"/>
          </p:cNvSpPr>
          <p:nvPr>
            <p:ph type="body" sz="quarter" idx="46" hasCustomPrompt="1"/>
          </p:nvPr>
        </p:nvSpPr>
        <p:spPr>
          <a:xfrm>
            <a:off x="4328532" y="1477881"/>
            <a:ext cx="688393"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82" name="Tijdelijke aanduiding voor tekst 35"/>
          <p:cNvSpPr>
            <a:spLocks noGrp="1"/>
          </p:cNvSpPr>
          <p:nvPr>
            <p:ph type="body" sz="quarter" idx="47" hasCustomPrompt="1"/>
          </p:nvPr>
        </p:nvSpPr>
        <p:spPr>
          <a:xfrm>
            <a:off x="5061466" y="2868420"/>
            <a:ext cx="2759201" cy="376595"/>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83" name="Tijdelijke aanduiding voor tekst 37"/>
          <p:cNvSpPr>
            <a:spLocks noGrp="1"/>
          </p:cNvSpPr>
          <p:nvPr>
            <p:ph type="body" sz="quarter" idx="48" hasCustomPrompt="1"/>
          </p:nvPr>
        </p:nvSpPr>
        <p:spPr>
          <a:xfrm>
            <a:off x="5061465" y="3255173"/>
            <a:ext cx="2759566" cy="380642"/>
          </a:xfrm>
          <a:prstGeom prst="rect">
            <a:avLst/>
          </a:prstGeom>
        </p:spPr>
        <p:txBody>
          <a:bodyPr/>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84" name="Tijdelijke aanduiding voor tekst 71"/>
          <p:cNvSpPr>
            <a:spLocks noGrp="1"/>
          </p:cNvSpPr>
          <p:nvPr>
            <p:ph type="body" sz="quarter" idx="49" hasCustomPrompt="1"/>
          </p:nvPr>
        </p:nvSpPr>
        <p:spPr>
          <a:xfrm>
            <a:off x="4328532" y="2868420"/>
            <a:ext cx="688393"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85" name="Tijdelijke aanduiding voor tekst 35"/>
          <p:cNvSpPr>
            <a:spLocks noGrp="1"/>
          </p:cNvSpPr>
          <p:nvPr>
            <p:ph type="body" sz="quarter" idx="50" hasCustomPrompt="1"/>
          </p:nvPr>
        </p:nvSpPr>
        <p:spPr>
          <a:xfrm>
            <a:off x="5061466" y="4258955"/>
            <a:ext cx="2759201" cy="380642"/>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86" name="Tijdelijke aanduiding voor tekst 37"/>
          <p:cNvSpPr>
            <a:spLocks noGrp="1"/>
          </p:cNvSpPr>
          <p:nvPr>
            <p:ph type="body" sz="quarter" idx="51" hasCustomPrompt="1"/>
          </p:nvPr>
        </p:nvSpPr>
        <p:spPr>
          <a:xfrm>
            <a:off x="5061465" y="4646200"/>
            <a:ext cx="2759566" cy="380642"/>
          </a:xfrm>
          <a:prstGeom prst="rect">
            <a:avLst/>
          </a:prstGeom>
        </p:spPr>
        <p:txBody>
          <a:bodyPr/>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87" name="Tijdelijke aanduiding voor tekst 71"/>
          <p:cNvSpPr>
            <a:spLocks noGrp="1"/>
          </p:cNvSpPr>
          <p:nvPr>
            <p:ph type="body" sz="quarter" idx="52" hasCustomPrompt="1"/>
          </p:nvPr>
        </p:nvSpPr>
        <p:spPr>
          <a:xfrm>
            <a:off x="4328532" y="4258957"/>
            <a:ext cx="688393"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88" name="Tijdelijke aanduiding voor tekst 35"/>
          <p:cNvSpPr>
            <a:spLocks noGrp="1"/>
          </p:cNvSpPr>
          <p:nvPr>
            <p:ph type="body" sz="quarter" idx="53" hasCustomPrompt="1"/>
          </p:nvPr>
        </p:nvSpPr>
        <p:spPr>
          <a:xfrm>
            <a:off x="8891403" y="1477881"/>
            <a:ext cx="2759201" cy="380642"/>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89" name="Tijdelijke aanduiding voor tekst 37"/>
          <p:cNvSpPr>
            <a:spLocks noGrp="1"/>
          </p:cNvSpPr>
          <p:nvPr>
            <p:ph type="body" sz="quarter" idx="54" hasCustomPrompt="1"/>
          </p:nvPr>
        </p:nvSpPr>
        <p:spPr>
          <a:xfrm>
            <a:off x="8891403" y="1892887"/>
            <a:ext cx="2759566" cy="380642"/>
          </a:xfrm>
          <a:prstGeom prst="rect">
            <a:avLst/>
          </a:prstGeom>
        </p:spPr>
        <p:txBody>
          <a:bodyPr/>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90" name="Tijdelijke aanduiding voor tekst 71"/>
          <p:cNvSpPr>
            <a:spLocks noGrp="1"/>
          </p:cNvSpPr>
          <p:nvPr>
            <p:ph type="body" sz="quarter" idx="55" hasCustomPrompt="1"/>
          </p:nvPr>
        </p:nvSpPr>
        <p:spPr>
          <a:xfrm>
            <a:off x="8158469" y="1477881"/>
            <a:ext cx="678534"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91" name="Tijdelijke aanduiding voor tekst 35"/>
          <p:cNvSpPr>
            <a:spLocks noGrp="1"/>
          </p:cNvSpPr>
          <p:nvPr>
            <p:ph type="body" sz="quarter" idx="56" hasCustomPrompt="1"/>
          </p:nvPr>
        </p:nvSpPr>
        <p:spPr>
          <a:xfrm>
            <a:off x="8891403" y="2868420"/>
            <a:ext cx="2759201" cy="376595"/>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92" name="Tijdelijke aanduiding voor tekst 37"/>
          <p:cNvSpPr>
            <a:spLocks noGrp="1"/>
          </p:cNvSpPr>
          <p:nvPr>
            <p:ph type="body" sz="quarter" idx="57" hasCustomPrompt="1"/>
          </p:nvPr>
        </p:nvSpPr>
        <p:spPr>
          <a:xfrm>
            <a:off x="8891403" y="3255173"/>
            <a:ext cx="2759566" cy="380642"/>
          </a:xfrm>
          <a:prstGeom prst="rect">
            <a:avLst/>
          </a:prstGeom>
        </p:spPr>
        <p:txBody>
          <a:bodyPr/>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93" name="Tijdelijke aanduiding voor tekst 71"/>
          <p:cNvSpPr>
            <a:spLocks noGrp="1"/>
          </p:cNvSpPr>
          <p:nvPr>
            <p:ph type="body" sz="quarter" idx="58" hasCustomPrompt="1"/>
          </p:nvPr>
        </p:nvSpPr>
        <p:spPr>
          <a:xfrm>
            <a:off x="8158469" y="2868420"/>
            <a:ext cx="678534"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94" name="Tijdelijke aanduiding voor tekst 35"/>
          <p:cNvSpPr>
            <a:spLocks noGrp="1"/>
          </p:cNvSpPr>
          <p:nvPr>
            <p:ph type="body" sz="quarter" idx="59" hasCustomPrompt="1"/>
          </p:nvPr>
        </p:nvSpPr>
        <p:spPr>
          <a:xfrm>
            <a:off x="8891403" y="4258955"/>
            <a:ext cx="2759201" cy="380642"/>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95" name="Tijdelijke aanduiding voor tekst 37"/>
          <p:cNvSpPr>
            <a:spLocks noGrp="1"/>
          </p:cNvSpPr>
          <p:nvPr>
            <p:ph type="body" sz="quarter" idx="60" hasCustomPrompt="1"/>
          </p:nvPr>
        </p:nvSpPr>
        <p:spPr>
          <a:xfrm>
            <a:off x="8891403" y="4646200"/>
            <a:ext cx="2759566" cy="380642"/>
          </a:xfrm>
          <a:prstGeom prst="rect">
            <a:avLst/>
          </a:prstGeom>
        </p:spPr>
        <p:txBody>
          <a:bodyPr/>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96" name="Tijdelijke aanduiding voor tekst 71"/>
          <p:cNvSpPr>
            <a:spLocks noGrp="1"/>
          </p:cNvSpPr>
          <p:nvPr>
            <p:ph type="body" sz="quarter" idx="61" hasCustomPrompt="1"/>
          </p:nvPr>
        </p:nvSpPr>
        <p:spPr>
          <a:xfrm>
            <a:off x="8158469" y="4258957"/>
            <a:ext cx="678534"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33" name="Title 1">
            <a:extLst>
              <a:ext uri="{FF2B5EF4-FFF2-40B4-BE49-F238E27FC236}">
                <a16:creationId xmlns:a16="http://schemas.microsoft.com/office/drawing/2014/main" id="{6A8FA3C3-982D-4FF0-AC3B-7CEC4B93EAF9}"/>
              </a:ext>
            </a:extLst>
          </p:cNvPr>
          <p:cNvSpPr>
            <a:spLocks noGrp="1"/>
          </p:cNvSpPr>
          <p:nvPr>
            <p:ph type="title" hasCustomPrompt="1"/>
          </p:nvPr>
        </p:nvSpPr>
        <p:spPr>
          <a:xfrm>
            <a:off x="579601" y="1"/>
            <a:ext cx="10515600" cy="1180618"/>
          </a:xfrm>
          <a:prstGeom prst="rect">
            <a:avLst/>
          </a:prstGeom>
        </p:spPr>
        <p:txBody>
          <a:bodyPr lIns="0" tIns="0" rIns="0" bIns="72000" anchor="b" anchorCtr="0"/>
          <a:lstStyle>
            <a:lvl1pPr marL="0" indent="0" algn="l">
              <a:buFont typeface="Arial" panose="020B0604020202020204" pitchFamily="34" charset="0"/>
              <a:buNone/>
              <a:defRPr sz="3598">
                <a:solidFill>
                  <a:schemeClr val="accent1"/>
                </a:solidFill>
              </a:defRPr>
            </a:lvl1pPr>
          </a:lstStyle>
          <a:p>
            <a:r>
              <a:rPr lang="nl-NL" noProof="0"/>
              <a:t>Klik hier om de titelstijl van het stramien te bewerken</a:t>
            </a:r>
          </a:p>
        </p:txBody>
      </p:sp>
    </p:spTree>
    <p:extLst>
      <p:ext uri="{BB962C8B-B14F-4D97-AF65-F5344CB8AC3E}">
        <p14:creationId xmlns:p14="http://schemas.microsoft.com/office/powerpoint/2010/main" val="3112078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31794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6EAF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5" name="Rectangle 3">
            <a:extLst>
              <a:ext uri="{FF2B5EF4-FFF2-40B4-BE49-F238E27FC236}">
                <a16:creationId xmlns:a16="http://schemas.microsoft.com/office/drawing/2014/main" id="{8798F037-D813-4664-AC86-6B171828DBA6}"/>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rgbClr val="0069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1">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3" name="Group 12">
            <a:extLst>
              <a:ext uri="{FF2B5EF4-FFF2-40B4-BE49-F238E27FC236}">
                <a16:creationId xmlns:a16="http://schemas.microsoft.com/office/drawing/2014/main" id="{AD4AA697-8B73-4BCE-945B-10070B1D41C8}"/>
              </a:ext>
            </a:extLst>
          </p:cNvPr>
          <p:cNvGrpSpPr/>
          <p:nvPr userDrawn="1"/>
        </p:nvGrpSpPr>
        <p:grpSpPr>
          <a:xfrm>
            <a:off x="10422255" y="6415243"/>
            <a:ext cx="693334" cy="249834"/>
            <a:chOff x="3078163" y="2341563"/>
            <a:chExt cx="6035676" cy="2174875"/>
          </a:xfrm>
        </p:grpSpPr>
        <p:sp>
          <p:nvSpPr>
            <p:cNvPr id="14" name="Freeform 5">
              <a:extLst>
                <a:ext uri="{FF2B5EF4-FFF2-40B4-BE49-F238E27FC236}">
                  <a16:creationId xmlns:a16="http://schemas.microsoft.com/office/drawing/2014/main" id="{CD5C291A-D4F5-43EC-9640-89CDC0624465}"/>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 name="Freeform 6">
              <a:extLst>
                <a:ext uri="{FF2B5EF4-FFF2-40B4-BE49-F238E27FC236}">
                  <a16:creationId xmlns:a16="http://schemas.microsoft.com/office/drawing/2014/main" id="{5347CC15-86AF-4EF5-9947-051457C6BEB1}"/>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 name="Freeform 7">
              <a:extLst>
                <a:ext uri="{FF2B5EF4-FFF2-40B4-BE49-F238E27FC236}">
                  <a16:creationId xmlns:a16="http://schemas.microsoft.com/office/drawing/2014/main" id="{36475AE6-D599-49FD-8663-5E19F38BEA5C}"/>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 name="Freeform 8">
              <a:extLst>
                <a:ext uri="{FF2B5EF4-FFF2-40B4-BE49-F238E27FC236}">
                  <a16:creationId xmlns:a16="http://schemas.microsoft.com/office/drawing/2014/main" id="{FF954820-DB56-41E9-8D12-3D41AF17B4DF}"/>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 name="Freeform 9">
              <a:extLst>
                <a:ext uri="{FF2B5EF4-FFF2-40B4-BE49-F238E27FC236}">
                  <a16:creationId xmlns:a16="http://schemas.microsoft.com/office/drawing/2014/main" id="{58E3B3A1-7EF6-4D7E-9354-F7BD4CED76AA}"/>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 name="Freeform 10">
              <a:extLst>
                <a:ext uri="{FF2B5EF4-FFF2-40B4-BE49-F238E27FC236}">
                  <a16:creationId xmlns:a16="http://schemas.microsoft.com/office/drawing/2014/main" id="{E8C53B17-B649-4D60-B7DF-94D79E5ABB75}"/>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 name="Freeform 11">
              <a:extLst>
                <a:ext uri="{FF2B5EF4-FFF2-40B4-BE49-F238E27FC236}">
                  <a16:creationId xmlns:a16="http://schemas.microsoft.com/office/drawing/2014/main" id="{8B545997-3167-493E-86A9-7E9F03525070}"/>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265177415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52640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6EAF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553998"/>
          </a:xfrm>
          <a:prstGeom prst="rect">
            <a:avLst/>
          </a:prstGeom>
        </p:spPr>
        <p:txBody>
          <a:bodyPr wrap="square">
            <a:spAutoFit/>
          </a:bodyPr>
          <a:lstStyle>
            <a:lvl1pPr marL="0" indent="0" algn="l">
              <a:buNone/>
              <a:defRPr sz="1800" b="1">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B136333B-D87B-4F91-B7D1-24E857D8C371}"/>
              </a:ext>
            </a:extLst>
          </p:cNvPr>
          <p:cNvGrpSpPr/>
          <p:nvPr userDrawn="1"/>
        </p:nvGrpSpPr>
        <p:grpSpPr>
          <a:xfrm>
            <a:off x="10422255" y="6415243"/>
            <a:ext cx="693334" cy="249834"/>
            <a:chOff x="3078163" y="2341563"/>
            <a:chExt cx="6035676" cy="2174875"/>
          </a:xfrm>
        </p:grpSpPr>
        <p:sp>
          <p:nvSpPr>
            <p:cNvPr id="12" name="Freeform 5">
              <a:extLst>
                <a:ext uri="{FF2B5EF4-FFF2-40B4-BE49-F238E27FC236}">
                  <a16:creationId xmlns:a16="http://schemas.microsoft.com/office/drawing/2014/main" id="{D31DE5AA-2789-446E-B146-26F409AECE6F}"/>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 name="Freeform 6">
              <a:extLst>
                <a:ext uri="{FF2B5EF4-FFF2-40B4-BE49-F238E27FC236}">
                  <a16:creationId xmlns:a16="http://schemas.microsoft.com/office/drawing/2014/main" id="{C32E163E-D6BD-4625-8BA9-30EDB916A339}"/>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 name="Freeform 7">
              <a:extLst>
                <a:ext uri="{FF2B5EF4-FFF2-40B4-BE49-F238E27FC236}">
                  <a16:creationId xmlns:a16="http://schemas.microsoft.com/office/drawing/2014/main" id="{0C573DFB-7893-4414-9E45-241AC28A2BBE}"/>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 name="Freeform 8">
              <a:extLst>
                <a:ext uri="{FF2B5EF4-FFF2-40B4-BE49-F238E27FC236}">
                  <a16:creationId xmlns:a16="http://schemas.microsoft.com/office/drawing/2014/main" id="{D4853EB6-CF2F-4A13-813F-C764404A74DF}"/>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 name="Freeform 9">
              <a:extLst>
                <a:ext uri="{FF2B5EF4-FFF2-40B4-BE49-F238E27FC236}">
                  <a16:creationId xmlns:a16="http://schemas.microsoft.com/office/drawing/2014/main" id="{71B9D67E-926A-48BC-889D-AC5EAF5620DE}"/>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 name="Freeform 10">
              <a:extLst>
                <a:ext uri="{FF2B5EF4-FFF2-40B4-BE49-F238E27FC236}">
                  <a16:creationId xmlns:a16="http://schemas.microsoft.com/office/drawing/2014/main" id="{25DCEF06-762A-49AC-A81D-9025C920B076}"/>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 name="Freeform 11">
              <a:extLst>
                <a:ext uri="{FF2B5EF4-FFF2-40B4-BE49-F238E27FC236}">
                  <a16:creationId xmlns:a16="http://schemas.microsoft.com/office/drawing/2014/main" id="{F100DDE1-72D3-4A6E-ADAD-DA3F5F214355}"/>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31" name="Rectangle 3">
            <a:extLst>
              <a:ext uri="{FF2B5EF4-FFF2-40B4-BE49-F238E27FC236}">
                <a16:creationId xmlns:a16="http://schemas.microsoft.com/office/drawing/2014/main" id="{BC3EC27B-A0CC-4539-A970-F27F71C64E95}"/>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rgbClr val="0069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2" name="Slide Number">
            <a:extLst>
              <a:ext uri="{FF2B5EF4-FFF2-40B4-BE49-F238E27FC236}">
                <a16:creationId xmlns:a16="http://schemas.microsoft.com/office/drawing/2014/main" id="{D29840BE-C488-419A-A5CD-3C4E4AF439EF}"/>
              </a:ext>
            </a:extLst>
          </p:cNvPr>
          <p:cNvSpPr>
            <a:spLocks noChangeArrowheads="1"/>
          </p:cNvSpPr>
          <p:nvPr userDrawn="1">
            <p:custDataLst>
              <p:tags r:id="rId8"/>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60068511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052371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6EAF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6932"/>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53933"/>
            <a:ext cx="5065776" cy="276999"/>
          </a:xfrm>
          <a:prstGeom prst="rect">
            <a:avLst/>
          </a:prstGeom>
        </p:spPr>
        <p:txBody>
          <a:bodyPr wrap="square">
            <a:spAutoFit/>
          </a:bodyPr>
          <a:lstStyle>
            <a:lvl1pPr marL="0" indent="0" algn="l">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1C8D0B56-ED6D-4244-9607-8315139AC0FD}"/>
              </a:ext>
            </a:extLst>
          </p:cNvPr>
          <p:cNvGrpSpPr/>
          <p:nvPr userDrawn="1"/>
        </p:nvGrpSpPr>
        <p:grpSpPr>
          <a:xfrm>
            <a:off x="10422255" y="6415243"/>
            <a:ext cx="693334" cy="249834"/>
            <a:chOff x="3078163" y="2341563"/>
            <a:chExt cx="6035676" cy="2174875"/>
          </a:xfrm>
        </p:grpSpPr>
        <p:sp>
          <p:nvSpPr>
            <p:cNvPr id="12" name="Freeform 5">
              <a:extLst>
                <a:ext uri="{FF2B5EF4-FFF2-40B4-BE49-F238E27FC236}">
                  <a16:creationId xmlns:a16="http://schemas.microsoft.com/office/drawing/2014/main" id="{8CAB01D9-5925-4D06-95B5-2CC649C1BD73}"/>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 name="Freeform 6">
              <a:extLst>
                <a:ext uri="{FF2B5EF4-FFF2-40B4-BE49-F238E27FC236}">
                  <a16:creationId xmlns:a16="http://schemas.microsoft.com/office/drawing/2014/main" id="{48A2615C-8C09-45BF-A20F-76144910437D}"/>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 name="Freeform 7">
              <a:extLst>
                <a:ext uri="{FF2B5EF4-FFF2-40B4-BE49-F238E27FC236}">
                  <a16:creationId xmlns:a16="http://schemas.microsoft.com/office/drawing/2014/main" id="{B279EC5A-8EAD-4AEE-A7DA-C5D3501EEEF8}"/>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 name="Freeform 8">
              <a:extLst>
                <a:ext uri="{FF2B5EF4-FFF2-40B4-BE49-F238E27FC236}">
                  <a16:creationId xmlns:a16="http://schemas.microsoft.com/office/drawing/2014/main" id="{37E55DA6-13E0-4E20-9990-F0B4A3E650B2}"/>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 name="Freeform 9">
              <a:extLst>
                <a:ext uri="{FF2B5EF4-FFF2-40B4-BE49-F238E27FC236}">
                  <a16:creationId xmlns:a16="http://schemas.microsoft.com/office/drawing/2014/main" id="{55CCBBDC-9F77-4B77-946B-E6B357897731}"/>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 name="Freeform 10">
              <a:extLst>
                <a:ext uri="{FF2B5EF4-FFF2-40B4-BE49-F238E27FC236}">
                  <a16:creationId xmlns:a16="http://schemas.microsoft.com/office/drawing/2014/main" id="{CDD8C5A1-285B-4D20-B2F5-B39C8D5C3C90}"/>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 name="Freeform 11">
              <a:extLst>
                <a:ext uri="{FF2B5EF4-FFF2-40B4-BE49-F238E27FC236}">
                  <a16:creationId xmlns:a16="http://schemas.microsoft.com/office/drawing/2014/main" id="{FCB138BE-DEAB-4F1D-A900-9AB0B64657ED}"/>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3" name="Rectangle 3">
            <a:extLst>
              <a:ext uri="{FF2B5EF4-FFF2-40B4-BE49-F238E27FC236}">
                <a16:creationId xmlns:a16="http://schemas.microsoft.com/office/drawing/2014/main" id="{4B94851A-B0C0-4C92-B404-D2FE90CDA650}"/>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rgbClr val="0069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 name="Slide Number">
            <a:extLst>
              <a:ext uri="{FF2B5EF4-FFF2-40B4-BE49-F238E27FC236}">
                <a16:creationId xmlns:a16="http://schemas.microsoft.com/office/drawing/2014/main" id="{02F62844-73C0-4F95-9402-497D7B33FF3A}"/>
              </a:ext>
            </a:extLst>
          </p:cNvPr>
          <p:cNvSpPr>
            <a:spLocks noChangeArrowheads="1"/>
          </p:cNvSpPr>
          <p:nvPr userDrawn="1">
            <p:custDataLst>
              <p:tags r:id="rId8"/>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58824367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11850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56932"/>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6EAF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53933"/>
            <a:ext cx="6967728" cy="276999"/>
          </a:xfrm>
          <a:prstGeom prst="rect">
            <a:avLst/>
          </a:prstGeom>
        </p:spPr>
        <p:txBody>
          <a:bodyPr wrap="square">
            <a:spAutoFit/>
          </a:bodyPr>
          <a:lstStyle>
            <a:lvl1pPr marL="0" indent="0" algn="l">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24306DA5-5003-4465-953E-347FD31E700F}"/>
              </a:ext>
            </a:extLst>
          </p:cNvPr>
          <p:cNvGrpSpPr/>
          <p:nvPr userDrawn="1"/>
        </p:nvGrpSpPr>
        <p:grpSpPr>
          <a:xfrm>
            <a:off x="10422255" y="6415243"/>
            <a:ext cx="693334" cy="249834"/>
            <a:chOff x="3078163" y="2341563"/>
            <a:chExt cx="6035676" cy="2174875"/>
          </a:xfrm>
        </p:grpSpPr>
        <p:sp>
          <p:nvSpPr>
            <p:cNvPr id="12" name="Freeform 5">
              <a:extLst>
                <a:ext uri="{FF2B5EF4-FFF2-40B4-BE49-F238E27FC236}">
                  <a16:creationId xmlns:a16="http://schemas.microsoft.com/office/drawing/2014/main" id="{E6BD04CA-439C-4570-9A7F-8235DD488AC1}"/>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 name="Freeform 6">
              <a:extLst>
                <a:ext uri="{FF2B5EF4-FFF2-40B4-BE49-F238E27FC236}">
                  <a16:creationId xmlns:a16="http://schemas.microsoft.com/office/drawing/2014/main" id="{25BAC0B9-6226-42FF-BB96-72AF58D6FF42}"/>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 name="Freeform 7">
              <a:extLst>
                <a:ext uri="{FF2B5EF4-FFF2-40B4-BE49-F238E27FC236}">
                  <a16:creationId xmlns:a16="http://schemas.microsoft.com/office/drawing/2014/main" id="{1DD91DF9-5CB1-4957-A691-111AE666653A}"/>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 name="Freeform 8">
              <a:extLst>
                <a:ext uri="{FF2B5EF4-FFF2-40B4-BE49-F238E27FC236}">
                  <a16:creationId xmlns:a16="http://schemas.microsoft.com/office/drawing/2014/main" id="{E1A9A390-A330-4DC7-B72E-2AFD259A6746}"/>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 name="Freeform 9">
              <a:extLst>
                <a:ext uri="{FF2B5EF4-FFF2-40B4-BE49-F238E27FC236}">
                  <a16:creationId xmlns:a16="http://schemas.microsoft.com/office/drawing/2014/main" id="{020F6404-7054-4F05-8808-03FEA5EDC09D}"/>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 name="Freeform 10">
              <a:extLst>
                <a:ext uri="{FF2B5EF4-FFF2-40B4-BE49-F238E27FC236}">
                  <a16:creationId xmlns:a16="http://schemas.microsoft.com/office/drawing/2014/main" id="{F1CC9D62-D521-40B2-A563-0C33E9E79229}"/>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 name="Freeform 11">
              <a:extLst>
                <a:ext uri="{FF2B5EF4-FFF2-40B4-BE49-F238E27FC236}">
                  <a16:creationId xmlns:a16="http://schemas.microsoft.com/office/drawing/2014/main" id="{F678A9B4-1542-4345-BD4D-29B5AC36EB1D}"/>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3" name="Rectangle 3">
            <a:extLst>
              <a:ext uri="{FF2B5EF4-FFF2-40B4-BE49-F238E27FC236}">
                <a16:creationId xmlns:a16="http://schemas.microsoft.com/office/drawing/2014/main" id="{8E70AE71-7A62-454B-A63B-EBDC17373DAA}"/>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rgbClr val="0069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 name="Slide Number">
            <a:extLst>
              <a:ext uri="{FF2B5EF4-FFF2-40B4-BE49-F238E27FC236}">
                <a16:creationId xmlns:a16="http://schemas.microsoft.com/office/drawing/2014/main" id="{7712FD9D-9BC2-421C-AB7E-3C085733473E}"/>
              </a:ext>
            </a:extLst>
          </p:cNvPr>
          <p:cNvSpPr>
            <a:spLocks noChangeArrowheads="1"/>
          </p:cNvSpPr>
          <p:nvPr userDrawn="1">
            <p:custDataLst>
              <p:tags r:id="rId8"/>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2186536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12938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6EAF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6932"/>
            <a:ext cx="7918704"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53933"/>
            <a:ext cx="7918704" cy="276999"/>
          </a:xfrm>
          <a:prstGeom prst="rect">
            <a:avLst/>
          </a:prstGeom>
        </p:spPr>
        <p:txBody>
          <a:bodyPr wrap="square">
            <a:spAutoFit/>
          </a:bodyPr>
          <a:lstStyle>
            <a:lvl1pPr marL="0" indent="0" algn="l">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90E1C8BA-506F-4465-85EA-76F0CE91B129}"/>
              </a:ext>
            </a:extLst>
          </p:cNvPr>
          <p:cNvGrpSpPr/>
          <p:nvPr userDrawn="1"/>
        </p:nvGrpSpPr>
        <p:grpSpPr>
          <a:xfrm>
            <a:off x="10422255" y="6415243"/>
            <a:ext cx="693334" cy="249834"/>
            <a:chOff x="3078163" y="2341563"/>
            <a:chExt cx="6035676" cy="2174875"/>
          </a:xfrm>
        </p:grpSpPr>
        <p:sp>
          <p:nvSpPr>
            <p:cNvPr id="12" name="Freeform 5">
              <a:extLst>
                <a:ext uri="{FF2B5EF4-FFF2-40B4-BE49-F238E27FC236}">
                  <a16:creationId xmlns:a16="http://schemas.microsoft.com/office/drawing/2014/main" id="{1778BDA8-9EA5-4D38-A77C-175E8412C05A}"/>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 name="Freeform 6">
              <a:extLst>
                <a:ext uri="{FF2B5EF4-FFF2-40B4-BE49-F238E27FC236}">
                  <a16:creationId xmlns:a16="http://schemas.microsoft.com/office/drawing/2014/main" id="{198BE437-A521-4E94-8482-0E3DFF77C6F6}"/>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 name="Freeform 7">
              <a:extLst>
                <a:ext uri="{FF2B5EF4-FFF2-40B4-BE49-F238E27FC236}">
                  <a16:creationId xmlns:a16="http://schemas.microsoft.com/office/drawing/2014/main" id="{0679864C-7688-42B8-82B1-D393A4B88392}"/>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 name="Freeform 8">
              <a:extLst>
                <a:ext uri="{FF2B5EF4-FFF2-40B4-BE49-F238E27FC236}">
                  <a16:creationId xmlns:a16="http://schemas.microsoft.com/office/drawing/2014/main" id="{89CD41D7-3DC6-42EA-A804-454F0F9C4D80}"/>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 name="Freeform 9">
              <a:extLst>
                <a:ext uri="{FF2B5EF4-FFF2-40B4-BE49-F238E27FC236}">
                  <a16:creationId xmlns:a16="http://schemas.microsoft.com/office/drawing/2014/main" id="{A7169E38-FF77-446D-B47A-C0095795C45C}"/>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 name="Freeform 10">
              <a:extLst>
                <a:ext uri="{FF2B5EF4-FFF2-40B4-BE49-F238E27FC236}">
                  <a16:creationId xmlns:a16="http://schemas.microsoft.com/office/drawing/2014/main" id="{D4DA1E54-D574-4F33-8F8A-35DDB1497681}"/>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 name="Freeform 11">
              <a:extLst>
                <a:ext uri="{FF2B5EF4-FFF2-40B4-BE49-F238E27FC236}">
                  <a16:creationId xmlns:a16="http://schemas.microsoft.com/office/drawing/2014/main" id="{336CF366-D7CD-4BD6-9F4E-18512B813D91}"/>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4" name="Rectangle 3">
            <a:extLst>
              <a:ext uri="{FF2B5EF4-FFF2-40B4-BE49-F238E27FC236}">
                <a16:creationId xmlns:a16="http://schemas.microsoft.com/office/drawing/2014/main" id="{ACF1D1CB-3375-440D-BB33-AE410931C088}"/>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rgbClr val="0069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 name="Slide Number">
            <a:extLst>
              <a:ext uri="{FF2B5EF4-FFF2-40B4-BE49-F238E27FC236}">
                <a16:creationId xmlns:a16="http://schemas.microsoft.com/office/drawing/2014/main" id="{DDE16A7E-E6C8-4930-B1E4-01DD81E1E5DE}"/>
              </a:ext>
            </a:extLst>
          </p:cNvPr>
          <p:cNvSpPr>
            <a:spLocks noChangeArrowheads="1"/>
          </p:cNvSpPr>
          <p:nvPr userDrawn="1">
            <p:custDataLst>
              <p:tags r:id="rId8"/>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836501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206316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pic>
        <p:nvPicPr>
          <p:cNvPr id="2" name="Picture 1">
            <a:extLst>
              <a:ext uri="{FF2B5EF4-FFF2-40B4-BE49-F238E27FC236}">
                <a16:creationId xmlns:a16="http://schemas.microsoft.com/office/drawing/2014/main" id="{980DE948-05F4-4150-B06A-55AA7B2EAA6B}"/>
              </a:ext>
            </a:extLst>
          </p:cNvPr>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556932"/>
            <a:ext cx="6103239" cy="384721"/>
          </a:xfrm>
        </p:spPr>
        <p:txBody>
          <a:bodyPr wrap="square">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953933"/>
            <a:ext cx="6103239" cy="276999"/>
          </a:xfrm>
          <a:prstGeom prst="rect">
            <a:avLst/>
          </a:prstGeom>
        </p:spPr>
        <p:txBody>
          <a:bodyPr wrap="square">
            <a:spAutoFit/>
          </a:bodyPr>
          <a:lstStyle>
            <a:lvl1pPr marL="0" indent="0" algn="l">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25" name="Slide Number">
            <a:extLst>
              <a:ext uri="{FF2B5EF4-FFF2-40B4-BE49-F238E27FC236}">
                <a16:creationId xmlns:a16="http://schemas.microsoft.com/office/drawing/2014/main" id="{DDE16A7E-E6C8-4930-B1E4-01DD81E1E5DE}"/>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8201990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95238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pic>
        <p:nvPicPr>
          <p:cNvPr id="2" name="Picture 1">
            <a:extLst>
              <a:ext uri="{FF2B5EF4-FFF2-40B4-BE49-F238E27FC236}">
                <a16:creationId xmlns:a16="http://schemas.microsoft.com/office/drawing/2014/main" id="{7474D102-B8CC-49EC-8A24-0E61612A9CE5}"/>
              </a:ext>
            </a:extLst>
          </p:cNvPr>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556932"/>
            <a:ext cx="6103239" cy="384721"/>
          </a:xfrm>
        </p:spPr>
        <p:txBody>
          <a:bodyPr wrap="square">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953933"/>
            <a:ext cx="6103239" cy="276999"/>
          </a:xfrm>
          <a:prstGeom prst="rect">
            <a:avLst/>
          </a:prstGeom>
        </p:spPr>
        <p:txBody>
          <a:bodyPr wrap="square">
            <a:spAutoFit/>
          </a:bodyPr>
          <a:lstStyle>
            <a:lvl1pPr marL="0" indent="0" algn="l">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25" name="Slide Number">
            <a:extLst>
              <a:ext uri="{FF2B5EF4-FFF2-40B4-BE49-F238E27FC236}">
                <a16:creationId xmlns:a16="http://schemas.microsoft.com/office/drawing/2014/main" id="{DDE16A7E-E6C8-4930-B1E4-01DD81E1E5DE}"/>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20704392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3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55242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6" y="556932"/>
            <a:ext cx="6103239" cy="384721"/>
          </a:xfrm>
        </p:spPr>
        <p:txBody>
          <a:bodyPr wrap="square">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6" y="953933"/>
            <a:ext cx="6103239" cy="276999"/>
          </a:xfrm>
          <a:prstGeom prst="rect">
            <a:avLst/>
          </a:prstGeom>
        </p:spPr>
        <p:txBody>
          <a:bodyPr wrap="square">
            <a:spAutoFit/>
          </a:bodyPr>
          <a:lstStyle>
            <a:lvl1pPr marL="0" indent="0" algn="l">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25" name="Slide Number">
            <a:extLst>
              <a:ext uri="{FF2B5EF4-FFF2-40B4-BE49-F238E27FC236}">
                <a16:creationId xmlns:a16="http://schemas.microsoft.com/office/drawing/2014/main" id="{DDE16A7E-E6C8-4930-B1E4-01DD81E1E5DE}"/>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62568159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4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262170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6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Rectangle 3">
            <a:extLst>
              <a:ext uri="{FF2B5EF4-FFF2-40B4-BE49-F238E27FC236}">
                <a16:creationId xmlns:a16="http://schemas.microsoft.com/office/drawing/2014/main" id="{790C89E4-BA6D-4322-9AA7-BCE14C284062}"/>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rgbClr val="0069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nvGrpSpPr>
          <p:cNvPr id="16" name="Group 15">
            <a:extLst>
              <a:ext uri="{FF2B5EF4-FFF2-40B4-BE49-F238E27FC236}">
                <a16:creationId xmlns:a16="http://schemas.microsoft.com/office/drawing/2014/main" id="{95C318B4-7E21-4B43-AF23-A0982D8246B9}"/>
              </a:ext>
            </a:extLst>
          </p:cNvPr>
          <p:cNvGrpSpPr/>
          <p:nvPr userDrawn="1"/>
        </p:nvGrpSpPr>
        <p:grpSpPr>
          <a:xfrm>
            <a:off x="10422255" y="6415243"/>
            <a:ext cx="693334" cy="249834"/>
            <a:chOff x="3078163" y="2341563"/>
            <a:chExt cx="6035676" cy="2174875"/>
          </a:xfrm>
        </p:grpSpPr>
        <p:sp>
          <p:nvSpPr>
            <p:cNvPr id="17" name="Freeform 5">
              <a:extLst>
                <a:ext uri="{FF2B5EF4-FFF2-40B4-BE49-F238E27FC236}">
                  <a16:creationId xmlns:a16="http://schemas.microsoft.com/office/drawing/2014/main" id="{5240B33F-81CE-4002-A9DA-7AC3D0EAB77C}"/>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 name="Freeform 6">
              <a:extLst>
                <a:ext uri="{FF2B5EF4-FFF2-40B4-BE49-F238E27FC236}">
                  <a16:creationId xmlns:a16="http://schemas.microsoft.com/office/drawing/2014/main" id="{B9E7B2A8-4505-4032-8F44-E8DFD4E60125}"/>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 name="Freeform 7">
              <a:extLst>
                <a:ext uri="{FF2B5EF4-FFF2-40B4-BE49-F238E27FC236}">
                  <a16:creationId xmlns:a16="http://schemas.microsoft.com/office/drawing/2014/main" id="{490E0940-E8C8-4D43-8DED-D7819A98D50C}"/>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 name="Freeform 8">
              <a:extLst>
                <a:ext uri="{FF2B5EF4-FFF2-40B4-BE49-F238E27FC236}">
                  <a16:creationId xmlns:a16="http://schemas.microsoft.com/office/drawing/2014/main" id="{9178EAE4-763E-43F5-B4E7-644DAB66A69C}"/>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 name="Freeform 9">
              <a:extLst>
                <a:ext uri="{FF2B5EF4-FFF2-40B4-BE49-F238E27FC236}">
                  <a16:creationId xmlns:a16="http://schemas.microsoft.com/office/drawing/2014/main" id="{2F357B53-542D-4371-8A29-C59F2020E520}"/>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 name="Freeform 10">
              <a:extLst>
                <a:ext uri="{FF2B5EF4-FFF2-40B4-BE49-F238E27FC236}">
                  <a16:creationId xmlns:a16="http://schemas.microsoft.com/office/drawing/2014/main" id="{1C1FDFB8-5FDF-4CD2-BB5B-632482A9FE92}"/>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 name="Freeform 11">
              <a:extLst>
                <a:ext uri="{FF2B5EF4-FFF2-40B4-BE49-F238E27FC236}">
                  <a16:creationId xmlns:a16="http://schemas.microsoft.com/office/drawing/2014/main" id="{83880255-6C68-4744-9630-16E7C10E9F7B}"/>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pic>
        <p:nvPicPr>
          <p:cNvPr id="14" name="Picture Placeholder 4">
            <a:extLst>
              <a:ext uri="{FF2B5EF4-FFF2-40B4-BE49-F238E27FC236}">
                <a16:creationId xmlns:a16="http://schemas.microsoft.com/office/drawing/2014/main" id="{802EE207-F3AB-4B12-A4EF-FE59B06729B9}"/>
              </a:ext>
            </a:extLst>
          </p:cNvPr>
          <p:cNvPicPr>
            <a:picLocks noChangeAspect="1"/>
          </p:cNvPicPr>
          <p:nvPr userDrawn="1"/>
        </p:nvPicPr>
        <p:blipFill>
          <a:blip r:embed="rId11" cstate="email">
            <a:extLst>
              <a:ext uri="{28A0092B-C50C-407E-A947-70E740481C1C}">
                <a14:useLocalDpi xmlns:a14="http://schemas.microsoft.com/office/drawing/2010/main"/>
              </a:ext>
            </a:extLst>
          </a:blip>
          <a:srcRect/>
          <a:stretch>
            <a:fillRect/>
          </a:stretch>
        </p:blipFill>
        <p:spPr>
          <a:xfrm>
            <a:off x="0" y="0"/>
            <a:ext cx="7049592" cy="6869113"/>
          </a:xfrm>
          <a:custGeom>
            <a:avLst/>
            <a:gdLst>
              <a:gd name="connsiteX0" fmla="*/ 0 w 7049592"/>
              <a:gd name="connsiteY0" fmla="*/ 0 h 6869113"/>
              <a:gd name="connsiteX1" fmla="*/ 7049592 w 7049592"/>
              <a:gd name="connsiteY1" fmla="*/ 0 h 6869113"/>
              <a:gd name="connsiteX2" fmla="*/ 6961918 w 7049592"/>
              <a:gd name="connsiteY2" fmla="*/ 304793 h 6869113"/>
              <a:gd name="connsiteX3" fmla="*/ 4716550 w 7049592"/>
              <a:gd name="connsiteY3" fmla="*/ 6869113 h 6869113"/>
              <a:gd name="connsiteX4" fmla="*/ 0 w 7049592"/>
              <a:gd name="connsiteY4" fmla="*/ 6869113 h 6869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9592" h="6869113">
                <a:moveTo>
                  <a:pt x="0" y="0"/>
                </a:moveTo>
                <a:lnTo>
                  <a:pt x="7049592" y="0"/>
                </a:lnTo>
                <a:lnTo>
                  <a:pt x="6961918" y="304793"/>
                </a:lnTo>
                <a:lnTo>
                  <a:pt x="4716550" y="6869113"/>
                </a:lnTo>
                <a:lnTo>
                  <a:pt x="0" y="6869113"/>
                </a:lnTo>
                <a:close/>
              </a:path>
            </a:pathLst>
          </a:custGeom>
          <a:pattFill prst="dkUpDiag">
            <a:fgClr>
              <a:schemeClr val="bg1">
                <a:lumMod val="75000"/>
              </a:schemeClr>
            </a:fgClr>
            <a:bgClr>
              <a:schemeClr val="bg1">
                <a:lumMod val="95000"/>
              </a:schemeClr>
            </a:bgClr>
          </a:pattFill>
        </p:spPr>
      </p:pic>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6979454" y="2566405"/>
            <a:ext cx="4864608" cy="1107996"/>
          </a:xfrm>
        </p:spPr>
        <p:txBody>
          <a:bodyPr wrap="square">
            <a:noAutofit/>
          </a:bodyPr>
          <a:lstStyle>
            <a:lvl1pPr>
              <a:defRPr sz="3600"/>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6979454" y="3857238"/>
            <a:ext cx="4864608" cy="276999"/>
          </a:xfrm>
          <a:prstGeom prst="rect">
            <a:avLst/>
          </a:prstGeom>
        </p:spPr>
        <p:txBody>
          <a:bodyPr wrap="square">
            <a:noAutofit/>
          </a:bodyPr>
          <a:lstStyle>
            <a:lvl1pPr marL="0" indent="0" algn="l">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715280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en-US"/>
              <a:t>Add tracker</a:t>
            </a:r>
          </a:p>
        </p:txBody>
      </p:sp>
      <p:sp>
        <p:nvSpPr>
          <p:cNvPr id="25" name="Slide Number">
            <a:extLst>
              <a:ext uri="{FF2B5EF4-FFF2-40B4-BE49-F238E27FC236}">
                <a16:creationId xmlns:a16="http://schemas.microsoft.com/office/drawing/2014/main" id="{DDE16A7E-E6C8-4930-B1E4-01DD81E1E5DE}"/>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87112986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5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885065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800" b="0" i="0" baseline="0">
              <a:solidFill>
                <a:schemeClr val="bg1"/>
              </a:solidFill>
              <a:latin typeface="Arial" panose="020B0604020202020204" pitchFamily="34" charset="0"/>
              <a:ea typeface="+mj-ea"/>
              <a:cs typeface="+mj-cs"/>
              <a:sym typeface="Arial" panose="020B0604020202020204" pitchFamily="34" charset="0"/>
            </a:endParaRPr>
          </a:p>
        </p:txBody>
      </p:sp>
      <p:pic>
        <p:nvPicPr>
          <p:cNvPr id="2" name="Picture 1">
            <a:extLst>
              <a:ext uri="{FF2B5EF4-FFF2-40B4-BE49-F238E27FC236}">
                <a16:creationId xmlns:a16="http://schemas.microsoft.com/office/drawing/2014/main" id="{E4A10782-3ACF-4A6E-B92E-EB5885B358EB}"/>
              </a:ext>
            </a:extLst>
          </p:cNvPr>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16455" y="0"/>
            <a:ext cx="12159090" cy="6858000"/>
          </a:xfrm>
          <a:prstGeom prst="rect">
            <a:avLst/>
          </a:prstGeom>
        </p:spPr>
      </p:pic>
      <p:sp>
        <p:nvSpPr>
          <p:cNvPr id="29" name="Vrije vorm: vorm 24">
            <a:extLst>
              <a:ext uri="{FF2B5EF4-FFF2-40B4-BE49-F238E27FC236}">
                <a16:creationId xmlns:a16="http://schemas.microsoft.com/office/drawing/2014/main" id="{3D7773D4-5FD7-4678-8787-B57ACCC81E4F}"/>
              </a:ext>
            </a:extLst>
          </p:cNvPr>
          <p:cNvSpPr/>
          <p:nvPr userDrawn="1"/>
        </p:nvSpPr>
        <p:spPr>
          <a:xfrm>
            <a:off x="5778190" y="2521603"/>
            <a:ext cx="6413810" cy="3343306"/>
          </a:xfrm>
          <a:custGeom>
            <a:avLst/>
            <a:gdLst>
              <a:gd name="connsiteX0" fmla="*/ 1106090 w 6318556"/>
              <a:gd name="connsiteY0" fmla="*/ 0 h 3293654"/>
              <a:gd name="connsiteX1" fmla="*/ 1126600 w 6318556"/>
              <a:gd name="connsiteY1" fmla="*/ 46 h 3293654"/>
              <a:gd name="connsiteX2" fmla="*/ 1126615 w 6318556"/>
              <a:gd name="connsiteY2" fmla="*/ 0 h 3293654"/>
              <a:gd name="connsiteX3" fmla="*/ 1126615 w 6318556"/>
              <a:gd name="connsiteY3" fmla="*/ 46 h 3293654"/>
              <a:gd name="connsiteX4" fmla="*/ 6318556 w 6318556"/>
              <a:gd name="connsiteY4" fmla="*/ 11652 h 3293654"/>
              <a:gd name="connsiteX5" fmla="*/ 6318556 w 6318556"/>
              <a:gd name="connsiteY5" fmla="*/ 3293654 h 3293654"/>
              <a:gd name="connsiteX6" fmla="*/ 0 w 6318556"/>
              <a:gd name="connsiteY6" fmla="*/ 3293654 h 3293654"/>
              <a:gd name="connsiteX7" fmla="*/ 955335 w 6318556"/>
              <a:gd name="connsiteY7" fmla="*/ 500738 h 3293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8556" h="3293654">
                <a:moveTo>
                  <a:pt x="1106090" y="0"/>
                </a:moveTo>
                <a:lnTo>
                  <a:pt x="1126600" y="46"/>
                </a:lnTo>
                <a:lnTo>
                  <a:pt x="1126615" y="0"/>
                </a:lnTo>
                <a:lnTo>
                  <a:pt x="1126615" y="46"/>
                </a:lnTo>
                <a:lnTo>
                  <a:pt x="6318556" y="11652"/>
                </a:lnTo>
                <a:lnTo>
                  <a:pt x="6318556" y="3293654"/>
                </a:lnTo>
                <a:lnTo>
                  <a:pt x="0" y="3293654"/>
                </a:lnTo>
                <a:lnTo>
                  <a:pt x="955335" y="500738"/>
                </a:lnTo>
                <a:close/>
              </a:path>
            </a:pathLst>
          </a:custGeom>
          <a:solidFill>
            <a:srgbClr val="0069B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nvGrpSpPr>
          <p:cNvPr id="16" name="Group 15">
            <a:extLst>
              <a:ext uri="{FF2B5EF4-FFF2-40B4-BE49-F238E27FC236}">
                <a16:creationId xmlns:a16="http://schemas.microsoft.com/office/drawing/2014/main" id="{95C318B4-7E21-4B43-AF23-A0982D8246B9}"/>
              </a:ext>
            </a:extLst>
          </p:cNvPr>
          <p:cNvGrpSpPr/>
          <p:nvPr userDrawn="1"/>
        </p:nvGrpSpPr>
        <p:grpSpPr>
          <a:xfrm>
            <a:off x="596687" y="509429"/>
            <a:ext cx="693334" cy="249834"/>
            <a:chOff x="3078163" y="2341563"/>
            <a:chExt cx="6035676" cy="2174875"/>
          </a:xfrm>
        </p:grpSpPr>
        <p:sp>
          <p:nvSpPr>
            <p:cNvPr id="17" name="Freeform 5">
              <a:extLst>
                <a:ext uri="{FF2B5EF4-FFF2-40B4-BE49-F238E27FC236}">
                  <a16:creationId xmlns:a16="http://schemas.microsoft.com/office/drawing/2014/main" id="{5240B33F-81CE-4002-A9DA-7AC3D0EAB77C}"/>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 name="Freeform 6">
              <a:extLst>
                <a:ext uri="{FF2B5EF4-FFF2-40B4-BE49-F238E27FC236}">
                  <a16:creationId xmlns:a16="http://schemas.microsoft.com/office/drawing/2014/main" id="{B9E7B2A8-4505-4032-8F44-E8DFD4E60125}"/>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 name="Freeform 7">
              <a:extLst>
                <a:ext uri="{FF2B5EF4-FFF2-40B4-BE49-F238E27FC236}">
                  <a16:creationId xmlns:a16="http://schemas.microsoft.com/office/drawing/2014/main" id="{490E0940-E8C8-4D43-8DED-D7819A98D50C}"/>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3" name="Freeform 8">
              <a:extLst>
                <a:ext uri="{FF2B5EF4-FFF2-40B4-BE49-F238E27FC236}">
                  <a16:creationId xmlns:a16="http://schemas.microsoft.com/office/drawing/2014/main" id="{9178EAE4-763E-43F5-B4E7-644DAB66A69C}"/>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4" name="Freeform 9">
              <a:extLst>
                <a:ext uri="{FF2B5EF4-FFF2-40B4-BE49-F238E27FC236}">
                  <a16:creationId xmlns:a16="http://schemas.microsoft.com/office/drawing/2014/main" id="{2F357B53-542D-4371-8A29-C59F2020E520}"/>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 name="Freeform 10">
              <a:extLst>
                <a:ext uri="{FF2B5EF4-FFF2-40B4-BE49-F238E27FC236}">
                  <a16:creationId xmlns:a16="http://schemas.microsoft.com/office/drawing/2014/main" id="{1C1FDFB8-5FDF-4CD2-BB5B-632482A9FE92}"/>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 name="Freeform 11">
              <a:extLst>
                <a:ext uri="{FF2B5EF4-FFF2-40B4-BE49-F238E27FC236}">
                  <a16:creationId xmlns:a16="http://schemas.microsoft.com/office/drawing/2014/main" id="{83880255-6C68-4744-9630-16E7C10E9F7B}"/>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6979454" y="3977812"/>
            <a:ext cx="4864608" cy="430887"/>
          </a:xfrm>
        </p:spPr>
        <p:txBody>
          <a:bodyPr wrap="square">
            <a:noAutofit/>
          </a:bodyPr>
          <a:lstStyle>
            <a:lvl1pPr>
              <a:defRPr sz="2800">
                <a:solidFill>
                  <a:schemeClr val="bg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6979454" y="4547467"/>
            <a:ext cx="4864608" cy="276999"/>
          </a:xfrm>
          <a:prstGeom prst="rect">
            <a:avLst/>
          </a:prstGeom>
        </p:spPr>
        <p:txBody>
          <a:bodyPr wrap="square">
            <a:noAutofit/>
          </a:bodyPr>
          <a:lstStyle>
            <a:lvl1pPr marL="0" indent="0" algn="l">
              <a:buNone/>
              <a:defRPr sz="18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6979454"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25" name="Slide Number">
            <a:extLst>
              <a:ext uri="{FF2B5EF4-FFF2-40B4-BE49-F238E27FC236}">
                <a16:creationId xmlns:a16="http://schemas.microsoft.com/office/drawing/2014/main" id="{DDE16A7E-E6C8-4930-B1E4-01DD81E1E5DE}"/>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736971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7" y="1498201"/>
            <a:ext cx="3494215" cy="360322"/>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cxnSp>
        <p:nvCxnSpPr>
          <p:cNvPr id="15" name="Straight Connector 59"/>
          <p:cNvCxnSpPr/>
          <p:nvPr userDrawn="1"/>
        </p:nvCxnSpPr>
        <p:spPr>
          <a:xfrm>
            <a:off x="6079237" y="1457562"/>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1896933"/>
            <a:ext cx="3494678" cy="380642"/>
          </a:xfrm>
          <a:prstGeom prst="rect">
            <a:avLst/>
          </a:prstGeom>
        </p:spPr>
        <p:txBody>
          <a:bodyPr lIns="0" tIns="0" rIns="0" bIns="0"/>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2489027" y="2888740"/>
            <a:ext cx="3494215" cy="356275"/>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74" name="Tijdelijke aanduiding voor tekst 37"/>
          <p:cNvSpPr>
            <a:spLocks noGrp="1"/>
          </p:cNvSpPr>
          <p:nvPr>
            <p:ph type="body" sz="quarter" idx="39" hasCustomPrompt="1"/>
          </p:nvPr>
        </p:nvSpPr>
        <p:spPr>
          <a:xfrm>
            <a:off x="2488927" y="3265333"/>
            <a:ext cx="3494678" cy="380642"/>
          </a:xfrm>
          <a:prstGeom prst="rect">
            <a:avLst/>
          </a:prstGeom>
        </p:spPr>
        <p:txBody>
          <a:bodyPr lIns="0" tIns="0" rIns="0" bIns="0"/>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75" name="Tijdelijke aanduiding voor tekst 71"/>
          <p:cNvSpPr>
            <a:spLocks noGrp="1"/>
          </p:cNvSpPr>
          <p:nvPr>
            <p:ph type="body" sz="quarter" idx="40" hasCustomPrompt="1"/>
          </p:nvPr>
        </p:nvSpPr>
        <p:spPr>
          <a:xfrm>
            <a:off x="1731788" y="2868420"/>
            <a:ext cx="757238"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2489027" y="4279277"/>
            <a:ext cx="3494215" cy="356275"/>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77" name="Tijdelijke aanduiding voor tekst 37"/>
          <p:cNvSpPr>
            <a:spLocks noGrp="1"/>
          </p:cNvSpPr>
          <p:nvPr>
            <p:ph type="body" sz="quarter" idx="42" hasCustomPrompt="1"/>
          </p:nvPr>
        </p:nvSpPr>
        <p:spPr>
          <a:xfrm>
            <a:off x="2488927" y="4655870"/>
            <a:ext cx="3494678" cy="380642"/>
          </a:xfrm>
          <a:prstGeom prst="rect">
            <a:avLst/>
          </a:prstGeom>
        </p:spPr>
        <p:txBody>
          <a:bodyPr lIns="0" tIns="0" rIns="0" bIns="0"/>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78" name="Tijdelijke aanduiding voor tekst 71"/>
          <p:cNvSpPr>
            <a:spLocks noGrp="1"/>
          </p:cNvSpPr>
          <p:nvPr>
            <p:ph type="body" sz="quarter" idx="43" hasCustomPrompt="1"/>
          </p:nvPr>
        </p:nvSpPr>
        <p:spPr>
          <a:xfrm>
            <a:off x="1731788" y="4258957"/>
            <a:ext cx="757238"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79" name="Tijdelijke aanduiding voor tekst 35"/>
          <p:cNvSpPr>
            <a:spLocks noGrp="1"/>
          </p:cNvSpPr>
          <p:nvPr>
            <p:ph type="body" sz="quarter" idx="44" hasCustomPrompt="1"/>
          </p:nvPr>
        </p:nvSpPr>
        <p:spPr>
          <a:xfrm>
            <a:off x="6994490" y="1498201"/>
            <a:ext cx="3724311" cy="360322"/>
          </a:xfrm>
          <a:prstGeom prst="rect">
            <a:avLst/>
          </a:prstGeom>
        </p:spPr>
        <p:txBody>
          <a:bodyPr lIns="0" tIns="0" rIns="0" bIns="0"/>
          <a:lstStyle>
            <a:lvl1pPr marL="0" indent="0">
              <a:lnSpc>
                <a:spcPct val="100000"/>
              </a:lnSpc>
              <a:spcBef>
                <a:spcPts val="0"/>
              </a:spcBef>
              <a:buNone/>
              <a:defRPr sz="1999" baseline="0">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80" name="Tijdelijke aanduiding voor tekst 37"/>
          <p:cNvSpPr>
            <a:spLocks noGrp="1"/>
          </p:cNvSpPr>
          <p:nvPr>
            <p:ph type="body" sz="quarter" idx="45" hasCustomPrompt="1"/>
          </p:nvPr>
        </p:nvSpPr>
        <p:spPr>
          <a:xfrm>
            <a:off x="6994489" y="1896933"/>
            <a:ext cx="3724804" cy="380642"/>
          </a:xfrm>
          <a:prstGeom prst="rect">
            <a:avLst/>
          </a:prstGeom>
        </p:spPr>
        <p:txBody>
          <a:bodyPr lIns="0" tIns="0" rIns="0" bIns="0"/>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81" name="Tijdelijke aanduiding voor tekst 71"/>
          <p:cNvSpPr>
            <a:spLocks noGrp="1"/>
          </p:cNvSpPr>
          <p:nvPr>
            <p:ph type="body" sz="quarter" idx="46" hasCustomPrompt="1"/>
          </p:nvPr>
        </p:nvSpPr>
        <p:spPr>
          <a:xfrm>
            <a:off x="6261555" y="1477881"/>
            <a:ext cx="757238"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82" name="Tijdelijke aanduiding voor tekst 35"/>
          <p:cNvSpPr>
            <a:spLocks noGrp="1"/>
          </p:cNvSpPr>
          <p:nvPr>
            <p:ph type="body" sz="quarter" idx="47" hasCustomPrompt="1"/>
          </p:nvPr>
        </p:nvSpPr>
        <p:spPr>
          <a:xfrm>
            <a:off x="6994490" y="2888740"/>
            <a:ext cx="3724311" cy="356275"/>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83" name="Tijdelijke aanduiding voor tekst 37"/>
          <p:cNvSpPr>
            <a:spLocks noGrp="1"/>
          </p:cNvSpPr>
          <p:nvPr>
            <p:ph type="body" sz="quarter" idx="48" hasCustomPrompt="1"/>
          </p:nvPr>
        </p:nvSpPr>
        <p:spPr>
          <a:xfrm>
            <a:off x="6994489" y="3265333"/>
            <a:ext cx="3724804" cy="380642"/>
          </a:xfrm>
          <a:prstGeom prst="rect">
            <a:avLst/>
          </a:prstGeom>
        </p:spPr>
        <p:txBody>
          <a:bodyPr lIns="0" tIns="0" rIns="0" bIns="0"/>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84" name="Tijdelijke aanduiding voor tekst 71"/>
          <p:cNvSpPr>
            <a:spLocks noGrp="1"/>
          </p:cNvSpPr>
          <p:nvPr>
            <p:ph type="body" sz="quarter" idx="49" hasCustomPrompt="1"/>
          </p:nvPr>
        </p:nvSpPr>
        <p:spPr>
          <a:xfrm>
            <a:off x="6261555" y="2868420"/>
            <a:ext cx="757238"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85" name="Tijdelijke aanduiding voor tekst 35"/>
          <p:cNvSpPr>
            <a:spLocks noGrp="1"/>
          </p:cNvSpPr>
          <p:nvPr>
            <p:ph type="body" sz="quarter" idx="50" hasCustomPrompt="1"/>
          </p:nvPr>
        </p:nvSpPr>
        <p:spPr>
          <a:xfrm>
            <a:off x="6994490" y="4279277"/>
            <a:ext cx="3724311" cy="356275"/>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86" name="Tijdelijke aanduiding voor tekst 37"/>
          <p:cNvSpPr>
            <a:spLocks noGrp="1"/>
          </p:cNvSpPr>
          <p:nvPr>
            <p:ph type="body" sz="quarter" idx="51" hasCustomPrompt="1"/>
          </p:nvPr>
        </p:nvSpPr>
        <p:spPr>
          <a:xfrm>
            <a:off x="6994489" y="4655870"/>
            <a:ext cx="3724804" cy="380642"/>
          </a:xfrm>
          <a:prstGeom prst="rect">
            <a:avLst/>
          </a:prstGeom>
        </p:spPr>
        <p:txBody>
          <a:bodyPr lIns="0" tIns="0" rIns="0" bIns="0"/>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87" name="Tijdelijke aanduiding voor tekst 71"/>
          <p:cNvSpPr>
            <a:spLocks noGrp="1"/>
          </p:cNvSpPr>
          <p:nvPr>
            <p:ph type="body" sz="quarter" idx="52" hasCustomPrompt="1"/>
          </p:nvPr>
        </p:nvSpPr>
        <p:spPr>
          <a:xfrm>
            <a:off x="6261555" y="4258957"/>
            <a:ext cx="757238"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24" name="Title 1">
            <a:extLst>
              <a:ext uri="{FF2B5EF4-FFF2-40B4-BE49-F238E27FC236}">
                <a16:creationId xmlns:a16="http://schemas.microsoft.com/office/drawing/2014/main" id="{4283E8B5-1FFF-4454-AAA0-2B6D46348C17}"/>
              </a:ext>
            </a:extLst>
          </p:cNvPr>
          <p:cNvSpPr>
            <a:spLocks noGrp="1"/>
          </p:cNvSpPr>
          <p:nvPr>
            <p:ph type="title" hasCustomPrompt="1"/>
          </p:nvPr>
        </p:nvSpPr>
        <p:spPr>
          <a:xfrm>
            <a:off x="579601" y="1"/>
            <a:ext cx="10515600" cy="1180618"/>
          </a:xfrm>
          <a:prstGeom prst="rect">
            <a:avLst/>
          </a:prstGeom>
        </p:spPr>
        <p:txBody>
          <a:bodyPr lIns="0" tIns="0" rIns="0" bIns="72000" anchor="b" anchorCtr="0"/>
          <a:lstStyle>
            <a:lvl1pPr marL="0" indent="0" algn="l">
              <a:buFont typeface="Arial" panose="020B0604020202020204" pitchFamily="34" charset="0"/>
              <a:buNone/>
              <a:defRPr sz="3598">
                <a:solidFill>
                  <a:schemeClr val="accent1"/>
                </a:solidFill>
              </a:defRPr>
            </a:lvl1pPr>
          </a:lstStyle>
          <a:p>
            <a:r>
              <a:rPr lang="nl-NL" noProof="0"/>
              <a:t>Klik hier om de titelstijl van het stramien te bewerken</a:t>
            </a:r>
          </a:p>
        </p:txBody>
      </p:sp>
    </p:spTree>
    <p:extLst>
      <p:ext uri="{BB962C8B-B14F-4D97-AF65-F5344CB8AC3E}">
        <p14:creationId xmlns:p14="http://schemas.microsoft.com/office/powerpoint/2010/main" val="591315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791445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3">
            <a:extLst>
              <a:ext uri="{FF2B5EF4-FFF2-40B4-BE49-F238E27FC236}">
                <a16:creationId xmlns:a16="http://schemas.microsoft.com/office/drawing/2014/main" id="{7C8FD128-CEAD-4185-B91C-0E7886E71AE8}"/>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rgbClr val="0069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80663"/>
            <a:ext cx="11082528" cy="384721"/>
          </a:xfrm>
        </p:spPr>
        <p:txBody>
          <a:bodyPr>
            <a:sp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9" name="Group 8">
            <a:extLst>
              <a:ext uri="{FF2B5EF4-FFF2-40B4-BE49-F238E27FC236}">
                <a16:creationId xmlns:a16="http://schemas.microsoft.com/office/drawing/2014/main" id="{F2F9A039-0D9D-4D8C-BED0-5C601E25096F}"/>
              </a:ext>
            </a:extLst>
          </p:cNvPr>
          <p:cNvGrpSpPr/>
          <p:nvPr userDrawn="1"/>
        </p:nvGrpSpPr>
        <p:grpSpPr>
          <a:xfrm>
            <a:off x="10422255" y="6415243"/>
            <a:ext cx="693334" cy="249834"/>
            <a:chOff x="3078163" y="2341563"/>
            <a:chExt cx="6035676" cy="2174875"/>
          </a:xfrm>
        </p:grpSpPr>
        <p:sp>
          <p:nvSpPr>
            <p:cNvPr id="11" name="Freeform 5">
              <a:extLst>
                <a:ext uri="{FF2B5EF4-FFF2-40B4-BE49-F238E27FC236}">
                  <a16:creationId xmlns:a16="http://schemas.microsoft.com/office/drawing/2014/main" id="{F7B76C91-4540-4DC5-8361-CAAD370D4759}"/>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 name="Freeform 6">
              <a:extLst>
                <a:ext uri="{FF2B5EF4-FFF2-40B4-BE49-F238E27FC236}">
                  <a16:creationId xmlns:a16="http://schemas.microsoft.com/office/drawing/2014/main" id="{B447280B-E287-433E-9DDE-723F382EB05A}"/>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 name="Freeform 7">
              <a:extLst>
                <a:ext uri="{FF2B5EF4-FFF2-40B4-BE49-F238E27FC236}">
                  <a16:creationId xmlns:a16="http://schemas.microsoft.com/office/drawing/2014/main" id="{222D82A4-34AB-4E65-B9EC-FBD3F45EAC64}"/>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 name="Freeform 8">
              <a:extLst>
                <a:ext uri="{FF2B5EF4-FFF2-40B4-BE49-F238E27FC236}">
                  <a16:creationId xmlns:a16="http://schemas.microsoft.com/office/drawing/2014/main" id="{AC55DD2C-E1F5-48DF-A343-A3FE4C767D80}"/>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 name="Freeform 9">
              <a:extLst>
                <a:ext uri="{FF2B5EF4-FFF2-40B4-BE49-F238E27FC236}">
                  <a16:creationId xmlns:a16="http://schemas.microsoft.com/office/drawing/2014/main" id="{4FE01FF1-5634-4D2F-8AF2-49F5D0940335}"/>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7" name="Freeform 10">
              <a:extLst>
                <a:ext uri="{FF2B5EF4-FFF2-40B4-BE49-F238E27FC236}">
                  <a16:creationId xmlns:a16="http://schemas.microsoft.com/office/drawing/2014/main" id="{2CE7605C-7D0E-4B0B-9457-96D3B5ADBB63}"/>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 name="Freeform 11">
              <a:extLst>
                <a:ext uri="{FF2B5EF4-FFF2-40B4-BE49-F238E27FC236}">
                  <a16:creationId xmlns:a16="http://schemas.microsoft.com/office/drawing/2014/main" id="{E8B4B322-ACF8-4551-8EF8-8E965F302B40}"/>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390307654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4975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6" name="Group 5">
            <a:extLst>
              <a:ext uri="{FF2B5EF4-FFF2-40B4-BE49-F238E27FC236}">
                <a16:creationId xmlns:a16="http://schemas.microsoft.com/office/drawing/2014/main" id="{5E65FA33-F64D-49E9-A8E2-CDB2E361C19D}"/>
              </a:ext>
            </a:extLst>
          </p:cNvPr>
          <p:cNvGrpSpPr/>
          <p:nvPr userDrawn="1"/>
        </p:nvGrpSpPr>
        <p:grpSpPr>
          <a:xfrm>
            <a:off x="10422255" y="6415243"/>
            <a:ext cx="693334" cy="249834"/>
            <a:chOff x="3078163" y="2341563"/>
            <a:chExt cx="6035676" cy="2174875"/>
          </a:xfrm>
        </p:grpSpPr>
        <p:sp>
          <p:nvSpPr>
            <p:cNvPr id="10" name="Freeform 5">
              <a:extLst>
                <a:ext uri="{FF2B5EF4-FFF2-40B4-BE49-F238E27FC236}">
                  <a16:creationId xmlns:a16="http://schemas.microsoft.com/office/drawing/2014/main" id="{E4426906-2808-41D1-BD38-5F33F1ACE309}"/>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 name="Freeform 6">
              <a:extLst>
                <a:ext uri="{FF2B5EF4-FFF2-40B4-BE49-F238E27FC236}">
                  <a16:creationId xmlns:a16="http://schemas.microsoft.com/office/drawing/2014/main" id="{ADF0FA63-B00C-40BF-B4A6-150FE18921E1}"/>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 name="Freeform 7">
              <a:extLst>
                <a:ext uri="{FF2B5EF4-FFF2-40B4-BE49-F238E27FC236}">
                  <a16:creationId xmlns:a16="http://schemas.microsoft.com/office/drawing/2014/main" id="{BCE206F7-B9A7-4937-B2A7-85E1DCA28A27}"/>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 name="Freeform 8">
              <a:extLst>
                <a:ext uri="{FF2B5EF4-FFF2-40B4-BE49-F238E27FC236}">
                  <a16:creationId xmlns:a16="http://schemas.microsoft.com/office/drawing/2014/main" id="{0A96598B-5532-466C-B22B-95C1A912CBF0}"/>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 name="Freeform 9">
              <a:extLst>
                <a:ext uri="{FF2B5EF4-FFF2-40B4-BE49-F238E27FC236}">
                  <a16:creationId xmlns:a16="http://schemas.microsoft.com/office/drawing/2014/main" id="{660200CC-E83B-4EE5-A9AA-B645AE6DD68A}"/>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 name="Freeform 10">
              <a:extLst>
                <a:ext uri="{FF2B5EF4-FFF2-40B4-BE49-F238E27FC236}">
                  <a16:creationId xmlns:a16="http://schemas.microsoft.com/office/drawing/2014/main" id="{55BB60FB-3321-4C4D-B683-ED71A9D0532F}"/>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 name="Freeform 11">
              <a:extLst>
                <a:ext uri="{FF2B5EF4-FFF2-40B4-BE49-F238E27FC236}">
                  <a16:creationId xmlns:a16="http://schemas.microsoft.com/office/drawing/2014/main" id="{DC60BE37-0EE1-44A5-863B-D49FB31B8D47}"/>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7" name="Rectangle 3">
            <a:extLst>
              <a:ext uri="{FF2B5EF4-FFF2-40B4-BE49-F238E27FC236}">
                <a16:creationId xmlns:a16="http://schemas.microsoft.com/office/drawing/2014/main" id="{DD6B5B91-9B0A-4E11-BCDB-F34117D445C6}"/>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rgbClr val="0069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 name="Slide Number">
            <a:extLst>
              <a:ext uri="{FF2B5EF4-FFF2-40B4-BE49-F238E27FC236}">
                <a16:creationId xmlns:a16="http://schemas.microsoft.com/office/drawing/2014/main" id="{F1C57EB6-1C1E-4DD6-87E2-C7BEC339F73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83000193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19975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1" hidden="1">
            <a:extLst>
              <a:ext uri="{FF2B5EF4-FFF2-40B4-BE49-F238E27FC236}">
                <a16:creationId xmlns:a16="http://schemas.microsoft.com/office/drawing/2014/main" id="{7F3723AF-A010-4365-B2B8-EA35D9ED462D}"/>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grpSp>
        <p:nvGrpSpPr>
          <p:cNvPr id="7" name="Group 6">
            <a:extLst>
              <a:ext uri="{FF2B5EF4-FFF2-40B4-BE49-F238E27FC236}">
                <a16:creationId xmlns:a16="http://schemas.microsoft.com/office/drawing/2014/main" id="{735BAE23-CABF-460D-9A59-F4F032B5E944}"/>
              </a:ext>
            </a:extLst>
          </p:cNvPr>
          <p:cNvGrpSpPr/>
          <p:nvPr userDrawn="1"/>
        </p:nvGrpSpPr>
        <p:grpSpPr>
          <a:xfrm>
            <a:off x="4133850" y="2721964"/>
            <a:ext cx="3924300" cy="1414072"/>
            <a:chOff x="3078163" y="2341563"/>
            <a:chExt cx="6035676" cy="2174875"/>
          </a:xfrm>
        </p:grpSpPr>
        <p:sp>
          <p:nvSpPr>
            <p:cNvPr id="9" name="Freeform 5">
              <a:extLst>
                <a:ext uri="{FF2B5EF4-FFF2-40B4-BE49-F238E27FC236}">
                  <a16:creationId xmlns:a16="http://schemas.microsoft.com/office/drawing/2014/main" id="{95981154-4B50-45B0-886D-AEFB35221834}"/>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 name="Freeform 6">
              <a:extLst>
                <a:ext uri="{FF2B5EF4-FFF2-40B4-BE49-F238E27FC236}">
                  <a16:creationId xmlns:a16="http://schemas.microsoft.com/office/drawing/2014/main" id="{AE126035-F430-43D1-92E6-DB99610A21DD}"/>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 name="Freeform 7">
              <a:extLst>
                <a:ext uri="{FF2B5EF4-FFF2-40B4-BE49-F238E27FC236}">
                  <a16:creationId xmlns:a16="http://schemas.microsoft.com/office/drawing/2014/main" id="{7CE3DD4B-E6D7-4BE5-8FA3-1E547A1344E3}"/>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2" name="Freeform 8">
              <a:extLst>
                <a:ext uri="{FF2B5EF4-FFF2-40B4-BE49-F238E27FC236}">
                  <a16:creationId xmlns:a16="http://schemas.microsoft.com/office/drawing/2014/main" id="{6508A8D0-3CC1-43CE-BF1B-33CDBB68809D}"/>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 name="Freeform 9">
              <a:extLst>
                <a:ext uri="{FF2B5EF4-FFF2-40B4-BE49-F238E27FC236}">
                  <a16:creationId xmlns:a16="http://schemas.microsoft.com/office/drawing/2014/main" id="{347AAC9C-5EFE-43C5-BDC5-E70AF198B3F0}"/>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 name="Freeform 10">
              <a:extLst>
                <a:ext uri="{FF2B5EF4-FFF2-40B4-BE49-F238E27FC236}">
                  <a16:creationId xmlns:a16="http://schemas.microsoft.com/office/drawing/2014/main" id="{15EF69D3-F677-4D19-94F5-9EBE6457B399}"/>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 name="Freeform 11">
              <a:extLst>
                <a:ext uri="{FF2B5EF4-FFF2-40B4-BE49-F238E27FC236}">
                  <a16:creationId xmlns:a16="http://schemas.microsoft.com/office/drawing/2014/main" id="{4F1BF65F-8192-4696-B742-2E60547BC0D5}"/>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287200321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05792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9518579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07E4FC-2C84-4178-AE33-31103A716B11}"/>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C0B9F2CF-2AB9-4D05-9089-2C36962132C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B7376421-FA82-487B-B770-B99E59E2422F}"/>
              </a:ext>
            </a:extLst>
          </p:cNvPr>
          <p:cNvSpPr>
            <a:spLocks noGrp="1"/>
          </p:cNvSpPr>
          <p:nvPr>
            <p:ph type="dt" sz="half" idx="10"/>
          </p:nvPr>
        </p:nvSpPr>
        <p:spPr>
          <a:xfrm>
            <a:off x="838200" y="6356350"/>
            <a:ext cx="2743200" cy="365125"/>
          </a:xfrm>
          <a:prstGeom prst="rect">
            <a:avLst/>
          </a:prstGeom>
        </p:spPr>
        <p:txBody>
          <a:bodyPr/>
          <a:lstStyle/>
          <a:p>
            <a:fld id="{73BB8A8B-32E8-4455-AD2E-AA5996D0E16D}" type="datetimeFigureOut">
              <a:rPr lang="nl-NL" smtClean="0">
                <a:solidFill>
                  <a:prstClr val="black">
                    <a:tint val="75000"/>
                  </a:prstClr>
                </a:solidFill>
              </a:rPr>
              <a:pPr/>
              <a:t>8-3-2022</a:t>
            </a:fld>
            <a:endParaRPr lang="nl-NL">
              <a:solidFill>
                <a:prstClr val="black">
                  <a:tint val="75000"/>
                </a:prstClr>
              </a:solidFill>
            </a:endParaRPr>
          </a:p>
        </p:txBody>
      </p:sp>
      <p:sp>
        <p:nvSpPr>
          <p:cNvPr id="5" name="Tijdelijke aanduiding voor voettekst 4">
            <a:extLst>
              <a:ext uri="{FF2B5EF4-FFF2-40B4-BE49-F238E27FC236}">
                <a16:creationId xmlns:a16="http://schemas.microsoft.com/office/drawing/2014/main" id="{18ECB4DC-8662-4711-BA37-34BFBEBA46A0}"/>
              </a:ext>
            </a:extLst>
          </p:cNvPr>
          <p:cNvSpPr>
            <a:spLocks noGrp="1"/>
          </p:cNvSpPr>
          <p:nvPr>
            <p:ph type="ftr" sz="quarter" idx="11"/>
          </p:nvPr>
        </p:nvSpPr>
        <p:spPr>
          <a:xfrm>
            <a:off x="4038600" y="6356350"/>
            <a:ext cx="4114800" cy="365125"/>
          </a:xfrm>
          <a:prstGeom prst="rect">
            <a:avLst/>
          </a:prstGeom>
        </p:spPr>
        <p:txBody>
          <a:bodyPr/>
          <a:lstStyle/>
          <a:p>
            <a:endParaRPr lang="nl-NL">
              <a:solidFill>
                <a:prstClr val="black">
                  <a:tint val="75000"/>
                </a:prstClr>
              </a:solidFill>
            </a:endParaRPr>
          </a:p>
        </p:txBody>
      </p:sp>
      <p:sp>
        <p:nvSpPr>
          <p:cNvPr id="6" name="Tijdelijke aanduiding voor dianummer 5">
            <a:extLst>
              <a:ext uri="{FF2B5EF4-FFF2-40B4-BE49-F238E27FC236}">
                <a16:creationId xmlns:a16="http://schemas.microsoft.com/office/drawing/2014/main" id="{8994F951-EE00-4BE2-AE8F-150A57B422F4}"/>
              </a:ext>
            </a:extLst>
          </p:cNvPr>
          <p:cNvSpPr>
            <a:spLocks noGrp="1"/>
          </p:cNvSpPr>
          <p:nvPr>
            <p:ph type="sldNum" sz="quarter" idx="12"/>
          </p:nvPr>
        </p:nvSpPr>
        <p:spPr>
          <a:xfrm>
            <a:off x="8610600" y="6356350"/>
            <a:ext cx="2743200" cy="365125"/>
          </a:xfrm>
          <a:prstGeom prst="rect">
            <a:avLst/>
          </a:prstGeom>
        </p:spPr>
        <p:txBody>
          <a:bodyPr/>
          <a:lstStyle/>
          <a:p>
            <a:fld id="{4EAA3604-42D1-4607-B09D-400CA3A2F451}"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333547360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l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BA19BB-C39A-4409-A81B-55C129D872EC}"/>
              </a:ext>
            </a:extLst>
          </p:cNvPr>
          <p:cNvGraphicFramePr>
            <a:graphicFrameLocks noChangeAspect="1"/>
          </p:cNvGraphicFramePr>
          <p:nvPr userDrawn="1">
            <p:custDataLst>
              <p:tags r:id="rId1"/>
            </p:custDataLst>
            <p:extLst>
              <p:ext uri="{D42A27DB-BD31-4B8C-83A1-F6EECF244321}">
                <p14:modId xmlns:p14="http://schemas.microsoft.com/office/powerpoint/2010/main" val="178014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0DBA19BB-C39A-4409-A81B-55C129D872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C9F9C12-BA03-41E4-B4BE-6BD3B8CC54B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0" i="0" baseline="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en-US"/>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p>
        </p:txBody>
      </p:sp>
    </p:spTree>
    <p:extLst>
      <p:ext uri="{BB962C8B-B14F-4D97-AF65-F5344CB8AC3E}">
        <p14:creationId xmlns:p14="http://schemas.microsoft.com/office/powerpoint/2010/main" val="52219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498201"/>
            <a:ext cx="6364794" cy="360322"/>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38" name="Tijdelijke aanduiding voor tekst 37"/>
          <p:cNvSpPr>
            <a:spLocks noGrp="1"/>
          </p:cNvSpPr>
          <p:nvPr>
            <p:ph type="body" sz="quarter" idx="12" hasCustomPrompt="1"/>
          </p:nvPr>
        </p:nvSpPr>
        <p:spPr>
          <a:xfrm>
            <a:off x="2488926" y="1877251"/>
            <a:ext cx="6365637" cy="380642"/>
          </a:xfrm>
          <a:prstGeom prst="rect">
            <a:avLst/>
          </a:prstGeom>
        </p:spPr>
        <p:txBody>
          <a:bodyPr lIns="0" tIns="0" rIns="0" bIns="0"/>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2489026" y="2888738"/>
            <a:ext cx="6364794" cy="380642"/>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74" name="Tijdelijke aanduiding voor tekst 37"/>
          <p:cNvSpPr>
            <a:spLocks noGrp="1"/>
          </p:cNvSpPr>
          <p:nvPr>
            <p:ph type="body" sz="quarter" idx="39" hasCustomPrompt="1"/>
          </p:nvPr>
        </p:nvSpPr>
        <p:spPr>
          <a:xfrm>
            <a:off x="2488926" y="3267788"/>
            <a:ext cx="6365637" cy="380642"/>
          </a:xfrm>
          <a:prstGeom prst="rect">
            <a:avLst/>
          </a:prstGeom>
        </p:spPr>
        <p:txBody>
          <a:bodyPr lIns="0" tIns="0" rIns="0" bIns="0"/>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75" name="Tijdelijke aanduiding voor tekst 71"/>
          <p:cNvSpPr>
            <a:spLocks noGrp="1"/>
          </p:cNvSpPr>
          <p:nvPr>
            <p:ph type="body" sz="quarter" idx="40" hasCustomPrompt="1"/>
          </p:nvPr>
        </p:nvSpPr>
        <p:spPr>
          <a:xfrm>
            <a:off x="1731788" y="2868420"/>
            <a:ext cx="757238"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2489026" y="4279277"/>
            <a:ext cx="6364794" cy="356275"/>
          </a:xfrm>
          <a:prstGeom prst="rect">
            <a:avLst/>
          </a:prstGeom>
        </p:spPr>
        <p:txBody>
          <a:bodyPr lIns="0" tIns="0" rIns="0" bIns="0"/>
          <a:lstStyle>
            <a:lvl1pPr marL="0" indent="0">
              <a:lnSpc>
                <a:spcPct val="100000"/>
              </a:lnSpc>
              <a:spcBef>
                <a:spcPts val="0"/>
              </a:spcBef>
              <a:buNone/>
              <a:defRPr sz="1999">
                <a:solidFill>
                  <a:schemeClr val="accent1"/>
                </a:solidFill>
              </a:defRPr>
            </a:lvl1pPr>
            <a:lvl2pPr marL="456971" indent="0">
              <a:buNone/>
              <a:defRPr/>
            </a:lvl2pPr>
            <a:lvl3pPr marL="913943" indent="0">
              <a:buNone/>
              <a:defRPr/>
            </a:lvl3pPr>
            <a:lvl4pPr marL="1370914" indent="0">
              <a:buNone/>
              <a:defRPr/>
            </a:lvl4pPr>
            <a:lvl5pPr marL="1827886" indent="0">
              <a:buNone/>
              <a:defRPr/>
            </a:lvl5pPr>
          </a:lstStyle>
          <a:p>
            <a:pPr lvl="0"/>
            <a:r>
              <a:rPr lang="nl-NL" noProof="0"/>
              <a:t>Agendaonderwerp
</a:t>
            </a:r>
          </a:p>
        </p:txBody>
      </p:sp>
      <p:sp>
        <p:nvSpPr>
          <p:cNvPr id="77" name="Tijdelijke aanduiding voor tekst 37"/>
          <p:cNvSpPr>
            <a:spLocks noGrp="1"/>
          </p:cNvSpPr>
          <p:nvPr>
            <p:ph type="body" sz="quarter" idx="42" hasCustomPrompt="1"/>
          </p:nvPr>
        </p:nvSpPr>
        <p:spPr>
          <a:xfrm>
            <a:off x="2488926" y="4658325"/>
            <a:ext cx="6365637" cy="380642"/>
          </a:xfrm>
          <a:prstGeom prst="rect">
            <a:avLst/>
          </a:prstGeom>
        </p:spPr>
        <p:txBody>
          <a:bodyPr lIns="0" tIns="0" rIns="0" bIns="0"/>
          <a:lstStyle>
            <a:lvl1pPr marL="0" indent="0">
              <a:buNone/>
              <a:defRPr sz="1199">
                <a:solidFill>
                  <a:schemeClr val="tx1">
                    <a:lumMod val="50000"/>
                    <a:lumOff val="50000"/>
                  </a:schemeClr>
                </a:solidFill>
              </a:defRPr>
            </a:lvl1pPr>
            <a:lvl2pPr>
              <a:defRPr sz="1199">
                <a:solidFill>
                  <a:schemeClr val="tx1"/>
                </a:solidFill>
              </a:defRPr>
            </a:lvl2pPr>
            <a:lvl3pPr>
              <a:defRPr sz="1199">
                <a:solidFill>
                  <a:schemeClr val="tx1"/>
                </a:solidFill>
              </a:defRPr>
            </a:lvl3pPr>
            <a:lvl4pPr>
              <a:defRPr sz="1199">
                <a:solidFill>
                  <a:schemeClr val="tx1"/>
                </a:solidFill>
              </a:defRPr>
            </a:lvl4pPr>
            <a:lvl5pPr>
              <a:defRPr sz="1199">
                <a:solidFill>
                  <a:schemeClr val="tx1"/>
                </a:solidFill>
              </a:defRPr>
            </a:lvl5pPr>
          </a:lstStyle>
          <a:p>
            <a:pPr lvl="0"/>
            <a:r>
              <a:rPr lang="nl-NL" noProof="0"/>
              <a:t>Extra tekst
</a:t>
            </a:r>
          </a:p>
        </p:txBody>
      </p:sp>
      <p:sp>
        <p:nvSpPr>
          <p:cNvPr id="78" name="Tijdelijke aanduiding voor tekst 71"/>
          <p:cNvSpPr>
            <a:spLocks noGrp="1"/>
          </p:cNvSpPr>
          <p:nvPr>
            <p:ph type="body" sz="quarter" idx="43" hasCustomPrompt="1"/>
          </p:nvPr>
        </p:nvSpPr>
        <p:spPr>
          <a:xfrm>
            <a:off x="1731788" y="4258957"/>
            <a:ext cx="757238" cy="757237"/>
          </a:xfrm>
          <a:prstGeom prst="rect">
            <a:avLst/>
          </a:prstGeom>
        </p:spPr>
        <p:txBody>
          <a:bodyPr lIns="0" tIns="0" rIns="0" bIns="0"/>
          <a:lstStyle>
            <a:lvl1pPr marL="0" indent="0">
              <a:buNone/>
              <a:defRPr sz="3198">
                <a:solidFill>
                  <a:schemeClr val="tx2"/>
                </a:solidFill>
                <a:latin typeface="+mj-lt"/>
              </a:defRPr>
            </a:lvl1pPr>
            <a:lvl2pPr marL="456971" indent="0">
              <a:buNone/>
              <a:defRPr/>
            </a:lvl2pPr>
            <a:lvl3pPr marL="913943" indent="0">
              <a:buNone/>
              <a:defRPr/>
            </a:lvl3pPr>
            <a:lvl4pPr marL="1370914" indent="0">
              <a:buNone/>
              <a:defRPr/>
            </a:lvl4pPr>
            <a:lvl5pPr marL="1827886" indent="0">
              <a:buNone/>
              <a:defRPr/>
            </a:lvl5pPr>
          </a:lstStyle>
          <a:p>
            <a:pPr lvl="0"/>
            <a:r>
              <a:rPr lang="en-US" noProof="0"/>
              <a:t>nr</a:t>
            </a:r>
          </a:p>
        </p:txBody>
      </p:sp>
      <p:sp>
        <p:nvSpPr>
          <p:cNvPr id="14" name="Title 1">
            <a:extLst>
              <a:ext uri="{FF2B5EF4-FFF2-40B4-BE49-F238E27FC236}">
                <a16:creationId xmlns:a16="http://schemas.microsoft.com/office/drawing/2014/main" id="{74D8B13C-D7AD-40E5-AB16-80CE14088C6E}"/>
              </a:ext>
            </a:extLst>
          </p:cNvPr>
          <p:cNvSpPr>
            <a:spLocks noGrp="1"/>
          </p:cNvSpPr>
          <p:nvPr>
            <p:ph type="title" hasCustomPrompt="1"/>
          </p:nvPr>
        </p:nvSpPr>
        <p:spPr>
          <a:xfrm>
            <a:off x="579601" y="1"/>
            <a:ext cx="10515600" cy="1180618"/>
          </a:xfrm>
          <a:prstGeom prst="rect">
            <a:avLst/>
          </a:prstGeom>
        </p:spPr>
        <p:txBody>
          <a:bodyPr lIns="0" tIns="0" rIns="0" bIns="72000" anchor="b" anchorCtr="0"/>
          <a:lstStyle>
            <a:lvl1pPr marL="0" indent="0" algn="l">
              <a:buFont typeface="Arial" panose="020B0604020202020204" pitchFamily="34" charset="0"/>
              <a:buNone/>
              <a:defRPr sz="3598">
                <a:solidFill>
                  <a:schemeClr val="accent1"/>
                </a:solidFill>
              </a:defRPr>
            </a:lvl1pPr>
          </a:lstStyle>
          <a:p>
            <a:r>
              <a:rPr lang="nl-NL" noProof="0"/>
              <a:t>Klik hier om de titelstijl van het stramien te bewerken</a:t>
            </a:r>
          </a:p>
        </p:txBody>
      </p:sp>
    </p:spTree>
    <p:extLst>
      <p:ext uri="{BB962C8B-B14F-4D97-AF65-F5344CB8AC3E}">
        <p14:creationId xmlns:p14="http://schemas.microsoft.com/office/powerpoint/2010/main" val="1991567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olding slide">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90C0BC2C-E703-407C-8C07-F08C1589AEE4}"/>
              </a:ext>
            </a:extLst>
          </p:cNvPr>
          <p:cNvGrpSpPr/>
          <p:nvPr userDrawn="1"/>
        </p:nvGrpSpPr>
        <p:grpSpPr>
          <a:xfrm>
            <a:off x="2895600" y="2275777"/>
            <a:ext cx="6400800" cy="2306446"/>
            <a:chOff x="2895600" y="2275777"/>
            <a:chExt cx="6400800" cy="2306446"/>
          </a:xfrm>
        </p:grpSpPr>
        <p:sp>
          <p:nvSpPr>
            <p:cNvPr id="21" name="Vrije vorm: vorm 20">
              <a:extLst>
                <a:ext uri="{FF2B5EF4-FFF2-40B4-BE49-F238E27FC236}">
                  <a16:creationId xmlns:a16="http://schemas.microsoft.com/office/drawing/2014/main" id="{CA9E3DDA-395C-4DDD-B1D8-656220373CB1}"/>
                </a:ext>
              </a:extLst>
            </p:cNvPr>
            <p:cNvSpPr>
              <a:spLocks/>
            </p:cNvSpPr>
            <p:nvPr userDrawn="1"/>
          </p:nvSpPr>
          <p:spPr bwMode="auto">
            <a:xfrm>
              <a:off x="2895600" y="2275777"/>
              <a:ext cx="2087583" cy="2306446"/>
            </a:xfrm>
            <a:custGeom>
              <a:avLst/>
              <a:gdLst>
                <a:gd name="connsiteX0" fmla="*/ 1712156 w 2087583"/>
                <a:gd name="connsiteY0" fmla="*/ 643111 h 2306446"/>
                <a:gd name="connsiteX1" fmla="*/ 1888927 w 2087583"/>
                <a:gd name="connsiteY1" fmla="*/ 1190261 h 2306446"/>
                <a:gd name="connsiteX2" fmla="*/ 1540435 w 2087583"/>
                <a:gd name="connsiteY2" fmla="*/ 1183527 h 2306446"/>
                <a:gd name="connsiteX3" fmla="*/ 1725623 w 2087583"/>
                <a:gd name="connsiteY3" fmla="*/ 0 h 2306446"/>
                <a:gd name="connsiteX4" fmla="*/ 1841787 w 2087583"/>
                <a:gd name="connsiteY4" fmla="*/ 348492 h 2306446"/>
                <a:gd name="connsiteX5" fmla="*/ 1587573 w 2087583"/>
                <a:gd name="connsiteY5" fmla="*/ 348492 h 2306446"/>
                <a:gd name="connsiteX6" fmla="*/ 1176791 w 2087583"/>
                <a:gd name="connsiteY6" fmla="*/ 1580842 h 2306446"/>
                <a:gd name="connsiteX7" fmla="*/ 1424271 w 2087583"/>
                <a:gd name="connsiteY7" fmla="*/ 1580842 h 2306446"/>
                <a:gd name="connsiteX8" fmla="*/ 1478144 w 2087583"/>
                <a:gd name="connsiteY8" fmla="*/ 1388918 h 2306446"/>
                <a:gd name="connsiteX9" fmla="*/ 1957951 w 2087583"/>
                <a:gd name="connsiteY9" fmla="*/ 1388918 h 2306446"/>
                <a:gd name="connsiteX10" fmla="*/ 2087583 w 2087583"/>
                <a:gd name="connsiteY10" fmla="*/ 1806436 h 2306446"/>
                <a:gd name="connsiteX11" fmla="*/ 569035 w 2087583"/>
                <a:gd name="connsiteY11" fmla="*/ 2306446 h 2306446"/>
                <a:gd name="connsiteX12" fmla="*/ 0 w 2087583"/>
                <a:gd name="connsiteY12" fmla="*/ 567352 h 230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7583" h="2306446">
                  <a:moveTo>
                    <a:pt x="1712156" y="643111"/>
                  </a:moveTo>
                  <a:lnTo>
                    <a:pt x="1888927" y="1190261"/>
                  </a:lnTo>
                  <a:lnTo>
                    <a:pt x="1540435" y="1183527"/>
                  </a:lnTo>
                  <a:close/>
                  <a:moveTo>
                    <a:pt x="1725623" y="0"/>
                  </a:moveTo>
                  <a:lnTo>
                    <a:pt x="1841787" y="348492"/>
                  </a:lnTo>
                  <a:lnTo>
                    <a:pt x="1587573" y="348492"/>
                  </a:lnTo>
                  <a:lnTo>
                    <a:pt x="1176791" y="1580842"/>
                  </a:lnTo>
                  <a:lnTo>
                    <a:pt x="1424271" y="1580842"/>
                  </a:lnTo>
                  <a:lnTo>
                    <a:pt x="1478144" y="1388918"/>
                  </a:lnTo>
                  <a:lnTo>
                    <a:pt x="1957951" y="1388918"/>
                  </a:lnTo>
                  <a:lnTo>
                    <a:pt x="2087583" y="1806436"/>
                  </a:lnTo>
                  <a:lnTo>
                    <a:pt x="569035" y="2306446"/>
                  </a:lnTo>
                  <a:lnTo>
                    <a:pt x="0" y="56735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nl-NL" sz="1799"/>
            </a:p>
          </p:txBody>
        </p:sp>
        <p:sp>
          <p:nvSpPr>
            <p:cNvPr id="16" name="Freeform 7">
              <a:extLst>
                <a:ext uri="{FF2B5EF4-FFF2-40B4-BE49-F238E27FC236}">
                  <a16:creationId xmlns:a16="http://schemas.microsoft.com/office/drawing/2014/main" id="{22CB442A-9BFA-4C2F-8B09-4981059B3B0B}"/>
                </a:ext>
              </a:extLst>
            </p:cNvPr>
            <p:cNvSpPr>
              <a:spLocks/>
            </p:cNvSpPr>
            <p:nvPr userDrawn="1"/>
          </p:nvSpPr>
          <p:spPr bwMode="auto">
            <a:xfrm>
              <a:off x="4936044" y="2639421"/>
              <a:ext cx="888906" cy="1210464"/>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sp>
          <p:nvSpPr>
            <p:cNvPr id="17" name="Freeform 8">
              <a:extLst>
                <a:ext uri="{FF2B5EF4-FFF2-40B4-BE49-F238E27FC236}">
                  <a16:creationId xmlns:a16="http://schemas.microsoft.com/office/drawing/2014/main" id="{2076A068-17F1-4D27-957C-9CFB21F4777C}"/>
                </a:ext>
              </a:extLst>
            </p:cNvPr>
            <p:cNvSpPr>
              <a:spLocks/>
            </p:cNvSpPr>
            <p:nvPr userDrawn="1"/>
          </p:nvSpPr>
          <p:spPr bwMode="auto">
            <a:xfrm>
              <a:off x="8345202" y="2639421"/>
              <a:ext cx="951198" cy="1203730"/>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sp>
          <p:nvSpPr>
            <p:cNvPr id="18" name="Freeform 9">
              <a:extLst>
                <a:ext uri="{FF2B5EF4-FFF2-40B4-BE49-F238E27FC236}">
                  <a16:creationId xmlns:a16="http://schemas.microsoft.com/office/drawing/2014/main" id="{B41E182A-3121-41A6-8205-38D2B47289F4}"/>
                </a:ext>
              </a:extLst>
            </p:cNvPr>
            <p:cNvSpPr>
              <a:spLocks/>
            </p:cNvSpPr>
            <p:nvPr userDrawn="1"/>
          </p:nvSpPr>
          <p:spPr bwMode="auto">
            <a:xfrm>
              <a:off x="5840103" y="2604067"/>
              <a:ext cx="1067361" cy="1272754"/>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sp>
          <p:nvSpPr>
            <p:cNvPr id="19" name="Freeform 10">
              <a:extLst>
                <a:ext uri="{FF2B5EF4-FFF2-40B4-BE49-F238E27FC236}">
                  <a16:creationId xmlns:a16="http://schemas.microsoft.com/office/drawing/2014/main" id="{789A2F69-5ED1-498D-A0B0-57D4FA4EF769}"/>
                </a:ext>
              </a:extLst>
            </p:cNvPr>
            <p:cNvSpPr>
              <a:spLocks/>
            </p:cNvSpPr>
            <p:nvPr userDrawn="1"/>
          </p:nvSpPr>
          <p:spPr bwMode="auto">
            <a:xfrm>
              <a:off x="7050564" y="2597333"/>
              <a:ext cx="1143121" cy="1272754"/>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sp>
          <p:nvSpPr>
            <p:cNvPr id="20" name="Freeform 11">
              <a:extLst>
                <a:ext uri="{FF2B5EF4-FFF2-40B4-BE49-F238E27FC236}">
                  <a16:creationId xmlns:a16="http://schemas.microsoft.com/office/drawing/2014/main" id="{5A13FF52-B406-4569-A479-67CEFA7F7939}"/>
                </a:ext>
              </a:extLst>
            </p:cNvPr>
            <p:cNvSpPr>
              <a:spLocks/>
            </p:cNvSpPr>
            <p:nvPr userDrawn="1"/>
          </p:nvSpPr>
          <p:spPr bwMode="auto">
            <a:xfrm>
              <a:off x="5237397" y="4151237"/>
              <a:ext cx="3319930" cy="122899"/>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grpSp>
    </p:spTree>
    <p:extLst>
      <p:ext uri="{BB962C8B-B14F-4D97-AF65-F5344CB8AC3E}">
        <p14:creationId xmlns:p14="http://schemas.microsoft.com/office/powerpoint/2010/main" val="35486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567" indent="-266567">
              <a:buClr>
                <a:schemeClr val="accent1"/>
              </a:buClr>
              <a:defRPr sz="1999">
                <a:solidFill>
                  <a:schemeClr val="tx1"/>
                </a:solidFill>
              </a:defRPr>
            </a:lvl1pPr>
            <a:lvl2pPr marL="625162" indent="-266567">
              <a:buClr>
                <a:schemeClr val="accent1"/>
              </a:buClr>
              <a:buFont typeface="Calibri" panose="020F0502020204030204" pitchFamily="34" charset="0"/>
              <a:buChar char="-"/>
              <a:defRPr sz="1799">
                <a:solidFill>
                  <a:schemeClr val="tx1">
                    <a:lumMod val="50000"/>
                    <a:lumOff val="50000"/>
                  </a:schemeClr>
                </a:solidFill>
              </a:defRPr>
            </a:lvl2pPr>
            <a:lvl3pPr marL="890143" indent="-264980">
              <a:buClr>
                <a:schemeClr val="accent1"/>
              </a:buClr>
              <a:buFont typeface="Wingdings" panose="05000000000000000000" pitchFamily="2" charset="2"/>
              <a:buChar char="§"/>
              <a:defRPr sz="1599">
                <a:solidFill>
                  <a:schemeClr val="tx1"/>
                </a:solidFill>
              </a:defRPr>
            </a:lvl3pPr>
          </a:lstStyle>
          <a:p>
            <a:pPr lvl="0"/>
            <a:r>
              <a:rPr lang="nl-NL" noProof="0"/>
              <a:t>Aanpassen tekst</a:t>
            </a:r>
          </a:p>
          <a:p>
            <a:pPr lvl="1"/>
            <a:r>
              <a:rPr lang="nl-NL" noProof="0"/>
              <a:t>Tweede level</a:t>
            </a:r>
          </a:p>
          <a:p>
            <a:pPr lvl="2"/>
            <a:r>
              <a:rPr lang="nl-NL" noProof="0"/>
              <a:t>Derde level</a:t>
            </a:r>
          </a:p>
        </p:txBody>
      </p:sp>
    </p:spTree>
    <p:extLst>
      <p:ext uri="{BB962C8B-B14F-4D97-AF65-F5344CB8AC3E}">
        <p14:creationId xmlns:p14="http://schemas.microsoft.com/office/powerpoint/2010/main" val="778994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59" name="Vrije vorm: vorm 58">
            <a:extLst>
              <a:ext uri="{FF2B5EF4-FFF2-40B4-BE49-F238E27FC236}">
                <a16:creationId xmlns:a16="http://schemas.microsoft.com/office/drawing/2014/main" id="{CF061A2A-C969-47FB-87D7-2FEBCBE23B6B}"/>
              </a:ext>
            </a:extLst>
          </p:cNvPr>
          <p:cNvSpPr/>
          <p:nvPr userDrawn="1"/>
        </p:nvSpPr>
        <p:spPr>
          <a:xfrm>
            <a:off x="4125816" y="6186070"/>
            <a:ext cx="7292723" cy="671930"/>
          </a:xfrm>
          <a:custGeom>
            <a:avLst/>
            <a:gdLst>
              <a:gd name="connsiteX0" fmla="*/ 3272 w 7292723"/>
              <a:gd name="connsiteY0" fmla="*/ 663481 h 671930"/>
              <a:gd name="connsiteX1" fmla="*/ 3272 w 7292723"/>
              <a:gd name="connsiteY1" fmla="*/ 671930 h 671930"/>
              <a:gd name="connsiteX2" fmla="*/ 382 w 7292723"/>
              <a:gd name="connsiteY2" fmla="*/ 671930 h 671930"/>
              <a:gd name="connsiteX3" fmla="*/ 292308 w 7292723"/>
              <a:gd name="connsiteY3" fmla="*/ 0 h 671930"/>
              <a:gd name="connsiteX4" fmla="*/ 7292723 w 7292723"/>
              <a:gd name="connsiteY4" fmla="*/ 0 h 671930"/>
              <a:gd name="connsiteX5" fmla="*/ 7062885 w 7292723"/>
              <a:gd name="connsiteY5" fmla="*/ 671930 h 671930"/>
              <a:gd name="connsiteX6" fmla="*/ 62470 w 7292723"/>
              <a:gd name="connsiteY6" fmla="*/ 671930 h 671930"/>
              <a:gd name="connsiteX7" fmla="*/ 0 w 7292723"/>
              <a:gd name="connsiteY7" fmla="*/ 0 h 671930"/>
              <a:gd name="connsiteX8" fmla="*/ 382 w 7292723"/>
              <a:gd name="connsiteY8" fmla="*/ 0 h 671930"/>
              <a:gd name="connsiteX9" fmla="*/ 382 w 7292723"/>
              <a:gd name="connsiteY9" fmla="*/ 671930 h 671930"/>
              <a:gd name="connsiteX10" fmla="*/ 0 w 7292723"/>
              <a:gd name="connsiteY10" fmla="*/ 671930 h 67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92723" h="671930">
                <a:moveTo>
                  <a:pt x="3272" y="663481"/>
                </a:moveTo>
                <a:lnTo>
                  <a:pt x="3272" y="671930"/>
                </a:lnTo>
                <a:lnTo>
                  <a:pt x="382" y="671930"/>
                </a:lnTo>
                <a:close/>
                <a:moveTo>
                  <a:pt x="292308" y="0"/>
                </a:moveTo>
                <a:lnTo>
                  <a:pt x="7292723" y="0"/>
                </a:lnTo>
                <a:lnTo>
                  <a:pt x="7062885" y="671930"/>
                </a:lnTo>
                <a:lnTo>
                  <a:pt x="62470" y="671930"/>
                </a:lnTo>
                <a:close/>
                <a:moveTo>
                  <a:pt x="0" y="0"/>
                </a:moveTo>
                <a:lnTo>
                  <a:pt x="382" y="0"/>
                </a:lnTo>
                <a:lnTo>
                  <a:pt x="382" y="671930"/>
                </a:lnTo>
                <a:lnTo>
                  <a:pt x="0" y="6719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88817" y="1554899"/>
            <a:ext cx="4641551" cy="1564710"/>
          </a:xfrm>
          <a:prstGeom prst="rect">
            <a:avLst/>
          </a:prstGeom>
        </p:spPr>
        <p:txBody>
          <a:bodyPr lIns="0" tIns="0" rIns="0" bIns="0" anchor="ctr"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5241130"/>
            <a:ext cx="3708862" cy="304800"/>
          </a:xfrm>
          <a:prstGeom prst="rect">
            <a:avLst/>
          </a:prstGeom>
        </p:spPr>
        <p:txBody>
          <a:bodyPr lIns="0" anchor="ctr"/>
          <a:lstStyle>
            <a:lvl1pPr marL="0" indent="0">
              <a:buNone/>
              <a:defRPr sz="1200" b="0" i="0">
                <a:solidFill>
                  <a:schemeClr val="tx1">
                    <a:lumMod val="75000"/>
                    <a:lumOff val="25000"/>
                  </a:schemeClr>
                </a:solidFill>
              </a:defRPr>
            </a:lvl1pPr>
            <a:lvl2pPr marL="457200" indent="0">
              <a:buNone/>
              <a:defRPr sz="800" b="1" i="0">
                <a:solidFill>
                  <a:schemeClr val="bg1"/>
                </a:solidFill>
              </a:defRPr>
            </a:lvl2pPr>
            <a:lvl3pPr marL="914400" indent="0">
              <a:buNone/>
              <a:defRPr sz="800" i="1"/>
            </a:lvl3pPr>
            <a:lvl4pPr marL="1371600" indent="0">
              <a:buNone/>
              <a:defRPr sz="800" i="1"/>
            </a:lvl4pPr>
            <a:lvl5pPr marL="1828800" indent="0">
              <a:buNone/>
              <a:defRPr sz="800" i="1"/>
            </a:lvl5pPr>
          </a:lstStyle>
          <a:p>
            <a:pPr lvl="0"/>
            <a:r>
              <a:rPr lang="en-US" noProof="0"/>
              <a:t>City, Country, Date, Year</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7" y="3661068"/>
            <a:ext cx="4641551" cy="325447"/>
          </a:xfrm>
          <a:prstGeom prst="rect">
            <a:avLst/>
          </a:prstGeom>
        </p:spPr>
        <p:txBody>
          <a:bodyPr lIns="0" tIns="0" rIns="0" bIns="0" anchor="ctr" anchorCtr="0"/>
          <a:lstStyle>
            <a:lvl1pPr marL="0" indent="0">
              <a:buNone/>
              <a:defRPr sz="1600" b="1">
                <a:solidFill>
                  <a:schemeClr val="accent1"/>
                </a:solidFill>
              </a:defRPr>
            </a:lvl1pPr>
            <a:lvl2pPr marL="0" indent="0">
              <a:buNone/>
              <a:defRPr sz="1400">
                <a:solidFill>
                  <a:schemeClr val="bg2"/>
                </a:solidFill>
              </a:defRPr>
            </a:lvl2pPr>
          </a:lstStyle>
          <a:p>
            <a:pPr lvl="0"/>
            <a:r>
              <a:rPr lang="en-US" noProof="0"/>
              <a:t>Put department here</a:t>
            </a:r>
          </a:p>
        </p:txBody>
      </p:sp>
      <p:sp>
        <p:nvSpPr>
          <p:cNvPr id="61" name="Tijdelijke aanduiding voor afbeelding 60">
            <a:extLst>
              <a:ext uri="{FF2B5EF4-FFF2-40B4-BE49-F238E27FC236}">
                <a16:creationId xmlns:a16="http://schemas.microsoft.com/office/drawing/2014/main" id="{8F4F692A-378F-44E7-A1C8-941AAE1217A2}"/>
              </a:ext>
            </a:extLst>
          </p:cNvPr>
          <p:cNvSpPr>
            <a:spLocks noGrp="1"/>
          </p:cNvSpPr>
          <p:nvPr>
            <p:ph type="pic" sz="quarter" idx="12" hasCustomPrompt="1"/>
          </p:nvPr>
        </p:nvSpPr>
        <p:spPr>
          <a:xfrm>
            <a:off x="4418018" y="-6312"/>
            <a:ext cx="7771920" cy="6225314"/>
          </a:xfrm>
          <a:custGeom>
            <a:avLst/>
            <a:gdLst>
              <a:gd name="connsiteX0" fmla="*/ 2118250 w 7771920"/>
              <a:gd name="connsiteY0" fmla="*/ 0 h 6225314"/>
              <a:gd name="connsiteX1" fmla="*/ 7768034 w 7771920"/>
              <a:gd name="connsiteY1" fmla="*/ 1151 h 6225314"/>
              <a:gd name="connsiteX2" fmla="*/ 7771920 w 7771920"/>
              <a:gd name="connsiteY2" fmla="*/ 3349434 h 6225314"/>
              <a:gd name="connsiteX3" fmla="*/ 7771478 w 7771920"/>
              <a:gd name="connsiteY3" fmla="*/ 3938492 h 6225314"/>
              <a:gd name="connsiteX4" fmla="*/ 6989256 w 7771920"/>
              <a:gd name="connsiteY4" fmla="*/ 6225314 h 6225314"/>
              <a:gd name="connsiteX5" fmla="*/ 0 w 7771920"/>
              <a:gd name="connsiteY5" fmla="*/ 6192693 h 6225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1920" h="6225314">
                <a:moveTo>
                  <a:pt x="2118250" y="0"/>
                </a:moveTo>
                <a:lnTo>
                  <a:pt x="7768034" y="1151"/>
                </a:lnTo>
                <a:cubicBezTo>
                  <a:pt x="7764526" y="1126594"/>
                  <a:pt x="7770624" y="2233340"/>
                  <a:pt x="7771920" y="3349434"/>
                </a:cubicBezTo>
                <a:lnTo>
                  <a:pt x="7771478" y="3938492"/>
                </a:lnTo>
                <a:lnTo>
                  <a:pt x="6989256" y="6225314"/>
                </a:lnTo>
                <a:lnTo>
                  <a:pt x="0" y="619269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Font typeface="Arial" panose="020B0604020202020204" pitchFamily="34" charset="0"/>
              <a:buNone/>
              <a:defRPr lang="nl-NL" sz="1600"/>
            </a:lvl1pPr>
          </a:lstStyle>
          <a:p>
            <a:pPr marL="228600" lvl="0" indent="-228600" algn="ctr"/>
            <a:r>
              <a:rPr lang="en-US" noProof="0"/>
              <a:t>Click icon to insert an image</a:t>
            </a:r>
          </a:p>
        </p:txBody>
      </p:sp>
      <p:pic>
        <p:nvPicPr>
          <p:cNvPr id="32" name="Picture 31" descr="A close up of a logo&#10;&#10;Description automatically generated">
            <a:extLst>
              <a:ext uri="{FF2B5EF4-FFF2-40B4-BE49-F238E27FC236}">
                <a16:creationId xmlns:a16="http://schemas.microsoft.com/office/drawing/2014/main" id="{1493A41B-8A8D-ED4A-A236-E590C2AA41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5" y="-8305"/>
            <a:ext cx="2321311" cy="1332543"/>
          </a:xfrm>
          <a:prstGeom prst="rect">
            <a:avLst/>
          </a:prstGeom>
        </p:spPr>
      </p:pic>
      <p:sp>
        <p:nvSpPr>
          <p:cNvPr id="13" name="Tijdelijke aanduiding voor tekst 12">
            <a:extLst>
              <a:ext uri="{FF2B5EF4-FFF2-40B4-BE49-F238E27FC236}">
                <a16:creationId xmlns:a16="http://schemas.microsoft.com/office/drawing/2014/main" id="{D1D1B9CC-7A37-4B19-AEAE-B3F3C09EB1E4}"/>
              </a:ext>
            </a:extLst>
          </p:cNvPr>
          <p:cNvSpPr>
            <a:spLocks noGrp="1"/>
          </p:cNvSpPr>
          <p:nvPr>
            <p:ph type="body" sz="quarter" idx="13" hasCustomPrompt="1"/>
          </p:nvPr>
        </p:nvSpPr>
        <p:spPr>
          <a:xfrm>
            <a:off x="588963" y="4182184"/>
            <a:ext cx="4397375" cy="288925"/>
          </a:xfrm>
          <a:prstGeom prst="rect">
            <a:avLst/>
          </a:prstGeom>
        </p:spPr>
        <p:txBody>
          <a:bodyPr lIns="0" tIns="0" rIns="0" bIns="0" anchor="ctr" anchorCtr="0"/>
          <a:lstStyle>
            <a:lvl1pPr marL="0" indent="0">
              <a:buNone/>
              <a:defRPr lang="nl-NL" sz="1600" b="1" kern="1200" dirty="0">
                <a:solidFill>
                  <a:schemeClr val="tx2"/>
                </a:solidFill>
                <a:latin typeface="+mn-lt"/>
                <a:ea typeface="+mn-ea"/>
                <a:cs typeface="+mn-cs"/>
              </a:defRPr>
            </a:lvl1pPr>
          </a:lstStyle>
          <a:p>
            <a:pPr lvl="0"/>
            <a:r>
              <a:rPr lang="en-US" noProof="0"/>
              <a:t>Name Speaker</a:t>
            </a:r>
          </a:p>
        </p:txBody>
      </p:sp>
      <p:sp>
        <p:nvSpPr>
          <p:cNvPr id="44" name="Tijdelijke aanduiding voor tekst 12">
            <a:extLst>
              <a:ext uri="{FF2B5EF4-FFF2-40B4-BE49-F238E27FC236}">
                <a16:creationId xmlns:a16="http://schemas.microsoft.com/office/drawing/2014/main" id="{610F4E30-8C76-49D0-906F-40210A812200}"/>
              </a:ext>
            </a:extLst>
          </p:cNvPr>
          <p:cNvSpPr>
            <a:spLocks noGrp="1"/>
          </p:cNvSpPr>
          <p:nvPr>
            <p:ph type="body" sz="quarter" idx="14" hasCustomPrompt="1"/>
          </p:nvPr>
        </p:nvSpPr>
        <p:spPr>
          <a:xfrm>
            <a:off x="588963" y="4511749"/>
            <a:ext cx="4397375" cy="288925"/>
          </a:xfrm>
          <a:prstGeom prst="rect">
            <a:avLst/>
          </a:prstGeom>
        </p:spPr>
        <p:txBody>
          <a:bodyPr lIns="0" tIns="0" rIns="0" bIns="0" anchor="ctr" anchorCtr="0"/>
          <a:lstStyle>
            <a:lvl1pPr marL="0" indent="0">
              <a:buNone/>
              <a:defRPr lang="nl-NL" sz="1600" b="0" kern="1200" dirty="0">
                <a:solidFill>
                  <a:schemeClr val="bg2"/>
                </a:solidFill>
                <a:latin typeface="+mn-lt"/>
                <a:ea typeface="+mn-ea"/>
                <a:cs typeface="+mn-cs"/>
              </a:defRPr>
            </a:lvl1pPr>
          </a:lstStyle>
          <a:p>
            <a:pPr lvl="0"/>
            <a:r>
              <a:rPr lang="en-US" noProof="0"/>
              <a:t>Job Title</a:t>
            </a:r>
          </a:p>
        </p:txBody>
      </p:sp>
      <p:sp>
        <p:nvSpPr>
          <p:cNvPr id="57" name="Rectangle 3">
            <a:extLst>
              <a:ext uri="{FF2B5EF4-FFF2-40B4-BE49-F238E27FC236}">
                <a16:creationId xmlns:a16="http://schemas.microsoft.com/office/drawing/2014/main" id="{FFB26F9B-BD1C-4057-BB96-BCEFD94FFDCC}"/>
              </a:ext>
            </a:extLst>
          </p:cNvPr>
          <p:cNvSpPr/>
          <p:nvPr userDrawn="1"/>
        </p:nvSpPr>
        <p:spPr>
          <a:xfrm>
            <a:off x="11188701" y="3887729"/>
            <a:ext cx="1016000" cy="2970271"/>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2" name="TextBox 13">
            <a:extLst>
              <a:ext uri="{FF2B5EF4-FFF2-40B4-BE49-F238E27FC236}">
                <a16:creationId xmlns:a16="http://schemas.microsoft.com/office/drawing/2014/main" id="{B1619D70-3443-43B9-9764-D3495C2811C0}"/>
              </a:ext>
            </a:extLst>
          </p:cNvPr>
          <p:cNvSpPr txBox="1"/>
          <p:nvPr userDrawn="1"/>
        </p:nvSpPr>
        <p:spPr>
          <a:xfrm>
            <a:off x="6527800" y="6219002"/>
            <a:ext cx="4626377" cy="638998"/>
          </a:xfrm>
          <a:prstGeom prst="rect">
            <a:avLst/>
          </a:prstGeom>
          <a:noFill/>
        </p:spPr>
        <p:txBody>
          <a:bodyPr wrap="none" lIns="0" rIns="0" rtlCol="0" anchor="ctr" anchorCtr="0">
            <a:noAutofit/>
          </a:bodyPr>
          <a:lstStyle/>
          <a:p>
            <a:pPr>
              <a:lnSpc>
                <a:spcPts val="2500"/>
              </a:lnSpc>
            </a:pPr>
            <a:r>
              <a:rPr lang="en-US" sz="1200" b="1" i="1" noProof="0">
                <a:solidFill>
                  <a:schemeClr val="bg1"/>
                </a:solidFill>
                <a:latin typeface="Arial" panose="020B0604020202020204" pitchFamily="34" charset="0"/>
                <a:cs typeface="Arial" panose="020B0604020202020204" pitchFamily="34" charset="0"/>
              </a:rPr>
              <a:t>Helping people achieve a lifetime of financial security</a:t>
            </a:r>
          </a:p>
        </p:txBody>
      </p:sp>
    </p:spTree>
    <p:extLst>
      <p:ext uri="{BB962C8B-B14F-4D97-AF65-F5344CB8AC3E}">
        <p14:creationId xmlns:p14="http://schemas.microsoft.com/office/powerpoint/2010/main" val="410220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4112">
          <p15:clr>
            <a:srgbClr val="FBAE40"/>
          </p15:clr>
        </p15:guide>
        <p15:guide id="3" pos="2593">
          <p15:clr>
            <a:srgbClr val="FBAE40"/>
          </p15:clr>
        </p15:guide>
        <p15:guide id="4" orient="horz" pos="406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8" name="TextBox 7">
            <a:extLst>
              <a:ext uri="{FF2B5EF4-FFF2-40B4-BE49-F238E27FC236}">
                <a16:creationId xmlns:a16="http://schemas.microsoft.com/office/drawing/2014/main" id="{0DFD0E95-87C7-4D1A-A97B-7E16FC2F9623}"/>
              </a:ext>
            </a:extLst>
          </p:cNvPr>
          <p:cNvSpPr txBox="1"/>
          <p:nvPr userDrawn="1"/>
        </p:nvSpPr>
        <p:spPr>
          <a:xfrm rot="19892733">
            <a:off x="3560516" y="2540272"/>
            <a:ext cx="4876800" cy="1323439"/>
          </a:xfrm>
          <a:prstGeom prst="rect">
            <a:avLst/>
          </a:prstGeom>
          <a:noFill/>
        </p:spPr>
        <p:txBody>
          <a:bodyPr wrap="square" rtlCol="0">
            <a:spAutoFit/>
          </a:bodyPr>
          <a:lstStyle/>
          <a:p>
            <a:r>
              <a:rPr lang="nl-NL" sz="8000">
                <a:solidFill>
                  <a:schemeClr val="bg1">
                    <a:lumMod val="85000"/>
                  </a:schemeClr>
                </a:solidFill>
              </a:rPr>
              <a:t>DRAFT</a:t>
            </a:r>
            <a:endParaRPr lang="en-US" sz="8000">
              <a:solidFill>
                <a:schemeClr val="bg1">
                  <a:lumMod val="85000"/>
                </a:schemeClr>
              </a:solidFill>
            </a:endParaRPr>
          </a:p>
        </p:txBody>
      </p:sp>
    </p:spTree>
    <p:extLst>
      <p:ext uri="{BB962C8B-B14F-4D97-AF65-F5344CB8AC3E}">
        <p14:creationId xmlns:p14="http://schemas.microsoft.com/office/powerpoint/2010/main" val="2528993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00749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spTree>
    <p:extLst>
      <p:ext uri="{BB962C8B-B14F-4D97-AF65-F5344CB8AC3E}">
        <p14:creationId xmlns:p14="http://schemas.microsoft.com/office/powerpoint/2010/main" val="844430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pSp>
        <p:nvGrpSpPr>
          <p:cNvPr id="8" name="Group 33">
            <a:extLst>
              <a:ext uri="{FF2B5EF4-FFF2-40B4-BE49-F238E27FC236}">
                <a16:creationId xmlns:a16="http://schemas.microsoft.com/office/drawing/2014/main" id="{0F111399-0853-4003-B801-EEE0A470D4D4}"/>
              </a:ext>
            </a:extLst>
          </p:cNvPr>
          <p:cNvGrpSpPr/>
          <p:nvPr userDrawn="1"/>
        </p:nvGrpSpPr>
        <p:grpSpPr>
          <a:xfrm>
            <a:off x="1338368" y="1900547"/>
            <a:ext cx="9605085" cy="4132027"/>
            <a:chOff x="1289907" y="1209727"/>
            <a:chExt cx="9605085" cy="4132027"/>
          </a:xfrm>
        </p:grpSpPr>
        <p:sp>
          <p:nvSpPr>
            <p:cNvPr id="9" name="Rectangle 35">
              <a:extLst>
                <a:ext uri="{FF2B5EF4-FFF2-40B4-BE49-F238E27FC236}">
                  <a16:creationId xmlns:a16="http://schemas.microsoft.com/office/drawing/2014/main" id="{9F0202DC-D15A-461B-B46A-8C32477B30E1}"/>
                </a:ext>
              </a:extLst>
            </p:cNvPr>
            <p:cNvSpPr/>
            <p:nvPr/>
          </p:nvSpPr>
          <p:spPr>
            <a:xfrm>
              <a:off x="6143002" y="1209727"/>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42">
              <a:extLst>
                <a:ext uri="{FF2B5EF4-FFF2-40B4-BE49-F238E27FC236}">
                  <a16:creationId xmlns:a16="http://schemas.microsoft.com/office/drawing/2014/main" id="{E29D36D8-FC89-4FD1-8DB6-2DF884D771EC}"/>
                </a:ext>
              </a:extLst>
            </p:cNvPr>
            <p:cNvSpPr/>
            <p:nvPr/>
          </p:nvSpPr>
          <p:spPr>
            <a:xfrm>
              <a:off x="1289907" y="1209727"/>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43">
              <a:extLst>
                <a:ext uri="{FF2B5EF4-FFF2-40B4-BE49-F238E27FC236}">
                  <a16:creationId xmlns:a16="http://schemas.microsoft.com/office/drawing/2014/main" id="{B2A292D7-806F-40A6-8A45-E82055912C74}"/>
                </a:ext>
              </a:extLst>
            </p:cNvPr>
            <p:cNvSpPr/>
            <p:nvPr/>
          </p:nvSpPr>
          <p:spPr>
            <a:xfrm>
              <a:off x="6143002" y="3321670"/>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44">
              <a:extLst>
                <a:ext uri="{FF2B5EF4-FFF2-40B4-BE49-F238E27FC236}">
                  <a16:creationId xmlns:a16="http://schemas.microsoft.com/office/drawing/2014/main" id="{002B7D63-A551-4F0C-8495-F05187FF87C4}"/>
                </a:ext>
              </a:extLst>
            </p:cNvPr>
            <p:cNvSpPr/>
            <p:nvPr/>
          </p:nvSpPr>
          <p:spPr>
            <a:xfrm>
              <a:off x="1289907" y="3321670"/>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1400175" y="1962150"/>
            <a:ext cx="3631463"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13" name="Freeform 26">
            <a:extLst>
              <a:ext uri="{FF2B5EF4-FFF2-40B4-BE49-F238E27FC236}">
                <a16:creationId xmlns:a16="http://schemas.microsoft.com/office/drawing/2014/main" id="{98C254CC-74B9-40A5-9891-B6101C2F993E}"/>
              </a:ext>
            </a:extLst>
          </p:cNvPr>
          <p:cNvSpPr/>
          <p:nvPr userDrawn="1"/>
        </p:nvSpPr>
        <p:spPr>
          <a:xfrm>
            <a:off x="4656729" y="2485354"/>
            <a:ext cx="1385168" cy="1389348"/>
          </a:xfrm>
          <a:custGeom>
            <a:avLst/>
            <a:gdLst>
              <a:gd name="connsiteX0" fmla="*/ 1385168 w 1385168"/>
              <a:gd name="connsiteY0" fmla="*/ 0 h 1389348"/>
              <a:gd name="connsiteX1" fmla="*/ 1385168 w 1385168"/>
              <a:gd name="connsiteY1" fmla="*/ 1389348 h 1389348"/>
              <a:gd name="connsiteX2" fmla="*/ 0 w 1385168"/>
              <a:gd name="connsiteY2" fmla="*/ 1389348 h 1389348"/>
              <a:gd name="connsiteX3" fmla="*/ 2484 w 1385168"/>
              <a:gd name="connsiteY3" fmla="*/ 1363430 h 1389348"/>
              <a:gd name="connsiteX4" fmla="*/ 105777 w 1385168"/>
              <a:gd name="connsiteY4" fmla="*/ 1169282 h 1389348"/>
              <a:gd name="connsiteX5" fmla="*/ 1169725 w 1385168"/>
              <a:gd name="connsiteY5" fmla="*/ 105334 h 1389348"/>
              <a:gd name="connsiteX6" fmla="*/ 1363873 w 1385168"/>
              <a:gd name="connsiteY6" fmla="*/ 2041 h 1389348"/>
              <a:gd name="connsiteX0" fmla="*/ 1385168 w 1476608"/>
              <a:gd name="connsiteY0" fmla="*/ 1389348 h 1480788"/>
              <a:gd name="connsiteX1" fmla="*/ 0 w 1476608"/>
              <a:gd name="connsiteY1" fmla="*/ 1389348 h 1480788"/>
              <a:gd name="connsiteX2" fmla="*/ 2484 w 1476608"/>
              <a:gd name="connsiteY2" fmla="*/ 1363430 h 1480788"/>
              <a:gd name="connsiteX3" fmla="*/ 105777 w 1476608"/>
              <a:gd name="connsiteY3" fmla="*/ 1169282 h 1480788"/>
              <a:gd name="connsiteX4" fmla="*/ 1169725 w 1476608"/>
              <a:gd name="connsiteY4" fmla="*/ 105334 h 1480788"/>
              <a:gd name="connsiteX5" fmla="*/ 1363873 w 1476608"/>
              <a:gd name="connsiteY5" fmla="*/ 2041 h 1480788"/>
              <a:gd name="connsiteX6" fmla="*/ 1385168 w 1476608"/>
              <a:gd name="connsiteY6" fmla="*/ 0 h 1480788"/>
              <a:gd name="connsiteX7" fmla="*/ 1476608 w 1476608"/>
              <a:gd name="connsiteY7" fmla="*/ 1480788 h 1480788"/>
              <a:gd name="connsiteX0" fmla="*/ 1385168 w 1385168"/>
              <a:gd name="connsiteY0" fmla="*/ 1389348 h 1389348"/>
              <a:gd name="connsiteX1" fmla="*/ 0 w 1385168"/>
              <a:gd name="connsiteY1" fmla="*/ 1389348 h 1389348"/>
              <a:gd name="connsiteX2" fmla="*/ 2484 w 1385168"/>
              <a:gd name="connsiteY2" fmla="*/ 1363430 h 1389348"/>
              <a:gd name="connsiteX3" fmla="*/ 105777 w 1385168"/>
              <a:gd name="connsiteY3" fmla="*/ 1169282 h 1389348"/>
              <a:gd name="connsiteX4" fmla="*/ 1169725 w 1385168"/>
              <a:gd name="connsiteY4" fmla="*/ 105334 h 1389348"/>
              <a:gd name="connsiteX5" fmla="*/ 1363873 w 1385168"/>
              <a:gd name="connsiteY5" fmla="*/ 2041 h 1389348"/>
              <a:gd name="connsiteX6" fmla="*/ 1385168 w 1385168"/>
              <a:gd name="connsiteY6" fmla="*/ 0 h 1389348"/>
              <a:gd name="connsiteX0" fmla="*/ 0 w 1385168"/>
              <a:gd name="connsiteY0" fmla="*/ 1389348 h 1389348"/>
              <a:gd name="connsiteX1" fmla="*/ 2484 w 1385168"/>
              <a:gd name="connsiteY1" fmla="*/ 1363430 h 1389348"/>
              <a:gd name="connsiteX2" fmla="*/ 105777 w 1385168"/>
              <a:gd name="connsiteY2" fmla="*/ 1169282 h 1389348"/>
              <a:gd name="connsiteX3" fmla="*/ 1169725 w 1385168"/>
              <a:gd name="connsiteY3" fmla="*/ 105334 h 1389348"/>
              <a:gd name="connsiteX4" fmla="*/ 1363873 w 1385168"/>
              <a:gd name="connsiteY4" fmla="*/ 2041 h 1389348"/>
              <a:gd name="connsiteX5" fmla="*/ 1385168 w 1385168"/>
              <a:gd name="connsiteY5" fmla="*/ 0 h 138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5168" h="1389348">
                <a:moveTo>
                  <a:pt x="0" y="1389348"/>
                </a:moveTo>
                <a:lnTo>
                  <a:pt x="2484" y="1363430"/>
                </a:lnTo>
                <a:cubicBezTo>
                  <a:pt x="16256" y="1292296"/>
                  <a:pt x="50687" y="1224371"/>
                  <a:pt x="105777" y="1169282"/>
                </a:cubicBezTo>
                <a:lnTo>
                  <a:pt x="1169725" y="105334"/>
                </a:lnTo>
                <a:cubicBezTo>
                  <a:pt x="1224815" y="50244"/>
                  <a:pt x="1292740" y="15814"/>
                  <a:pt x="1363873" y="2041"/>
                </a:cubicBezTo>
                <a:lnTo>
                  <a:pt x="1385168"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a:extLst>
              <a:ext uri="{FF2B5EF4-FFF2-40B4-BE49-F238E27FC236}">
                <a16:creationId xmlns:a16="http://schemas.microsoft.com/office/drawing/2014/main" id="{B69BB58D-0B1D-49CF-AC59-FABFB91E2B11}"/>
              </a:ext>
            </a:extLst>
          </p:cNvPr>
          <p:cNvSpPr/>
          <p:nvPr userDrawn="1"/>
        </p:nvSpPr>
        <p:spPr>
          <a:xfrm>
            <a:off x="4937155" y="2761246"/>
            <a:ext cx="1104742" cy="1113457"/>
          </a:xfrm>
          <a:custGeom>
            <a:avLst/>
            <a:gdLst>
              <a:gd name="connsiteX0" fmla="*/ 1104742 w 1104742"/>
              <a:gd name="connsiteY0" fmla="*/ 0 h 1113457"/>
              <a:gd name="connsiteX1" fmla="*/ 1104742 w 1104742"/>
              <a:gd name="connsiteY1" fmla="*/ 1113457 h 1113457"/>
              <a:gd name="connsiteX2" fmla="*/ 0 w 1104742"/>
              <a:gd name="connsiteY2" fmla="*/ 1113457 h 1113457"/>
              <a:gd name="connsiteX3" fmla="*/ 13331 w 1104742"/>
              <a:gd name="connsiteY3" fmla="*/ 1044950 h 1113457"/>
              <a:gd name="connsiteX4" fmla="*/ 80134 w 1104742"/>
              <a:gd name="connsiteY4" fmla="*/ 944349 h 1113457"/>
              <a:gd name="connsiteX5" fmla="*/ 940257 w 1104742"/>
              <a:gd name="connsiteY5" fmla="*/ 84226 h 1113457"/>
              <a:gd name="connsiteX6" fmla="*/ 1097211 w 1104742"/>
              <a:gd name="connsiteY6" fmla="*/ 722 h 111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4742" h="1113457">
                <a:moveTo>
                  <a:pt x="1104742" y="0"/>
                </a:moveTo>
                <a:lnTo>
                  <a:pt x="1104742" y="1113457"/>
                </a:lnTo>
                <a:lnTo>
                  <a:pt x="0" y="1113457"/>
                </a:lnTo>
                <a:lnTo>
                  <a:pt x="13331" y="1044950"/>
                </a:lnTo>
                <a:cubicBezTo>
                  <a:pt x="28176" y="1008342"/>
                  <a:pt x="50444" y="974040"/>
                  <a:pt x="80134" y="944349"/>
                </a:cubicBezTo>
                <a:lnTo>
                  <a:pt x="940257" y="84226"/>
                </a:lnTo>
                <a:cubicBezTo>
                  <a:pt x="984793" y="39691"/>
                  <a:pt x="1039705" y="11856"/>
                  <a:pt x="1097211" y="7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5">
            <a:extLst>
              <a:ext uri="{FF2B5EF4-FFF2-40B4-BE49-F238E27FC236}">
                <a16:creationId xmlns:a16="http://schemas.microsoft.com/office/drawing/2014/main" id="{36A11DBA-8340-488E-9332-C90AAF45B3EB}"/>
              </a:ext>
            </a:extLst>
          </p:cNvPr>
          <p:cNvSpPr>
            <a:spLocks noChangeAspect="1"/>
          </p:cNvSpPr>
          <p:nvPr userDrawn="1"/>
        </p:nvSpPr>
        <p:spPr>
          <a:xfrm rot="18900000">
            <a:off x="6017211" y="2789844"/>
            <a:ext cx="844084" cy="1568503"/>
          </a:xfrm>
          <a:custGeom>
            <a:avLst/>
            <a:gdLst>
              <a:gd name="connsiteX0" fmla="*/ 787333 w 844084"/>
              <a:gd name="connsiteY0" fmla="*/ 0 h 1568503"/>
              <a:gd name="connsiteX1" fmla="*/ 792147 w 844084"/>
              <a:gd name="connsiteY1" fmla="*/ 5835 h 1568503"/>
              <a:gd name="connsiteX2" fmla="*/ 844084 w 844084"/>
              <a:gd name="connsiteY2" fmla="*/ 175864 h 1568503"/>
              <a:gd name="connsiteX3" fmla="*/ 844084 w 844084"/>
              <a:gd name="connsiteY3" fmla="*/ 1392262 h 1568503"/>
              <a:gd name="connsiteX4" fmla="*/ 820186 w 844084"/>
              <a:gd name="connsiteY4" fmla="*/ 1510635 h 1568503"/>
              <a:gd name="connsiteX5" fmla="*/ 781170 w 844084"/>
              <a:gd name="connsiteY5" fmla="*/ 1568503 h 1568503"/>
              <a:gd name="connsiteX6" fmla="*/ 0 w 844084"/>
              <a:gd name="connsiteY6" fmla="*/ 787333 h 1568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84" h="1568503">
                <a:moveTo>
                  <a:pt x="787333" y="0"/>
                </a:moveTo>
                <a:lnTo>
                  <a:pt x="792147" y="5835"/>
                </a:lnTo>
                <a:cubicBezTo>
                  <a:pt x="824938" y="54371"/>
                  <a:pt x="844084" y="112881"/>
                  <a:pt x="844084" y="175864"/>
                </a:cubicBezTo>
                <a:lnTo>
                  <a:pt x="844084" y="1392262"/>
                </a:lnTo>
                <a:cubicBezTo>
                  <a:pt x="844084" y="1434251"/>
                  <a:pt x="835575" y="1474252"/>
                  <a:pt x="820186" y="1510635"/>
                </a:cubicBezTo>
                <a:lnTo>
                  <a:pt x="781170" y="1568503"/>
                </a:lnTo>
                <a:lnTo>
                  <a:pt x="0" y="78733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7">
            <a:extLst>
              <a:ext uri="{FF2B5EF4-FFF2-40B4-BE49-F238E27FC236}">
                <a16:creationId xmlns:a16="http://schemas.microsoft.com/office/drawing/2014/main" id="{299C1602-1934-42DC-A4B4-34AB2EDE311A}"/>
              </a:ext>
            </a:extLst>
          </p:cNvPr>
          <p:cNvSpPr>
            <a:spLocks noChangeAspect="1"/>
          </p:cNvSpPr>
          <p:nvPr userDrawn="1"/>
        </p:nvSpPr>
        <p:spPr>
          <a:xfrm rot="18900000">
            <a:off x="5655001" y="3845128"/>
            <a:ext cx="1568502" cy="844083"/>
          </a:xfrm>
          <a:custGeom>
            <a:avLst/>
            <a:gdLst>
              <a:gd name="connsiteX0" fmla="*/ 787332 w 1568502"/>
              <a:gd name="connsiteY0" fmla="*/ 0 h 844083"/>
              <a:gd name="connsiteX1" fmla="*/ 1568502 w 1568502"/>
              <a:gd name="connsiteY1" fmla="*/ 781170 h 844083"/>
              <a:gd name="connsiteX2" fmla="*/ 1510635 w 1568502"/>
              <a:gd name="connsiteY2" fmla="*/ 820185 h 844083"/>
              <a:gd name="connsiteX3" fmla="*/ 1392262 w 1568502"/>
              <a:gd name="connsiteY3" fmla="*/ 844083 h 844083"/>
              <a:gd name="connsiteX4" fmla="*/ 175864 w 1568502"/>
              <a:gd name="connsiteY4" fmla="*/ 844083 h 844083"/>
              <a:gd name="connsiteX5" fmla="*/ 5835 w 1568502"/>
              <a:gd name="connsiteY5" fmla="*/ 792146 h 844083"/>
              <a:gd name="connsiteX6" fmla="*/ 0 w 1568502"/>
              <a:gd name="connsiteY6" fmla="*/ 787332 h 8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502" h="844083">
                <a:moveTo>
                  <a:pt x="787332" y="0"/>
                </a:moveTo>
                <a:lnTo>
                  <a:pt x="1568502" y="781170"/>
                </a:lnTo>
                <a:lnTo>
                  <a:pt x="1510635" y="820185"/>
                </a:lnTo>
                <a:cubicBezTo>
                  <a:pt x="1474252" y="835574"/>
                  <a:pt x="1434251" y="844083"/>
                  <a:pt x="1392262" y="844083"/>
                </a:cubicBezTo>
                <a:lnTo>
                  <a:pt x="175864" y="844083"/>
                </a:lnTo>
                <a:cubicBezTo>
                  <a:pt x="112881" y="844083"/>
                  <a:pt x="54371" y="824937"/>
                  <a:pt x="5835" y="792146"/>
                </a:cubicBezTo>
                <a:lnTo>
                  <a:pt x="0" y="78733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Freeform 19">
            <a:extLst>
              <a:ext uri="{FF2B5EF4-FFF2-40B4-BE49-F238E27FC236}">
                <a16:creationId xmlns:a16="http://schemas.microsoft.com/office/drawing/2014/main" id="{95C505BA-60C7-4516-A2F3-F6C352F531C3}"/>
              </a:ext>
            </a:extLst>
          </p:cNvPr>
          <p:cNvSpPr>
            <a:spLocks noChangeAspect="1"/>
          </p:cNvSpPr>
          <p:nvPr userDrawn="1"/>
        </p:nvSpPr>
        <p:spPr>
          <a:xfrm rot="18900000">
            <a:off x="5323605" y="3482917"/>
            <a:ext cx="844084" cy="1568502"/>
          </a:xfrm>
          <a:custGeom>
            <a:avLst/>
            <a:gdLst>
              <a:gd name="connsiteX0" fmla="*/ 62914 w 844084"/>
              <a:gd name="connsiteY0" fmla="*/ 0 h 1568502"/>
              <a:gd name="connsiteX1" fmla="*/ 844084 w 844084"/>
              <a:gd name="connsiteY1" fmla="*/ 781170 h 1568502"/>
              <a:gd name="connsiteX2" fmla="*/ 56752 w 844084"/>
              <a:gd name="connsiteY2" fmla="*/ 1568502 h 1568502"/>
              <a:gd name="connsiteX3" fmla="*/ 51937 w 844084"/>
              <a:gd name="connsiteY3" fmla="*/ 1562666 h 1568502"/>
              <a:gd name="connsiteX4" fmla="*/ 0 w 844084"/>
              <a:gd name="connsiteY4" fmla="*/ 1392637 h 1568502"/>
              <a:gd name="connsiteX5" fmla="*/ 0 w 844084"/>
              <a:gd name="connsiteY5" fmla="*/ 176239 h 1568502"/>
              <a:gd name="connsiteX6" fmla="*/ 23898 w 844084"/>
              <a:gd name="connsiteY6" fmla="*/ 57867 h 156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84" h="1568502">
                <a:moveTo>
                  <a:pt x="62914" y="0"/>
                </a:moveTo>
                <a:lnTo>
                  <a:pt x="844084" y="781170"/>
                </a:lnTo>
                <a:lnTo>
                  <a:pt x="56752" y="1568502"/>
                </a:lnTo>
                <a:lnTo>
                  <a:pt x="51937" y="1562666"/>
                </a:lnTo>
                <a:cubicBezTo>
                  <a:pt x="19147" y="1514131"/>
                  <a:pt x="0" y="1455620"/>
                  <a:pt x="0" y="1392637"/>
                </a:cubicBezTo>
                <a:lnTo>
                  <a:pt x="0" y="176239"/>
                </a:lnTo>
                <a:cubicBezTo>
                  <a:pt x="0" y="134250"/>
                  <a:pt x="8510" y="94250"/>
                  <a:pt x="23898" y="57867"/>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28">
            <a:extLst>
              <a:ext uri="{FF2B5EF4-FFF2-40B4-BE49-F238E27FC236}">
                <a16:creationId xmlns:a16="http://schemas.microsoft.com/office/drawing/2014/main" id="{EE052943-05BC-4408-9668-3D70A72B4EF7}"/>
              </a:ext>
            </a:extLst>
          </p:cNvPr>
          <p:cNvSpPr>
            <a:spLocks noChangeAspect="1"/>
          </p:cNvSpPr>
          <p:nvPr userDrawn="1"/>
        </p:nvSpPr>
        <p:spPr>
          <a:xfrm rot="18900000">
            <a:off x="5281379" y="3707823"/>
            <a:ext cx="80814" cy="1961879"/>
          </a:xfrm>
          <a:custGeom>
            <a:avLst/>
            <a:gdLst>
              <a:gd name="connsiteX0" fmla="*/ 80814 w 1060276"/>
              <a:gd name="connsiteY0" fmla="*/ 0 h 1961879"/>
              <a:gd name="connsiteX1" fmla="*/ 1060276 w 1060276"/>
              <a:gd name="connsiteY1" fmla="*/ 979462 h 1961879"/>
              <a:gd name="connsiteX2" fmla="*/ 77859 w 1060276"/>
              <a:gd name="connsiteY2" fmla="*/ 1961879 h 1961879"/>
              <a:gd name="connsiteX3" fmla="*/ 64245 w 1060276"/>
              <a:gd name="connsiteY3" fmla="*/ 1945377 h 1961879"/>
              <a:gd name="connsiteX4" fmla="*/ 0 w 1060276"/>
              <a:gd name="connsiteY4" fmla="*/ 1735055 h 1961879"/>
              <a:gd name="connsiteX5" fmla="*/ 0 w 1060276"/>
              <a:gd name="connsiteY5" fmla="*/ 230405 h 1961879"/>
              <a:gd name="connsiteX6" fmla="*/ 64245 w 1060276"/>
              <a:gd name="connsiteY6" fmla="*/ 20083 h 1961879"/>
              <a:gd name="connsiteX0" fmla="*/ 1060276 w 1151716"/>
              <a:gd name="connsiteY0" fmla="*/ 979462 h 1961879"/>
              <a:gd name="connsiteX1" fmla="*/ 77859 w 1151716"/>
              <a:gd name="connsiteY1" fmla="*/ 1961879 h 1961879"/>
              <a:gd name="connsiteX2" fmla="*/ 64245 w 1151716"/>
              <a:gd name="connsiteY2" fmla="*/ 1945377 h 1961879"/>
              <a:gd name="connsiteX3" fmla="*/ 0 w 1151716"/>
              <a:gd name="connsiteY3" fmla="*/ 1735055 h 1961879"/>
              <a:gd name="connsiteX4" fmla="*/ 0 w 1151716"/>
              <a:gd name="connsiteY4" fmla="*/ 230405 h 1961879"/>
              <a:gd name="connsiteX5" fmla="*/ 64245 w 1151716"/>
              <a:gd name="connsiteY5" fmla="*/ 20083 h 1961879"/>
              <a:gd name="connsiteX6" fmla="*/ 80814 w 1151716"/>
              <a:gd name="connsiteY6" fmla="*/ 0 h 1961879"/>
              <a:gd name="connsiteX7" fmla="*/ 1151716 w 1151716"/>
              <a:gd name="connsiteY7" fmla="*/ 1070902 h 1961879"/>
              <a:gd name="connsiteX0" fmla="*/ 77859 w 1151716"/>
              <a:gd name="connsiteY0" fmla="*/ 1961879 h 1961879"/>
              <a:gd name="connsiteX1" fmla="*/ 64245 w 1151716"/>
              <a:gd name="connsiteY1" fmla="*/ 1945377 h 1961879"/>
              <a:gd name="connsiteX2" fmla="*/ 0 w 1151716"/>
              <a:gd name="connsiteY2" fmla="*/ 1735055 h 1961879"/>
              <a:gd name="connsiteX3" fmla="*/ 0 w 1151716"/>
              <a:gd name="connsiteY3" fmla="*/ 230405 h 1961879"/>
              <a:gd name="connsiteX4" fmla="*/ 64245 w 1151716"/>
              <a:gd name="connsiteY4" fmla="*/ 20083 h 1961879"/>
              <a:gd name="connsiteX5" fmla="*/ 80814 w 1151716"/>
              <a:gd name="connsiteY5" fmla="*/ 0 h 1961879"/>
              <a:gd name="connsiteX6" fmla="*/ 1151716 w 1151716"/>
              <a:gd name="connsiteY6" fmla="*/ 1070902 h 1961879"/>
              <a:gd name="connsiteX0" fmla="*/ 77859 w 80814"/>
              <a:gd name="connsiteY0" fmla="*/ 1961879 h 1961879"/>
              <a:gd name="connsiteX1" fmla="*/ 64245 w 80814"/>
              <a:gd name="connsiteY1" fmla="*/ 1945377 h 1961879"/>
              <a:gd name="connsiteX2" fmla="*/ 0 w 80814"/>
              <a:gd name="connsiteY2" fmla="*/ 1735055 h 1961879"/>
              <a:gd name="connsiteX3" fmla="*/ 0 w 80814"/>
              <a:gd name="connsiteY3" fmla="*/ 230405 h 1961879"/>
              <a:gd name="connsiteX4" fmla="*/ 64245 w 80814"/>
              <a:gd name="connsiteY4" fmla="*/ 20083 h 1961879"/>
              <a:gd name="connsiteX5" fmla="*/ 80814 w 80814"/>
              <a:gd name="connsiteY5" fmla="*/ 0 h 196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814" h="1961879">
                <a:moveTo>
                  <a:pt x="77859" y="1961879"/>
                </a:moveTo>
                <a:lnTo>
                  <a:pt x="64245" y="1945377"/>
                </a:lnTo>
                <a:cubicBezTo>
                  <a:pt x="23684" y="1885340"/>
                  <a:pt x="0" y="1812964"/>
                  <a:pt x="0" y="1735055"/>
                </a:cubicBezTo>
                <a:lnTo>
                  <a:pt x="0" y="230405"/>
                </a:lnTo>
                <a:cubicBezTo>
                  <a:pt x="0" y="152497"/>
                  <a:pt x="23684" y="80120"/>
                  <a:pt x="64245" y="20083"/>
                </a:cubicBezTo>
                <a:lnTo>
                  <a:pt x="80814" y="0"/>
                </a:ln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30">
            <a:extLst>
              <a:ext uri="{FF2B5EF4-FFF2-40B4-BE49-F238E27FC236}">
                <a16:creationId xmlns:a16="http://schemas.microsoft.com/office/drawing/2014/main" id="{5A032A09-67A8-4E51-82B8-6101FBF08EB2}"/>
              </a:ext>
            </a:extLst>
          </p:cNvPr>
          <p:cNvSpPr>
            <a:spLocks noChangeAspect="1"/>
          </p:cNvSpPr>
          <p:nvPr userDrawn="1"/>
        </p:nvSpPr>
        <p:spPr>
          <a:xfrm rot="18900000">
            <a:off x="5882174" y="4648357"/>
            <a:ext cx="1961878" cy="80814"/>
          </a:xfrm>
          <a:custGeom>
            <a:avLst/>
            <a:gdLst>
              <a:gd name="connsiteX0" fmla="*/ 982417 w 1961878"/>
              <a:gd name="connsiteY0" fmla="*/ 0 h 1060275"/>
              <a:gd name="connsiteX1" fmla="*/ 1961878 w 1961878"/>
              <a:gd name="connsiteY1" fmla="*/ 979461 h 1060275"/>
              <a:gd name="connsiteX2" fmla="*/ 1941795 w 1961878"/>
              <a:gd name="connsiteY2" fmla="*/ 996031 h 1060275"/>
              <a:gd name="connsiteX3" fmla="*/ 1731473 w 1961878"/>
              <a:gd name="connsiteY3" fmla="*/ 1060275 h 1060275"/>
              <a:gd name="connsiteX4" fmla="*/ 226823 w 1961878"/>
              <a:gd name="connsiteY4" fmla="*/ 1060275 h 1060275"/>
              <a:gd name="connsiteX5" fmla="*/ 16501 w 1961878"/>
              <a:gd name="connsiteY5" fmla="*/ 996031 h 1060275"/>
              <a:gd name="connsiteX6" fmla="*/ 0 w 1961878"/>
              <a:gd name="connsiteY6" fmla="*/ 982417 h 1060275"/>
              <a:gd name="connsiteX0" fmla="*/ 982417 w 1961878"/>
              <a:gd name="connsiteY0" fmla="*/ 0 h 1060275"/>
              <a:gd name="connsiteX1" fmla="*/ 1961878 w 1961878"/>
              <a:gd name="connsiteY1" fmla="*/ 979461 h 1060275"/>
              <a:gd name="connsiteX2" fmla="*/ 1941795 w 1961878"/>
              <a:gd name="connsiteY2" fmla="*/ 996031 h 1060275"/>
              <a:gd name="connsiteX3" fmla="*/ 1731473 w 1961878"/>
              <a:gd name="connsiteY3" fmla="*/ 1060275 h 1060275"/>
              <a:gd name="connsiteX4" fmla="*/ 226823 w 1961878"/>
              <a:gd name="connsiteY4" fmla="*/ 1060275 h 1060275"/>
              <a:gd name="connsiteX5" fmla="*/ 16501 w 1961878"/>
              <a:gd name="connsiteY5" fmla="*/ 996031 h 1060275"/>
              <a:gd name="connsiteX6" fmla="*/ 0 w 1961878"/>
              <a:gd name="connsiteY6" fmla="*/ 982417 h 1060275"/>
              <a:gd name="connsiteX7" fmla="*/ 1073857 w 1961878"/>
              <a:gd name="connsiteY7" fmla="*/ 91440 h 1060275"/>
              <a:gd name="connsiteX0" fmla="*/ 1961878 w 1961878"/>
              <a:gd name="connsiteY0" fmla="*/ 888021 h 968835"/>
              <a:gd name="connsiteX1" fmla="*/ 1941795 w 1961878"/>
              <a:gd name="connsiteY1" fmla="*/ 904591 h 968835"/>
              <a:gd name="connsiteX2" fmla="*/ 1731473 w 1961878"/>
              <a:gd name="connsiteY2" fmla="*/ 968835 h 968835"/>
              <a:gd name="connsiteX3" fmla="*/ 226823 w 1961878"/>
              <a:gd name="connsiteY3" fmla="*/ 968835 h 968835"/>
              <a:gd name="connsiteX4" fmla="*/ 16501 w 1961878"/>
              <a:gd name="connsiteY4" fmla="*/ 904591 h 968835"/>
              <a:gd name="connsiteX5" fmla="*/ 0 w 1961878"/>
              <a:gd name="connsiteY5" fmla="*/ 890977 h 968835"/>
              <a:gd name="connsiteX6" fmla="*/ 1073857 w 1961878"/>
              <a:gd name="connsiteY6" fmla="*/ 0 h 968835"/>
              <a:gd name="connsiteX0" fmla="*/ 1961878 w 1961878"/>
              <a:gd name="connsiteY0" fmla="*/ 0 h 80814"/>
              <a:gd name="connsiteX1" fmla="*/ 1941795 w 1961878"/>
              <a:gd name="connsiteY1" fmla="*/ 16570 h 80814"/>
              <a:gd name="connsiteX2" fmla="*/ 1731473 w 1961878"/>
              <a:gd name="connsiteY2" fmla="*/ 80814 h 80814"/>
              <a:gd name="connsiteX3" fmla="*/ 226823 w 1961878"/>
              <a:gd name="connsiteY3" fmla="*/ 80814 h 80814"/>
              <a:gd name="connsiteX4" fmla="*/ 16501 w 1961878"/>
              <a:gd name="connsiteY4" fmla="*/ 16570 h 80814"/>
              <a:gd name="connsiteX5" fmla="*/ 0 w 1961878"/>
              <a:gd name="connsiteY5" fmla="*/ 2956 h 8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1878" h="80814">
                <a:moveTo>
                  <a:pt x="1961878" y="0"/>
                </a:moveTo>
                <a:lnTo>
                  <a:pt x="1941795" y="16570"/>
                </a:lnTo>
                <a:cubicBezTo>
                  <a:pt x="1881758" y="57131"/>
                  <a:pt x="1809381" y="80814"/>
                  <a:pt x="1731473" y="80814"/>
                </a:cubicBezTo>
                <a:lnTo>
                  <a:pt x="226823" y="80814"/>
                </a:lnTo>
                <a:cubicBezTo>
                  <a:pt x="148915" y="80814"/>
                  <a:pt x="76539" y="57130"/>
                  <a:pt x="16501" y="16570"/>
                </a:cubicBezTo>
                <a:lnTo>
                  <a:pt x="0" y="2956"/>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Freeform 32">
            <a:extLst>
              <a:ext uri="{FF2B5EF4-FFF2-40B4-BE49-F238E27FC236}">
                <a16:creationId xmlns:a16="http://schemas.microsoft.com/office/drawing/2014/main" id="{BC94C936-AB5F-4BFD-97FD-13CB694666C7}"/>
              </a:ext>
            </a:extLst>
          </p:cNvPr>
          <p:cNvSpPr>
            <a:spLocks noChangeAspect="1"/>
          </p:cNvSpPr>
          <p:nvPr userDrawn="1"/>
        </p:nvSpPr>
        <p:spPr>
          <a:xfrm rot="18900000">
            <a:off x="6822706" y="2171562"/>
            <a:ext cx="80814" cy="1961879"/>
          </a:xfrm>
          <a:custGeom>
            <a:avLst/>
            <a:gdLst>
              <a:gd name="connsiteX0" fmla="*/ 982417 w 1060276"/>
              <a:gd name="connsiteY0" fmla="*/ 0 h 1961879"/>
              <a:gd name="connsiteX1" fmla="*/ 996031 w 1060276"/>
              <a:gd name="connsiteY1" fmla="*/ 16501 h 1961879"/>
              <a:gd name="connsiteX2" fmla="*/ 1060276 w 1060276"/>
              <a:gd name="connsiteY2" fmla="*/ 226823 h 1961879"/>
              <a:gd name="connsiteX3" fmla="*/ 1060276 w 1060276"/>
              <a:gd name="connsiteY3" fmla="*/ 1731473 h 1961879"/>
              <a:gd name="connsiteX4" fmla="*/ 996032 w 1060276"/>
              <a:gd name="connsiteY4" fmla="*/ 1941795 h 1961879"/>
              <a:gd name="connsiteX5" fmla="*/ 979462 w 1060276"/>
              <a:gd name="connsiteY5" fmla="*/ 1961879 h 1961879"/>
              <a:gd name="connsiteX6" fmla="*/ 0 w 1060276"/>
              <a:gd name="connsiteY6" fmla="*/ 982418 h 1961879"/>
              <a:gd name="connsiteX0" fmla="*/ 0 w 1060276"/>
              <a:gd name="connsiteY0" fmla="*/ 982418 h 1961879"/>
              <a:gd name="connsiteX1" fmla="*/ 982417 w 1060276"/>
              <a:gd name="connsiteY1" fmla="*/ 0 h 1961879"/>
              <a:gd name="connsiteX2" fmla="*/ 996031 w 1060276"/>
              <a:gd name="connsiteY2" fmla="*/ 16501 h 1961879"/>
              <a:gd name="connsiteX3" fmla="*/ 1060276 w 1060276"/>
              <a:gd name="connsiteY3" fmla="*/ 226823 h 1961879"/>
              <a:gd name="connsiteX4" fmla="*/ 1060276 w 1060276"/>
              <a:gd name="connsiteY4" fmla="*/ 1731473 h 1961879"/>
              <a:gd name="connsiteX5" fmla="*/ 996032 w 1060276"/>
              <a:gd name="connsiteY5" fmla="*/ 1941795 h 1961879"/>
              <a:gd name="connsiteX6" fmla="*/ 979462 w 1060276"/>
              <a:gd name="connsiteY6" fmla="*/ 1961879 h 1961879"/>
              <a:gd name="connsiteX7" fmla="*/ 91440 w 1060276"/>
              <a:gd name="connsiteY7" fmla="*/ 1073858 h 1961879"/>
              <a:gd name="connsiteX0" fmla="*/ 890977 w 968836"/>
              <a:gd name="connsiteY0" fmla="*/ 0 h 1961879"/>
              <a:gd name="connsiteX1" fmla="*/ 904591 w 968836"/>
              <a:gd name="connsiteY1" fmla="*/ 16501 h 1961879"/>
              <a:gd name="connsiteX2" fmla="*/ 968836 w 968836"/>
              <a:gd name="connsiteY2" fmla="*/ 226823 h 1961879"/>
              <a:gd name="connsiteX3" fmla="*/ 968836 w 968836"/>
              <a:gd name="connsiteY3" fmla="*/ 1731473 h 1961879"/>
              <a:gd name="connsiteX4" fmla="*/ 904592 w 968836"/>
              <a:gd name="connsiteY4" fmla="*/ 1941795 h 1961879"/>
              <a:gd name="connsiteX5" fmla="*/ 888022 w 968836"/>
              <a:gd name="connsiteY5" fmla="*/ 1961879 h 1961879"/>
              <a:gd name="connsiteX6" fmla="*/ 0 w 968836"/>
              <a:gd name="connsiteY6" fmla="*/ 1073858 h 1961879"/>
              <a:gd name="connsiteX0" fmla="*/ 2955 w 80814"/>
              <a:gd name="connsiteY0" fmla="*/ 0 h 1961879"/>
              <a:gd name="connsiteX1" fmla="*/ 16569 w 80814"/>
              <a:gd name="connsiteY1" fmla="*/ 16501 h 1961879"/>
              <a:gd name="connsiteX2" fmla="*/ 80814 w 80814"/>
              <a:gd name="connsiteY2" fmla="*/ 226823 h 1961879"/>
              <a:gd name="connsiteX3" fmla="*/ 80814 w 80814"/>
              <a:gd name="connsiteY3" fmla="*/ 1731473 h 1961879"/>
              <a:gd name="connsiteX4" fmla="*/ 16570 w 80814"/>
              <a:gd name="connsiteY4" fmla="*/ 1941795 h 1961879"/>
              <a:gd name="connsiteX5" fmla="*/ 0 w 80814"/>
              <a:gd name="connsiteY5" fmla="*/ 1961879 h 196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814" h="1961879">
                <a:moveTo>
                  <a:pt x="2955" y="0"/>
                </a:moveTo>
                <a:lnTo>
                  <a:pt x="16569" y="16501"/>
                </a:lnTo>
                <a:cubicBezTo>
                  <a:pt x="57130" y="76539"/>
                  <a:pt x="80814" y="148915"/>
                  <a:pt x="80814" y="226823"/>
                </a:cubicBezTo>
                <a:lnTo>
                  <a:pt x="80814" y="1731473"/>
                </a:lnTo>
                <a:cubicBezTo>
                  <a:pt x="80814" y="1809381"/>
                  <a:pt x="57131" y="1881758"/>
                  <a:pt x="16570" y="1941795"/>
                </a:cubicBezTo>
                <a:lnTo>
                  <a:pt x="0" y="1961879"/>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11">
            <a:extLst>
              <a:ext uri="{FF2B5EF4-FFF2-40B4-BE49-F238E27FC236}">
                <a16:creationId xmlns:a16="http://schemas.microsoft.com/office/drawing/2014/main" id="{237F6B36-262D-4304-8620-95CE914E91E8}"/>
              </a:ext>
            </a:extLst>
          </p:cNvPr>
          <p:cNvSpPr>
            <a:spLocks noGrp="1"/>
          </p:cNvSpPr>
          <p:nvPr>
            <p:ph type="body" sz="quarter" idx="14" hasCustomPrompt="1"/>
          </p:nvPr>
        </p:nvSpPr>
        <p:spPr>
          <a:xfrm>
            <a:off x="1400176" y="4080633"/>
            <a:ext cx="3631462"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30" name="Tijdelijke aanduiding voor tekst 11">
            <a:extLst>
              <a:ext uri="{FF2B5EF4-FFF2-40B4-BE49-F238E27FC236}">
                <a16:creationId xmlns:a16="http://schemas.microsoft.com/office/drawing/2014/main" id="{9B3353CF-18B6-4732-9FC2-7BCABCA2AF74}"/>
              </a:ext>
            </a:extLst>
          </p:cNvPr>
          <p:cNvSpPr>
            <a:spLocks noGrp="1"/>
          </p:cNvSpPr>
          <p:nvPr>
            <p:ph type="body" sz="quarter" idx="15" hasCustomPrompt="1"/>
          </p:nvPr>
        </p:nvSpPr>
        <p:spPr>
          <a:xfrm>
            <a:off x="7575790" y="1962150"/>
            <a:ext cx="3216036"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31" name="Tijdelijke aanduiding voor tekst 11">
            <a:extLst>
              <a:ext uri="{FF2B5EF4-FFF2-40B4-BE49-F238E27FC236}">
                <a16:creationId xmlns:a16="http://schemas.microsoft.com/office/drawing/2014/main" id="{29191A71-D738-4511-9190-DA2629706DA8}"/>
              </a:ext>
            </a:extLst>
          </p:cNvPr>
          <p:cNvSpPr>
            <a:spLocks noGrp="1"/>
          </p:cNvSpPr>
          <p:nvPr>
            <p:ph type="body" sz="quarter" idx="16" hasCustomPrompt="1"/>
          </p:nvPr>
        </p:nvSpPr>
        <p:spPr>
          <a:xfrm>
            <a:off x="7575790" y="4080633"/>
            <a:ext cx="3216036"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5" name="Tijdelijke aanduiding voor tekst 4">
            <a:extLst>
              <a:ext uri="{FF2B5EF4-FFF2-40B4-BE49-F238E27FC236}">
                <a16:creationId xmlns:a16="http://schemas.microsoft.com/office/drawing/2014/main" id="{0ACADCD3-098C-45DE-9F13-7A32B841EC7F}"/>
              </a:ext>
            </a:extLst>
          </p:cNvPr>
          <p:cNvSpPr>
            <a:spLocks noGrp="1"/>
          </p:cNvSpPr>
          <p:nvPr>
            <p:ph type="body" sz="quarter" idx="17" hasCustomPrompt="1"/>
          </p:nvPr>
        </p:nvSpPr>
        <p:spPr>
          <a:xfrm>
            <a:off x="5343525" y="3429000"/>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
        <p:nvSpPr>
          <p:cNvPr id="32" name="Tijdelijke aanduiding voor tekst 4">
            <a:extLst>
              <a:ext uri="{FF2B5EF4-FFF2-40B4-BE49-F238E27FC236}">
                <a16:creationId xmlns:a16="http://schemas.microsoft.com/office/drawing/2014/main" id="{95FB77A0-6438-4527-9242-A03F3A0D6FFD}"/>
              </a:ext>
            </a:extLst>
          </p:cNvPr>
          <p:cNvSpPr>
            <a:spLocks noGrp="1"/>
          </p:cNvSpPr>
          <p:nvPr>
            <p:ph type="body" sz="quarter" idx="18" hasCustomPrompt="1"/>
          </p:nvPr>
        </p:nvSpPr>
        <p:spPr>
          <a:xfrm>
            <a:off x="6228810" y="3429000"/>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
        <p:nvSpPr>
          <p:cNvPr id="33" name="Tijdelijke aanduiding voor tekst 4">
            <a:extLst>
              <a:ext uri="{FF2B5EF4-FFF2-40B4-BE49-F238E27FC236}">
                <a16:creationId xmlns:a16="http://schemas.microsoft.com/office/drawing/2014/main" id="{C23C21B9-452B-47AF-972C-70148CCA2C9C}"/>
              </a:ext>
            </a:extLst>
          </p:cNvPr>
          <p:cNvSpPr>
            <a:spLocks noGrp="1"/>
          </p:cNvSpPr>
          <p:nvPr>
            <p:ph type="body" sz="quarter" idx="19" hasCustomPrompt="1"/>
          </p:nvPr>
        </p:nvSpPr>
        <p:spPr>
          <a:xfrm>
            <a:off x="5343525" y="4039456"/>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
        <p:nvSpPr>
          <p:cNvPr id="34" name="Tijdelijke aanduiding voor tekst 4">
            <a:extLst>
              <a:ext uri="{FF2B5EF4-FFF2-40B4-BE49-F238E27FC236}">
                <a16:creationId xmlns:a16="http://schemas.microsoft.com/office/drawing/2014/main" id="{F0DD2AEF-768F-4569-A000-6F18A6682AAF}"/>
              </a:ext>
            </a:extLst>
          </p:cNvPr>
          <p:cNvSpPr>
            <a:spLocks noGrp="1"/>
          </p:cNvSpPr>
          <p:nvPr>
            <p:ph type="body" sz="quarter" idx="20" hasCustomPrompt="1"/>
          </p:nvPr>
        </p:nvSpPr>
        <p:spPr>
          <a:xfrm>
            <a:off x="6228810" y="4039456"/>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Tree>
    <p:extLst>
      <p:ext uri="{BB962C8B-B14F-4D97-AF65-F5344CB8AC3E}">
        <p14:creationId xmlns:p14="http://schemas.microsoft.com/office/powerpoint/2010/main" val="1045039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19" name="Tijdelijke aanduiding voor afbeelding 18">
            <a:extLst>
              <a:ext uri="{FF2B5EF4-FFF2-40B4-BE49-F238E27FC236}">
                <a16:creationId xmlns:a16="http://schemas.microsoft.com/office/drawing/2014/main" id="{7B375A55-05DF-4620-927B-CEFAB4E05C4E}"/>
              </a:ext>
            </a:extLst>
          </p:cNvPr>
          <p:cNvSpPr>
            <a:spLocks noGrp="1"/>
          </p:cNvSpPr>
          <p:nvPr>
            <p:ph type="pic" sz="quarter" idx="10" hasCustomPrompt="1"/>
          </p:nvPr>
        </p:nvSpPr>
        <p:spPr>
          <a:xfrm>
            <a:off x="-11113" y="-11113"/>
            <a:ext cx="7049592" cy="6869113"/>
          </a:xfrm>
          <a:custGeom>
            <a:avLst/>
            <a:gdLst>
              <a:gd name="connsiteX0" fmla="*/ 0 w 7049592"/>
              <a:gd name="connsiteY0" fmla="*/ 0 h 6869113"/>
              <a:gd name="connsiteX1" fmla="*/ 7049592 w 7049592"/>
              <a:gd name="connsiteY1" fmla="*/ 0 h 6869113"/>
              <a:gd name="connsiteX2" fmla="*/ 6961918 w 7049592"/>
              <a:gd name="connsiteY2" fmla="*/ 304793 h 6869113"/>
              <a:gd name="connsiteX3" fmla="*/ 4716550 w 7049592"/>
              <a:gd name="connsiteY3" fmla="*/ 6869113 h 6869113"/>
              <a:gd name="connsiteX4" fmla="*/ 0 w 7049592"/>
              <a:gd name="connsiteY4" fmla="*/ 6869113 h 6869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9592" h="6869113">
                <a:moveTo>
                  <a:pt x="0" y="0"/>
                </a:moveTo>
                <a:lnTo>
                  <a:pt x="7049592" y="0"/>
                </a:lnTo>
                <a:lnTo>
                  <a:pt x="6961918" y="304793"/>
                </a:lnTo>
                <a:lnTo>
                  <a:pt x="4716550" y="6869113"/>
                </a:lnTo>
                <a:lnTo>
                  <a:pt x="0" y="686911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a:lvl1pPr>
          </a:lstStyle>
          <a:p>
            <a:pPr marL="228600" lvl="0" indent="-228600" algn="ctr"/>
            <a:r>
              <a:rPr lang="en-US" noProof="0"/>
              <a:t>Click icon to insert an image</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6979454" y="1980017"/>
            <a:ext cx="4862858" cy="2905494"/>
          </a:xfrm>
          <a:prstGeom prst="rect">
            <a:avLst/>
          </a:prstGeom>
        </p:spPr>
        <p:txBody>
          <a:bodyPr lIns="0" tIns="0" rIns="0" bIns="72000" anchor="ctr" anchorCtr="0"/>
          <a:lstStyle>
            <a:lvl1pPr>
              <a:defRPr sz="3600">
                <a:solidFill>
                  <a:schemeClr val="accent1"/>
                </a:solidFill>
              </a:defRPr>
            </a:lvl1pPr>
          </a:lstStyle>
          <a:p>
            <a:r>
              <a:rPr lang="en-US" noProof="0"/>
              <a:t>Click to edit </a:t>
            </a:r>
            <a:br>
              <a:rPr lang="en-US" noProof="0"/>
            </a:br>
            <a:r>
              <a:rPr lang="en-US" noProof="0"/>
              <a:t>Master title style</a:t>
            </a:r>
          </a:p>
        </p:txBody>
      </p:sp>
      <p:grpSp>
        <p:nvGrpSpPr>
          <p:cNvPr id="22" name="Group 21">
            <a:extLst>
              <a:ext uri="{FF2B5EF4-FFF2-40B4-BE49-F238E27FC236}">
                <a16:creationId xmlns:a16="http://schemas.microsoft.com/office/drawing/2014/main" id="{7FEC5561-0D1D-48CD-9857-C6F2175A0034}"/>
              </a:ext>
            </a:extLst>
          </p:cNvPr>
          <p:cNvGrpSpPr/>
          <p:nvPr userDrawn="1"/>
        </p:nvGrpSpPr>
        <p:grpSpPr>
          <a:xfrm>
            <a:off x="10422255" y="6286500"/>
            <a:ext cx="693334" cy="249834"/>
            <a:chOff x="3078163" y="2341563"/>
            <a:chExt cx="6035676" cy="2174875"/>
          </a:xfrm>
        </p:grpSpPr>
        <p:sp>
          <p:nvSpPr>
            <p:cNvPr id="23" name="Freeform 5">
              <a:extLst>
                <a:ext uri="{FF2B5EF4-FFF2-40B4-BE49-F238E27FC236}">
                  <a16:creationId xmlns:a16="http://schemas.microsoft.com/office/drawing/2014/main" id="{2CF1C0AB-2340-43C1-BA25-042D1257445A}"/>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6">
              <a:extLst>
                <a:ext uri="{FF2B5EF4-FFF2-40B4-BE49-F238E27FC236}">
                  <a16:creationId xmlns:a16="http://schemas.microsoft.com/office/drawing/2014/main" id="{BF98D281-DE49-4E93-B406-2BD8838AE412}"/>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96BF50F2-0F4D-4E09-91A9-7168DF2C52CA}"/>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D73F4D8E-E8EB-44B1-9D1B-50EB8D93F694}"/>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2997CEF5-AF3F-4824-B002-420B2ABD90D3}"/>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7D747C3B-8656-4D8A-B48E-243D5FF3D422}"/>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DF60A912-7DDF-4D79-85CA-DF822EEA9961}"/>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4" name="Rechthoek 13">
            <a:extLst>
              <a:ext uri="{FF2B5EF4-FFF2-40B4-BE49-F238E27FC236}">
                <a16:creationId xmlns:a16="http://schemas.microsoft.com/office/drawing/2014/main" id="{C5203CEB-4AE2-470B-9D88-1FC55D2A891A}"/>
              </a:ext>
            </a:extLst>
          </p:cNvPr>
          <p:cNvSpPr/>
          <p:nvPr userDrawn="1"/>
        </p:nvSpPr>
        <p:spPr>
          <a:xfrm>
            <a:off x="11330202" y="6259335"/>
            <a:ext cx="861798" cy="276999"/>
          </a:xfrm>
          <a:prstGeom prst="rect">
            <a:avLst/>
          </a:prstGeom>
        </p:spPr>
        <p:txBody>
          <a:bodyPr wrap="square">
            <a:spAutoFit/>
          </a:bodyPr>
          <a:lstStyle/>
          <a:p>
            <a:pPr algn="ctr" fontAlgn="auto">
              <a:spcBef>
                <a:spcPts val="0"/>
              </a:spcBef>
              <a:spcAft>
                <a:spcPts val="0"/>
              </a:spcAft>
              <a:defRPr/>
            </a:pPr>
            <a:fld id="{478F02DA-AB65-4DE3-8C32-C1DFFF12922F}" type="slidenum">
              <a:rPr lang="en-US" sz="1200" b="0" noProof="0" smtClean="0">
                <a:solidFill>
                  <a:schemeClr val="bg1"/>
                </a:solidFill>
                <a:cs typeface="Arial" pitchFamily="34" charset="0"/>
              </a:rPr>
              <a:pPr algn="ctr" fontAlgn="auto">
                <a:spcBef>
                  <a:spcPts val="0"/>
                </a:spcBef>
                <a:spcAft>
                  <a:spcPts val="0"/>
                </a:spcAft>
                <a:defRPr/>
              </a:pPr>
              <a:t>‹#›</a:t>
            </a:fld>
            <a:endParaRPr lang="en-US" sz="1200" b="0" noProof="0">
              <a:solidFill>
                <a:schemeClr val="bg1"/>
              </a:solidFill>
              <a:cs typeface="Arial" pitchFamily="34" charset="0"/>
            </a:endParaRPr>
          </a:p>
        </p:txBody>
      </p:sp>
      <p:sp>
        <p:nvSpPr>
          <p:cNvPr id="17" name="Rectangle 3">
            <a:extLst>
              <a:ext uri="{FF2B5EF4-FFF2-40B4-BE49-F238E27FC236}">
                <a16:creationId xmlns:a16="http://schemas.microsoft.com/office/drawing/2014/main" id="{5EA75EB1-61A0-4441-894D-6C34DF8EEFE1}"/>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161094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s + image">
    <p:spTree>
      <p:nvGrpSpPr>
        <p:cNvPr id="1" name=""/>
        <p:cNvGrpSpPr/>
        <p:nvPr/>
      </p:nvGrpSpPr>
      <p:grpSpPr>
        <a:xfrm>
          <a:off x="0" y="0"/>
          <a:ext cx="0" cy="0"/>
          <a:chOff x="0" y="0"/>
          <a:chExt cx="0" cy="0"/>
        </a:xfrm>
      </p:grpSpPr>
      <p:sp>
        <p:nvSpPr>
          <p:cNvPr id="23" name="Tijdelijke aanduiding voor afbeelding 22">
            <a:extLst>
              <a:ext uri="{FF2B5EF4-FFF2-40B4-BE49-F238E27FC236}">
                <a16:creationId xmlns:a16="http://schemas.microsoft.com/office/drawing/2014/main" id="{72B591FD-0FC9-4B7C-BAEA-51AD04D0CA7E}"/>
              </a:ext>
            </a:extLst>
          </p:cNvPr>
          <p:cNvSpPr>
            <a:spLocks noGrp="1"/>
          </p:cNvSpPr>
          <p:nvPr>
            <p:ph type="pic" sz="quarter" idx="12" hasCustomPrompt="1"/>
          </p:nvPr>
        </p:nvSpPr>
        <p:spPr>
          <a:xfrm>
            <a:off x="6114448" y="-21971"/>
            <a:ext cx="6087079" cy="6885758"/>
          </a:xfrm>
          <a:custGeom>
            <a:avLst/>
            <a:gdLst>
              <a:gd name="connsiteX0" fmla="*/ 4561470 w 6087079"/>
              <a:gd name="connsiteY0" fmla="*/ 6511621 h 6885758"/>
              <a:gd name="connsiteX1" fmla="*/ 4566576 w 6087079"/>
              <a:gd name="connsiteY1" fmla="*/ 6524933 h 6885758"/>
              <a:gd name="connsiteX2" fmla="*/ 4921085 w 6087079"/>
              <a:gd name="connsiteY2" fmla="*/ 6524933 h 6885758"/>
              <a:gd name="connsiteX3" fmla="*/ 4921085 w 6087079"/>
              <a:gd name="connsiteY3" fmla="*/ 6511621 h 6885758"/>
              <a:gd name="connsiteX4" fmla="*/ 4493268 w 6087079"/>
              <a:gd name="connsiteY4" fmla="*/ 6378133 h 6885758"/>
              <a:gd name="connsiteX5" fmla="*/ 4474667 w 6087079"/>
              <a:gd name="connsiteY5" fmla="*/ 6436671 h 6885758"/>
              <a:gd name="connsiteX6" fmla="*/ 4512416 w 6087079"/>
              <a:gd name="connsiteY6" fmla="*/ 6437400 h 6885758"/>
              <a:gd name="connsiteX7" fmla="*/ 4818781 w 6087079"/>
              <a:gd name="connsiteY7" fmla="*/ 6365550 h 6885758"/>
              <a:gd name="connsiteX8" fmla="*/ 4827716 w 6087079"/>
              <a:gd name="connsiteY8" fmla="*/ 6367009 h 6885758"/>
              <a:gd name="connsiteX9" fmla="*/ 4835740 w 6087079"/>
              <a:gd name="connsiteY9" fmla="*/ 6369927 h 6885758"/>
              <a:gd name="connsiteX10" fmla="*/ 4841758 w 6087079"/>
              <a:gd name="connsiteY10" fmla="*/ 6374486 h 6885758"/>
              <a:gd name="connsiteX11" fmla="*/ 4847594 w 6087079"/>
              <a:gd name="connsiteY11" fmla="*/ 6380322 h 6885758"/>
              <a:gd name="connsiteX12" fmla="*/ 4852153 w 6087079"/>
              <a:gd name="connsiteY12" fmla="*/ 6387798 h 6885758"/>
              <a:gd name="connsiteX13" fmla="*/ 4855070 w 6087079"/>
              <a:gd name="connsiteY13" fmla="*/ 6395275 h 6885758"/>
              <a:gd name="connsiteX14" fmla="*/ 4856529 w 6087079"/>
              <a:gd name="connsiteY14" fmla="*/ 6404028 h 6885758"/>
              <a:gd name="connsiteX15" fmla="*/ 4857259 w 6087079"/>
              <a:gd name="connsiteY15" fmla="*/ 6412964 h 6885758"/>
              <a:gd name="connsiteX16" fmla="*/ 4856529 w 6087079"/>
              <a:gd name="connsiteY16" fmla="*/ 6421900 h 6885758"/>
              <a:gd name="connsiteX17" fmla="*/ 4855070 w 6087079"/>
              <a:gd name="connsiteY17" fmla="*/ 6430106 h 6885758"/>
              <a:gd name="connsiteX18" fmla="*/ 4852153 w 6087079"/>
              <a:gd name="connsiteY18" fmla="*/ 6437401 h 6885758"/>
              <a:gd name="connsiteX19" fmla="*/ 4847594 w 6087079"/>
              <a:gd name="connsiteY19" fmla="*/ 6444148 h 6885758"/>
              <a:gd name="connsiteX20" fmla="*/ 4842487 w 6087079"/>
              <a:gd name="connsiteY20" fmla="*/ 6450166 h 6885758"/>
              <a:gd name="connsiteX21" fmla="*/ 4835740 w 6087079"/>
              <a:gd name="connsiteY21" fmla="*/ 6454543 h 6885758"/>
              <a:gd name="connsiteX22" fmla="*/ 4827716 w 6087079"/>
              <a:gd name="connsiteY22" fmla="*/ 6457460 h 6885758"/>
              <a:gd name="connsiteX23" fmla="*/ 4818781 w 6087079"/>
              <a:gd name="connsiteY23" fmla="*/ 6458190 h 6885758"/>
              <a:gd name="connsiteX24" fmla="*/ 4814951 w 6087079"/>
              <a:gd name="connsiteY24" fmla="*/ 6458190 h 6885758"/>
              <a:gd name="connsiteX25" fmla="*/ 4812033 w 6087079"/>
              <a:gd name="connsiteY25" fmla="*/ 6457460 h 6885758"/>
              <a:gd name="connsiteX26" fmla="*/ 4809115 w 6087079"/>
              <a:gd name="connsiteY26" fmla="*/ 6456731 h 6885758"/>
              <a:gd name="connsiteX27" fmla="*/ 4806198 w 6087079"/>
              <a:gd name="connsiteY27" fmla="*/ 6456001 h 6885758"/>
              <a:gd name="connsiteX28" fmla="*/ 4803097 w 6087079"/>
              <a:gd name="connsiteY28" fmla="*/ 6454543 h 6885758"/>
              <a:gd name="connsiteX29" fmla="*/ 4800180 w 6087079"/>
              <a:gd name="connsiteY29" fmla="*/ 6452354 h 6885758"/>
              <a:gd name="connsiteX30" fmla="*/ 4797991 w 6087079"/>
              <a:gd name="connsiteY30" fmla="*/ 6450895 h 6885758"/>
              <a:gd name="connsiteX31" fmla="*/ 4795074 w 6087079"/>
              <a:gd name="connsiteY31" fmla="*/ 6448525 h 6885758"/>
              <a:gd name="connsiteX32" fmla="*/ 4791973 w 6087079"/>
              <a:gd name="connsiteY32" fmla="*/ 6445607 h 6885758"/>
              <a:gd name="connsiteX33" fmla="*/ 4789785 w 6087079"/>
              <a:gd name="connsiteY33" fmla="*/ 6441230 h 6885758"/>
              <a:gd name="connsiteX34" fmla="*/ 4787597 w 6087079"/>
              <a:gd name="connsiteY34" fmla="*/ 6437401 h 6885758"/>
              <a:gd name="connsiteX35" fmla="*/ 4786138 w 6087079"/>
              <a:gd name="connsiteY35" fmla="*/ 6433024 h 6885758"/>
              <a:gd name="connsiteX36" fmla="*/ 4784679 w 6087079"/>
              <a:gd name="connsiteY36" fmla="*/ 6428647 h 6885758"/>
              <a:gd name="connsiteX37" fmla="*/ 4783220 w 6087079"/>
              <a:gd name="connsiteY37" fmla="*/ 6424088 h 6885758"/>
              <a:gd name="connsiteX38" fmla="*/ 4783220 w 6087079"/>
              <a:gd name="connsiteY38" fmla="*/ 6418982 h 6885758"/>
              <a:gd name="connsiteX39" fmla="*/ 4782308 w 6087079"/>
              <a:gd name="connsiteY39" fmla="*/ 6413694 h 6885758"/>
              <a:gd name="connsiteX40" fmla="*/ 4783220 w 6087079"/>
              <a:gd name="connsiteY40" fmla="*/ 6404940 h 6885758"/>
              <a:gd name="connsiteX41" fmla="*/ 4784679 w 6087079"/>
              <a:gd name="connsiteY41" fmla="*/ 6396734 h 6885758"/>
              <a:gd name="connsiteX42" fmla="*/ 4786867 w 6087079"/>
              <a:gd name="connsiteY42" fmla="*/ 6388528 h 6885758"/>
              <a:gd name="connsiteX43" fmla="*/ 4790515 w 6087079"/>
              <a:gd name="connsiteY43" fmla="*/ 6381051 h 6885758"/>
              <a:gd name="connsiteX44" fmla="*/ 4795803 w 6087079"/>
              <a:gd name="connsiteY44" fmla="*/ 6374486 h 6885758"/>
              <a:gd name="connsiteX45" fmla="*/ 4802368 w 6087079"/>
              <a:gd name="connsiteY45" fmla="*/ 6369927 h 6885758"/>
              <a:gd name="connsiteX46" fmla="*/ 4809845 w 6087079"/>
              <a:gd name="connsiteY46" fmla="*/ 6367009 h 6885758"/>
              <a:gd name="connsiteX47" fmla="*/ 4898107 w 6087079"/>
              <a:gd name="connsiteY47" fmla="*/ 6347861 h 6885758"/>
              <a:gd name="connsiteX48" fmla="*/ 4898107 w 6087079"/>
              <a:gd name="connsiteY48" fmla="*/ 6478249 h 6885758"/>
              <a:gd name="connsiteX49" fmla="*/ 4921814 w 6087079"/>
              <a:gd name="connsiteY49" fmla="*/ 6478249 h 6885758"/>
              <a:gd name="connsiteX50" fmla="*/ 4921814 w 6087079"/>
              <a:gd name="connsiteY50" fmla="*/ 6389987 h 6885758"/>
              <a:gd name="connsiteX51" fmla="*/ 4977434 w 6087079"/>
              <a:gd name="connsiteY51" fmla="*/ 6478249 h 6885758"/>
              <a:gd name="connsiteX52" fmla="*/ 5001141 w 6087079"/>
              <a:gd name="connsiteY52" fmla="*/ 6478249 h 6885758"/>
              <a:gd name="connsiteX53" fmla="*/ 5001141 w 6087079"/>
              <a:gd name="connsiteY53" fmla="*/ 6347861 h 6885758"/>
              <a:gd name="connsiteX54" fmla="*/ 4977434 w 6087079"/>
              <a:gd name="connsiteY54" fmla="*/ 6347861 h 6885758"/>
              <a:gd name="connsiteX55" fmla="*/ 4977434 w 6087079"/>
              <a:gd name="connsiteY55" fmla="*/ 6434483 h 6885758"/>
              <a:gd name="connsiteX56" fmla="*/ 4921814 w 6087079"/>
              <a:gd name="connsiteY56" fmla="*/ 6347861 h 6885758"/>
              <a:gd name="connsiteX57" fmla="*/ 4528828 w 6087079"/>
              <a:gd name="connsiteY57" fmla="*/ 6347861 h 6885758"/>
              <a:gd name="connsiteX58" fmla="*/ 4528828 w 6087079"/>
              <a:gd name="connsiteY58" fmla="*/ 6408587 h 6885758"/>
              <a:gd name="connsiteX59" fmla="*/ 4551805 w 6087079"/>
              <a:gd name="connsiteY59" fmla="*/ 6478978 h 6885758"/>
              <a:gd name="connsiteX60" fmla="*/ 4625114 w 6087079"/>
              <a:gd name="connsiteY60" fmla="*/ 6478978 h 6885758"/>
              <a:gd name="connsiteX61" fmla="*/ 4625114 w 6087079"/>
              <a:gd name="connsiteY61" fmla="*/ 6456001 h 6885758"/>
              <a:gd name="connsiteX62" fmla="*/ 4551805 w 6087079"/>
              <a:gd name="connsiteY62" fmla="*/ 6456001 h 6885758"/>
              <a:gd name="connsiteX63" fmla="*/ 4551805 w 6087079"/>
              <a:gd name="connsiteY63" fmla="*/ 6419711 h 6885758"/>
              <a:gd name="connsiteX64" fmla="*/ 4603596 w 6087079"/>
              <a:gd name="connsiteY64" fmla="*/ 6419711 h 6885758"/>
              <a:gd name="connsiteX65" fmla="*/ 4603596 w 6087079"/>
              <a:gd name="connsiteY65" fmla="*/ 6397463 h 6885758"/>
              <a:gd name="connsiteX66" fmla="*/ 4551805 w 6087079"/>
              <a:gd name="connsiteY66" fmla="*/ 6397463 h 6885758"/>
              <a:gd name="connsiteX67" fmla="*/ 4551805 w 6087079"/>
              <a:gd name="connsiteY67" fmla="*/ 6369197 h 6885758"/>
              <a:gd name="connsiteX68" fmla="*/ 4620737 w 6087079"/>
              <a:gd name="connsiteY68" fmla="*/ 6369197 h 6885758"/>
              <a:gd name="connsiteX69" fmla="*/ 4620737 w 6087079"/>
              <a:gd name="connsiteY69" fmla="*/ 6347861 h 6885758"/>
              <a:gd name="connsiteX70" fmla="*/ 4688210 w 6087079"/>
              <a:gd name="connsiteY70" fmla="*/ 6344031 h 6885758"/>
              <a:gd name="connsiteX71" fmla="*/ 4677086 w 6087079"/>
              <a:gd name="connsiteY71" fmla="*/ 6345490 h 6885758"/>
              <a:gd name="connsiteX72" fmla="*/ 4666692 w 6087079"/>
              <a:gd name="connsiteY72" fmla="*/ 6348590 h 6885758"/>
              <a:gd name="connsiteX73" fmla="*/ 4656297 w 6087079"/>
              <a:gd name="connsiteY73" fmla="*/ 6353696 h 6885758"/>
              <a:gd name="connsiteX74" fmla="*/ 4646632 w 6087079"/>
              <a:gd name="connsiteY74" fmla="*/ 6360444 h 6885758"/>
              <a:gd name="connsiteX75" fmla="*/ 4638608 w 6087079"/>
              <a:gd name="connsiteY75" fmla="*/ 6370838 h 6885758"/>
              <a:gd name="connsiteX76" fmla="*/ 4631861 w 6087079"/>
              <a:gd name="connsiteY76" fmla="*/ 6382692 h 6885758"/>
              <a:gd name="connsiteX77" fmla="*/ 4628214 w 6087079"/>
              <a:gd name="connsiteY77" fmla="*/ 6397463 h 6885758"/>
              <a:gd name="connsiteX78" fmla="*/ 4626755 w 6087079"/>
              <a:gd name="connsiteY78" fmla="*/ 6414423 h 6885758"/>
              <a:gd name="connsiteX79" fmla="*/ 4628214 w 6087079"/>
              <a:gd name="connsiteY79" fmla="*/ 6431565 h 6885758"/>
              <a:gd name="connsiteX80" fmla="*/ 4632591 w 6087079"/>
              <a:gd name="connsiteY80" fmla="*/ 6446336 h 6885758"/>
              <a:gd name="connsiteX81" fmla="*/ 4639338 w 6087079"/>
              <a:gd name="connsiteY81" fmla="*/ 6457460 h 6885758"/>
              <a:gd name="connsiteX82" fmla="*/ 4647362 w 6087079"/>
              <a:gd name="connsiteY82" fmla="*/ 6467125 h 6885758"/>
              <a:gd name="connsiteX83" fmla="*/ 4657027 w 6087079"/>
              <a:gd name="connsiteY83" fmla="*/ 6473872 h 6885758"/>
              <a:gd name="connsiteX84" fmla="*/ 4666692 w 6087079"/>
              <a:gd name="connsiteY84" fmla="*/ 6478249 h 6885758"/>
              <a:gd name="connsiteX85" fmla="*/ 4677816 w 6087079"/>
              <a:gd name="connsiteY85" fmla="*/ 6481167 h 6885758"/>
              <a:gd name="connsiteX86" fmla="*/ 4688210 w 6087079"/>
              <a:gd name="connsiteY86" fmla="*/ 6481896 h 6885758"/>
              <a:gd name="connsiteX87" fmla="*/ 4697146 w 6087079"/>
              <a:gd name="connsiteY87" fmla="*/ 6481167 h 6885758"/>
              <a:gd name="connsiteX88" fmla="*/ 4704623 w 6087079"/>
              <a:gd name="connsiteY88" fmla="*/ 6479708 h 6885758"/>
              <a:gd name="connsiteX89" fmla="*/ 4710458 w 6087079"/>
              <a:gd name="connsiteY89" fmla="*/ 6477520 h 6885758"/>
              <a:gd name="connsiteX90" fmla="*/ 4714835 w 6087079"/>
              <a:gd name="connsiteY90" fmla="*/ 6474602 h 6885758"/>
              <a:gd name="connsiteX91" fmla="*/ 4717935 w 6087079"/>
              <a:gd name="connsiteY91" fmla="*/ 6471502 h 6885758"/>
              <a:gd name="connsiteX92" fmla="*/ 4720853 w 6087079"/>
              <a:gd name="connsiteY92" fmla="*/ 6469313 h 6885758"/>
              <a:gd name="connsiteX93" fmla="*/ 4721582 w 6087079"/>
              <a:gd name="connsiteY93" fmla="*/ 6467854 h 6885758"/>
              <a:gd name="connsiteX94" fmla="*/ 4721582 w 6087079"/>
              <a:gd name="connsiteY94" fmla="*/ 6478978 h 6885758"/>
              <a:gd name="connsiteX95" fmla="*/ 4742371 w 6087079"/>
              <a:gd name="connsiteY95" fmla="*/ 6478978 h 6885758"/>
              <a:gd name="connsiteX96" fmla="*/ 4742371 w 6087079"/>
              <a:gd name="connsiteY96" fmla="*/ 6407128 h 6885758"/>
              <a:gd name="connsiteX97" fmla="*/ 4688940 w 6087079"/>
              <a:gd name="connsiteY97" fmla="*/ 6407128 h 6885758"/>
              <a:gd name="connsiteX98" fmla="*/ 4688940 w 6087079"/>
              <a:gd name="connsiteY98" fmla="*/ 6429376 h 6885758"/>
              <a:gd name="connsiteX99" fmla="*/ 4720853 w 6087079"/>
              <a:gd name="connsiteY99" fmla="*/ 6429376 h 6885758"/>
              <a:gd name="connsiteX100" fmla="*/ 4720123 w 6087079"/>
              <a:gd name="connsiteY100" fmla="*/ 6435212 h 6885758"/>
              <a:gd name="connsiteX101" fmla="*/ 4718664 w 6087079"/>
              <a:gd name="connsiteY101" fmla="*/ 6440500 h 6885758"/>
              <a:gd name="connsiteX102" fmla="*/ 4715746 w 6087079"/>
              <a:gd name="connsiteY102" fmla="*/ 6445606 h 6885758"/>
              <a:gd name="connsiteX103" fmla="*/ 4711917 w 6087079"/>
              <a:gd name="connsiteY103" fmla="*/ 6450165 h 6885758"/>
              <a:gd name="connsiteX104" fmla="*/ 4707540 w 6087079"/>
              <a:gd name="connsiteY104" fmla="*/ 6453813 h 6885758"/>
              <a:gd name="connsiteX105" fmla="*/ 4702252 w 6087079"/>
              <a:gd name="connsiteY105" fmla="*/ 6456001 h 6885758"/>
              <a:gd name="connsiteX106" fmla="*/ 4695687 w 6087079"/>
              <a:gd name="connsiteY106" fmla="*/ 6458189 h 6885758"/>
              <a:gd name="connsiteX107" fmla="*/ 4688940 w 6087079"/>
              <a:gd name="connsiteY107" fmla="*/ 6458919 h 6885758"/>
              <a:gd name="connsiteX108" fmla="*/ 4681463 w 6087079"/>
              <a:gd name="connsiteY108" fmla="*/ 6458189 h 6885758"/>
              <a:gd name="connsiteX109" fmla="*/ 4674898 w 6087079"/>
              <a:gd name="connsiteY109" fmla="*/ 6456001 h 6885758"/>
              <a:gd name="connsiteX110" fmla="*/ 4668880 w 6087079"/>
              <a:gd name="connsiteY110" fmla="*/ 6453083 h 6885758"/>
              <a:gd name="connsiteX111" fmla="*/ 4663045 w 6087079"/>
              <a:gd name="connsiteY111" fmla="*/ 6447795 h 6885758"/>
              <a:gd name="connsiteX112" fmla="*/ 4658486 w 6087079"/>
              <a:gd name="connsiteY112" fmla="*/ 6441959 h 6885758"/>
              <a:gd name="connsiteX113" fmla="*/ 4654838 w 6087079"/>
              <a:gd name="connsiteY113" fmla="*/ 6434482 h 6885758"/>
              <a:gd name="connsiteX114" fmla="*/ 4652650 w 6087079"/>
              <a:gd name="connsiteY114" fmla="*/ 6424817 h 6885758"/>
              <a:gd name="connsiteX115" fmla="*/ 4651921 w 6087079"/>
              <a:gd name="connsiteY115" fmla="*/ 6414423 h 6885758"/>
              <a:gd name="connsiteX116" fmla="*/ 4652650 w 6087079"/>
              <a:gd name="connsiteY116" fmla="*/ 6404028 h 6885758"/>
              <a:gd name="connsiteX117" fmla="*/ 4654109 w 6087079"/>
              <a:gd name="connsiteY117" fmla="*/ 6394545 h 6885758"/>
              <a:gd name="connsiteX118" fmla="*/ 4657027 w 6087079"/>
              <a:gd name="connsiteY118" fmla="*/ 6386339 h 6885758"/>
              <a:gd name="connsiteX119" fmla="*/ 4661586 w 6087079"/>
              <a:gd name="connsiteY119" fmla="*/ 6379592 h 6885758"/>
              <a:gd name="connsiteX120" fmla="*/ 4666692 w 6087079"/>
              <a:gd name="connsiteY120" fmla="*/ 6374486 h 6885758"/>
              <a:gd name="connsiteX121" fmla="*/ 4673439 w 6087079"/>
              <a:gd name="connsiteY121" fmla="*/ 6369927 h 6885758"/>
              <a:gd name="connsiteX122" fmla="*/ 4680733 w 6087079"/>
              <a:gd name="connsiteY122" fmla="*/ 6367009 h 6885758"/>
              <a:gd name="connsiteX123" fmla="*/ 4688940 w 6087079"/>
              <a:gd name="connsiteY123" fmla="*/ 6367009 h 6885758"/>
              <a:gd name="connsiteX124" fmla="*/ 4697146 w 6087079"/>
              <a:gd name="connsiteY124" fmla="*/ 6367738 h 6885758"/>
              <a:gd name="connsiteX125" fmla="*/ 4703711 w 6087079"/>
              <a:gd name="connsiteY125" fmla="*/ 6370838 h 6885758"/>
              <a:gd name="connsiteX126" fmla="*/ 4708999 w 6087079"/>
              <a:gd name="connsiteY126" fmla="*/ 6374486 h 6885758"/>
              <a:gd name="connsiteX127" fmla="*/ 4713376 w 6087079"/>
              <a:gd name="connsiteY127" fmla="*/ 6378862 h 6885758"/>
              <a:gd name="connsiteX128" fmla="*/ 4717205 w 6087079"/>
              <a:gd name="connsiteY128" fmla="*/ 6383421 h 6885758"/>
              <a:gd name="connsiteX129" fmla="*/ 4718664 w 6087079"/>
              <a:gd name="connsiteY129" fmla="*/ 6387068 h 6885758"/>
              <a:gd name="connsiteX130" fmla="*/ 4720123 w 6087079"/>
              <a:gd name="connsiteY130" fmla="*/ 6389986 h 6885758"/>
              <a:gd name="connsiteX131" fmla="*/ 4720853 w 6087079"/>
              <a:gd name="connsiteY131" fmla="*/ 6391445 h 6885758"/>
              <a:gd name="connsiteX132" fmla="*/ 4741642 w 6087079"/>
              <a:gd name="connsiteY132" fmla="*/ 6380321 h 6885758"/>
              <a:gd name="connsiteX133" fmla="*/ 4738724 w 6087079"/>
              <a:gd name="connsiteY133" fmla="*/ 6373027 h 6885758"/>
              <a:gd name="connsiteX134" fmla="*/ 4734165 w 6087079"/>
              <a:gd name="connsiteY134" fmla="*/ 6366279 h 6885758"/>
              <a:gd name="connsiteX135" fmla="*/ 4728329 w 6087079"/>
              <a:gd name="connsiteY135" fmla="*/ 6360444 h 6885758"/>
              <a:gd name="connsiteX136" fmla="*/ 4721582 w 6087079"/>
              <a:gd name="connsiteY136" fmla="*/ 6354426 h 6885758"/>
              <a:gd name="connsiteX137" fmla="*/ 4714105 w 6087079"/>
              <a:gd name="connsiteY137" fmla="*/ 6350779 h 6885758"/>
              <a:gd name="connsiteX138" fmla="*/ 4706081 w 6087079"/>
              <a:gd name="connsiteY138" fmla="*/ 6346949 h 6885758"/>
              <a:gd name="connsiteX139" fmla="*/ 4697146 w 6087079"/>
              <a:gd name="connsiteY139" fmla="*/ 6344761 h 6885758"/>
              <a:gd name="connsiteX140" fmla="*/ 4819510 w 6087079"/>
              <a:gd name="connsiteY140" fmla="*/ 6343302 h 6885758"/>
              <a:gd name="connsiteX141" fmla="*/ 4807657 w 6087079"/>
              <a:gd name="connsiteY141" fmla="*/ 6344032 h 6885758"/>
              <a:gd name="connsiteX142" fmla="*/ 4795803 w 6087079"/>
              <a:gd name="connsiteY142" fmla="*/ 6347861 h 6885758"/>
              <a:gd name="connsiteX143" fmla="*/ 4785408 w 6087079"/>
              <a:gd name="connsiteY143" fmla="*/ 6352967 h 6885758"/>
              <a:gd name="connsiteX144" fmla="*/ 4775743 w 6087079"/>
              <a:gd name="connsiteY144" fmla="*/ 6360444 h 6885758"/>
              <a:gd name="connsiteX145" fmla="*/ 4768267 w 6087079"/>
              <a:gd name="connsiteY145" fmla="*/ 6370839 h 6885758"/>
              <a:gd name="connsiteX146" fmla="*/ 4762431 w 6087079"/>
              <a:gd name="connsiteY146" fmla="*/ 6382692 h 6885758"/>
              <a:gd name="connsiteX147" fmla="*/ 4758601 w 6087079"/>
              <a:gd name="connsiteY147" fmla="*/ 6396734 h 6885758"/>
              <a:gd name="connsiteX148" fmla="*/ 4757872 w 6087079"/>
              <a:gd name="connsiteY148" fmla="*/ 6412964 h 6885758"/>
              <a:gd name="connsiteX149" fmla="*/ 4757872 w 6087079"/>
              <a:gd name="connsiteY149" fmla="*/ 6423359 h 6885758"/>
              <a:gd name="connsiteX150" fmla="*/ 4759331 w 6087079"/>
              <a:gd name="connsiteY150" fmla="*/ 6432294 h 6885758"/>
              <a:gd name="connsiteX151" fmla="*/ 4761702 w 6087079"/>
              <a:gd name="connsiteY151" fmla="*/ 6441230 h 6885758"/>
              <a:gd name="connsiteX152" fmla="*/ 4765349 w 6087079"/>
              <a:gd name="connsiteY152" fmla="*/ 6448525 h 6885758"/>
              <a:gd name="connsiteX153" fmla="*/ 4768996 w 6087079"/>
              <a:gd name="connsiteY153" fmla="*/ 6455272 h 6885758"/>
              <a:gd name="connsiteX154" fmla="*/ 4774284 w 6087079"/>
              <a:gd name="connsiteY154" fmla="*/ 6462019 h 6885758"/>
              <a:gd name="connsiteX155" fmla="*/ 4779391 w 6087079"/>
              <a:gd name="connsiteY155" fmla="*/ 6467125 h 6885758"/>
              <a:gd name="connsiteX156" fmla="*/ 4785408 w 6087079"/>
              <a:gd name="connsiteY156" fmla="*/ 6471502 h 6885758"/>
              <a:gd name="connsiteX157" fmla="*/ 4789056 w 6087079"/>
              <a:gd name="connsiteY157" fmla="*/ 6473873 h 6885758"/>
              <a:gd name="connsiteX158" fmla="*/ 4792703 w 6087079"/>
              <a:gd name="connsiteY158" fmla="*/ 6475332 h 6885758"/>
              <a:gd name="connsiteX159" fmla="*/ 4797262 w 6087079"/>
              <a:gd name="connsiteY159" fmla="*/ 6477520 h 6885758"/>
              <a:gd name="connsiteX160" fmla="*/ 4801639 w 6087079"/>
              <a:gd name="connsiteY160" fmla="*/ 6478979 h 6885758"/>
              <a:gd name="connsiteX161" fmla="*/ 4806198 w 6087079"/>
              <a:gd name="connsiteY161" fmla="*/ 6479708 h 6885758"/>
              <a:gd name="connsiteX162" fmla="*/ 4810574 w 6087079"/>
              <a:gd name="connsiteY162" fmla="*/ 6480438 h 6885758"/>
              <a:gd name="connsiteX163" fmla="*/ 4814951 w 6087079"/>
              <a:gd name="connsiteY163" fmla="*/ 6481167 h 6885758"/>
              <a:gd name="connsiteX164" fmla="*/ 4819510 w 6087079"/>
              <a:gd name="connsiteY164" fmla="*/ 6481167 h 6885758"/>
              <a:gd name="connsiteX165" fmla="*/ 4832822 w 6087079"/>
              <a:gd name="connsiteY165" fmla="*/ 6479708 h 6885758"/>
              <a:gd name="connsiteX166" fmla="*/ 4845405 w 6087079"/>
              <a:gd name="connsiteY166" fmla="*/ 6476061 h 6885758"/>
              <a:gd name="connsiteX167" fmla="*/ 4855800 w 6087079"/>
              <a:gd name="connsiteY167" fmla="*/ 6470043 h 6885758"/>
              <a:gd name="connsiteX168" fmla="*/ 4864735 w 6087079"/>
              <a:gd name="connsiteY168" fmla="*/ 6462019 h 6885758"/>
              <a:gd name="connsiteX169" fmla="*/ 4872030 w 6087079"/>
              <a:gd name="connsiteY169" fmla="*/ 6452354 h 6885758"/>
              <a:gd name="connsiteX170" fmla="*/ 4878048 w 6087079"/>
              <a:gd name="connsiteY170" fmla="*/ 6441230 h 6885758"/>
              <a:gd name="connsiteX171" fmla="*/ 4880966 w 6087079"/>
              <a:gd name="connsiteY171" fmla="*/ 6427918 h 6885758"/>
              <a:gd name="connsiteX172" fmla="*/ 4881695 w 6087079"/>
              <a:gd name="connsiteY172" fmla="*/ 6412964 h 6885758"/>
              <a:gd name="connsiteX173" fmla="*/ 4880236 w 6087079"/>
              <a:gd name="connsiteY173" fmla="*/ 6396005 h 6885758"/>
              <a:gd name="connsiteX174" fmla="*/ 4875859 w 6087079"/>
              <a:gd name="connsiteY174" fmla="*/ 6381051 h 6885758"/>
              <a:gd name="connsiteX175" fmla="*/ 4869842 w 6087079"/>
              <a:gd name="connsiteY175" fmla="*/ 6369198 h 6885758"/>
              <a:gd name="connsiteX176" fmla="*/ 4860906 w 6087079"/>
              <a:gd name="connsiteY176" fmla="*/ 6359715 h 6885758"/>
              <a:gd name="connsiteX177" fmla="*/ 4852153 w 6087079"/>
              <a:gd name="connsiteY177" fmla="*/ 6352238 h 6885758"/>
              <a:gd name="connsiteX178" fmla="*/ 4841029 w 6087079"/>
              <a:gd name="connsiteY178" fmla="*/ 6346949 h 6885758"/>
              <a:gd name="connsiteX179" fmla="*/ 4829905 w 6087079"/>
              <a:gd name="connsiteY179" fmla="*/ 6344032 h 6885758"/>
              <a:gd name="connsiteX180" fmla="*/ 4494726 w 6087079"/>
              <a:gd name="connsiteY180" fmla="*/ 6308471 h 6885758"/>
              <a:gd name="connsiteX181" fmla="*/ 4307807 w 6087079"/>
              <a:gd name="connsiteY181" fmla="*/ 6369927 h 6885758"/>
              <a:gd name="connsiteX182" fmla="*/ 4369445 w 6087079"/>
              <a:gd name="connsiteY182" fmla="*/ 6558305 h 6885758"/>
              <a:gd name="connsiteX183" fmla="*/ 4533934 w 6087079"/>
              <a:gd name="connsiteY183" fmla="*/ 6504144 h 6885758"/>
              <a:gd name="connsiteX184" fmla="*/ 4519892 w 6087079"/>
              <a:gd name="connsiteY184" fmla="*/ 6458919 h 6885758"/>
              <a:gd name="connsiteX185" fmla="*/ 4467920 w 6087079"/>
              <a:gd name="connsiteY185" fmla="*/ 6458919 h 6885758"/>
              <a:gd name="connsiteX186" fmla="*/ 4462084 w 6087079"/>
              <a:gd name="connsiteY186" fmla="*/ 6479708 h 6885758"/>
              <a:gd name="connsiteX187" fmla="*/ 4435277 w 6087079"/>
              <a:gd name="connsiteY187" fmla="*/ 6479708 h 6885758"/>
              <a:gd name="connsiteX188" fmla="*/ 4479773 w 6087079"/>
              <a:gd name="connsiteY188" fmla="*/ 6346220 h 6885758"/>
              <a:gd name="connsiteX189" fmla="*/ 4507309 w 6087079"/>
              <a:gd name="connsiteY189" fmla="*/ 6346220 h 6885758"/>
              <a:gd name="connsiteX190" fmla="*/ 2353342 w 6087079"/>
              <a:gd name="connsiteY190" fmla="*/ 0 h 6885758"/>
              <a:gd name="connsiteX191" fmla="*/ 6077554 w 6087079"/>
              <a:gd name="connsiteY191" fmla="*/ 10395 h 6885758"/>
              <a:gd name="connsiteX192" fmla="*/ 6087079 w 6087079"/>
              <a:gd name="connsiteY192" fmla="*/ 4007761 h 6885758"/>
              <a:gd name="connsiteX193" fmla="*/ 5101422 w 6087079"/>
              <a:gd name="connsiteY193" fmla="*/ 6885758 h 6885758"/>
              <a:gd name="connsiteX194" fmla="*/ 0 w 6087079"/>
              <a:gd name="connsiteY194" fmla="*/ 6879986 h 68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6087079" h="6885758">
                <a:moveTo>
                  <a:pt x="4561470" y="6511621"/>
                </a:moveTo>
                <a:lnTo>
                  <a:pt x="4566576" y="6524933"/>
                </a:lnTo>
                <a:lnTo>
                  <a:pt x="4921085" y="6524933"/>
                </a:lnTo>
                <a:lnTo>
                  <a:pt x="4921085" y="6511621"/>
                </a:lnTo>
                <a:close/>
                <a:moveTo>
                  <a:pt x="4493268" y="6378133"/>
                </a:moveTo>
                <a:lnTo>
                  <a:pt x="4474667" y="6436671"/>
                </a:lnTo>
                <a:lnTo>
                  <a:pt x="4512416" y="6437400"/>
                </a:lnTo>
                <a:close/>
                <a:moveTo>
                  <a:pt x="4818781" y="6365550"/>
                </a:moveTo>
                <a:lnTo>
                  <a:pt x="4827716" y="6367009"/>
                </a:lnTo>
                <a:lnTo>
                  <a:pt x="4835740" y="6369927"/>
                </a:lnTo>
                <a:lnTo>
                  <a:pt x="4841758" y="6374486"/>
                </a:lnTo>
                <a:lnTo>
                  <a:pt x="4847594" y="6380322"/>
                </a:lnTo>
                <a:lnTo>
                  <a:pt x="4852153" y="6387798"/>
                </a:lnTo>
                <a:lnTo>
                  <a:pt x="4855070" y="6395275"/>
                </a:lnTo>
                <a:lnTo>
                  <a:pt x="4856529" y="6404028"/>
                </a:lnTo>
                <a:lnTo>
                  <a:pt x="4857259" y="6412964"/>
                </a:lnTo>
                <a:lnTo>
                  <a:pt x="4856529" y="6421900"/>
                </a:lnTo>
                <a:lnTo>
                  <a:pt x="4855070" y="6430106"/>
                </a:lnTo>
                <a:lnTo>
                  <a:pt x="4852153" y="6437401"/>
                </a:lnTo>
                <a:lnTo>
                  <a:pt x="4847594" y="6444148"/>
                </a:lnTo>
                <a:lnTo>
                  <a:pt x="4842487" y="6450166"/>
                </a:lnTo>
                <a:lnTo>
                  <a:pt x="4835740" y="6454543"/>
                </a:lnTo>
                <a:lnTo>
                  <a:pt x="4827716" y="6457460"/>
                </a:lnTo>
                <a:lnTo>
                  <a:pt x="4818781" y="6458190"/>
                </a:lnTo>
                <a:lnTo>
                  <a:pt x="4814951" y="6458190"/>
                </a:lnTo>
                <a:lnTo>
                  <a:pt x="4812033" y="6457460"/>
                </a:lnTo>
                <a:lnTo>
                  <a:pt x="4809115" y="6456731"/>
                </a:lnTo>
                <a:lnTo>
                  <a:pt x="4806198" y="6456001"/>
                </a:lnTo>
                <a:lnTo>
                  <a:pt x="4803097" y="6454543"/>
                </a:lnTo>
                <a:lnTo>
                  <a:pt x="4800180" y="6452354"/>
                </a:lnTo>
                <a:lnTo>
                  <a:pt x="4797991" y="6450895"/>
                </a:lnTo>
                <a:lnTo>
                  <a:pt x="4795074" y="6448525"/>
                </a:lnTo>
                <a:lnTo>
                  <a:pt x="4791973" y="6445607"/>
                </a:lnTo>
                <a:lnTo>
                  <a:pt x="4789785" y="6441230"/>
                </a:lnTo>
                <a:lnTo>
                  <a:pt x="4787597" y="6437401"/>
                </a:lnTo>
                <a:lnTo>
                  <a:pt x="4786138" y="6433024"/>
                </a:lnTo>
                <a:lnTo>
                  <a:pt x="4784679" y="6428647"/>
                </a:lnTo>
                <a:lnTo>
                  <a:pt x="4783220" y="6424088"/>
                </a:lnTo>
                <a:lnTo>
                  <a:pt x="4783220" y="6418982"/>
                </a:lnTo>
                <a:lnTo>
                  <a:pt x="4782308" y="6413694"/>
                </a:lnTo>
                <a:lnTo>
                  <a:pt x="4783220" y="6404940"/>
                </a:lnTo>
                <a:lnTo>
                  <a:pt x="4784679" y="6396734"/>
                </a:lnTo>
                <a:lnTo>
                  <a:pt x="4786867" y="6388528"/>
                </a:lnTo>
                <a:lnTo>
                  <a:pt x="4790515" y="6381051"/>
                </a:lnTo>
                <a:lnTo>
                  <a:pt x="4795803" y="6374486"/>
                </a:lnTo>
                <a:lnTo>
                  <a:pt x="4802368" y="6369927"/>
                </a:lnTo>
                <a:lnTo>
                  <a:pt x="4809845" y="6367009"/>
                </a:lnTo>
                <a:close/>
                <a:moveTo>
                  <a:pt x="4898107" y="6347861"/>
                </a:moveTo>
                <a:lnTo>
                  <a:pt x="4898107" y="6478249"/>
                </a:lnTo>
                <a:lnTo>
                  <a:pt x="4921814" y="6478249"/>
                </a:lnTo>
                <a:lnTo>
                  <a:pt x="4921814" y="6389987"/>
                </a:lnTo>
                <a:lnTo>
                  <a:pt x="4977434" y="6478249"/>
                </a:lnTo>
                <a:lnTo>
                  <a:pt x="5001141" y="6478249"/>
                </a:lnTo>
                <a:lnTo>
                  <a:pt x="5001141" y="6347861"/>
                </a:lnTo>
                <a:lnTo>
                  <a:pt x="4977434" y="6347861"/>
                </a:lnTo>
                <a:lnTo>
                  <a:pt x="4977434" y="6434483"/>
                </a:lnTo>
                <a:lnTo>
                  <a:pt x="4921814" y="6347861"/>
                </a:lnTo>
                <a:close/>
                <a:moveTo>
                  <a:pt x="4528828" y="6347861"/>
                </a:moveTo>
                <a:lnTo>
                  <a:pt x="4528828" y="6408587"/>
                </a:lnTo>
                <a:lnTo>
                  <a:pt x="4551805" y="6478978"/>
                </a:lnTo>
                <a:lnTo>
                  <a:pt x="4625114" y="6478978"/>
                </a:lnTo>
                <a:lnTo>
                  <a:pt x="4625114" y="6456001"/>
                </a:lnTo>
                <a:lnTo>
                  <a:pt x="4551805" y="6456001"/>
                </a:lnTo>
                <a:lnTo>
                  <a:pt x="4551805" y="6419711"/>
                </a:lnTo>
                <a:lnTo>
                  <a:pt x="4603596" y="6419711"/>
                </a:lnTo>
                <a:lnTo>
                  <a:pt x="4603596" y="6397463"/>
                </a:lnTo>
                <a:lnTo>
                  <a:pt x="4551805" y="6397463"/>
                </a:lnTo>
                <a:lnTo>
                  <a:pt x="4551805" y="6369197"/>
                </a:lnTo>
                <a:lnTo>
                  <a:pt x="4620737" y="6369197"/>
                </a:lnTo>
                <a:lnTo>
                  <a:pt x="4620737" y="6347861"/>
                </a:lnTo>
                <a:close/>
                <a:moveTo>
                  <a:pt x="4688210" y="6344031"/>
                </a:moveTo>
                <a:lnTo>
                  <a:pt x="4677086" y="6345490"/>
                </a:lnTo>
                <a:lnTo>
                  <a:pt x="4666692" y="6348590"/>
                </a:lnTo>
                <a:lnTo>
                  <a:pt x="4656297" y="6353696"/>
                </a:lnTo>
                <a:lnTo>
                  <a:pt x="4646632" y="6360444"/>
                </a:lnTo>
                <a:lnTo>
                  <a:pt x="4638608" y="6370838"/>
                </a:lnTo>
                <a:lnTo>
                  <a:pt x="4631861" y="6382692"/>
                </a:lnTo>
                <a:lnTo>
                  <a:pt x="4628214" y="6397463"/>
                </a:lnTo>
                <a:lnTo>
                  <a:pt x="4626755" y="6414423"/>
                </a:lnTo>
                <a:lnTo>
                  <a:pt x="4628214" y="6431565"/>
                </a:lnTo>
                <a:lnTo>
                  <a:pt x="4632591" y="6446336"/>
                </a:lnTo>
                <a:lnTo>
                  <a:pt x="4639338" y="6457460"/>
                </a:lnTo>
                <a:lnTo>
                  <a:pt x="4647362" y="6467125"/>
                </a:lnTo>
                <a:lnTo>
                  <a:pt x="4657027" y="6473872"/>
                </a:lnTo>
                <a:lnTo>
                  <a:pt x="4666692" y="6478249"/>
                </a:lnTo>
                <a:lnTo>
                  <a:pt x="4677816" y="6481167"/>
                </a:lnTo>
                <a:lnTo>
                  <a:pt x="4688210" y="6481896"/>
                </a:lnTo>
                <a:lnTo>
                  <a:pt x="4697146" y="6481167"/>
                </a:lnTo>
                <a:lnTo>
                  <a:pt x="4704623" y="6479708"/>
                </a:lnTo>
                <a:lnTo>
                  <a:pt x="4710458" y="6477520"/>
                </a:lnTo>
                <a:lnTo>
                  <a:pt x="4714835" y="6474602"/>
                </a:lnTo>
                <a:lnTo>
                  <a:pt x="4717935" y="6471502"/>
                </a:lnTo>
                <a:lnTo>
                  <a:pt x="4720853" y="6469313"/>
                </a:lnTo>
                <a:lnTo>
                  <a:pt x="4721582" y="6467854"/>
                </a:lnTo>
                <a:lnTo>
                  <a:pt x="4721582" y="6478978"/>
                </a:lnTo>
                <a:lnTo>
                  <a:pt x="4742371" y="6478978"/>
                </a:lnTo>
                <a:lnTo>
                  <a:pt x="4742371" y="6407128"/>
                </a:lnTo>
                <a:lnTo>
                  <a:pt x="4688940" y="6407128"/>
                </a:lnTo>
                <a:lnTo>
                  <a:pt x="4688940" y="6429376"/>
                </a:lnTo>
                <a:lnTo>
                  <a:pt x="4720853" y="6429376"/>
                </a:lnTo>
                <a:lnTo>
                  <a:pt x="4720123" y="6435212"/>
                </a:lnTo>
                <a:lnTo>
                  <a:pt x="4718664" y="6440500"/>
                </a:lnTo>
                <a:lnTo>
                  <a:pt x="4715746" y="6445606"/>
                </a:lnTo>
                <a:lnTo>
                  <a:pt x="4711917" y="6450165"/>
                </a:lnTo>
                <a:lnTo>
                  <a:pt x="4707540" y="6453813"/>
                </a:lnTo>
                <a:lnTo>
                  <a:pt x="4702252" y="6456001"/>
                </a:lnTo>
                <a:lnTo>
                  <a:pt x="4695687" y="6458189"/>
                </a:lnTo>
                <a:lnTo>
                  <a:pt x="4688940" y="6458919"/>
                </a:lnTo>
                <a:lnTo>
                  <a:pt x="4681463" y="6458189"/>
                </a:lnTo>
                <a:lnTo>
                  <a:pt x="4674898" y="6456001"/>
                </a:lnTo>
                <a:lnTo>
                  <a:pt x="4668880" y="6453083"/>
                </a:lnTo>
                <a:lnTo>
                  <a:pt x="4663045" y="6447795"/>
                </a:lnTo>
                <a:lnTo>
                  <a:pt x="4658486" y="6441959"/>
                </a:lnTo>
                <a:lnTo>
                  <a:pt x="4654838" y="6434482"/>
                </a:lnTo>
                <a:lnTo>
                  <a:pt x="4652650" y="6424817"/>
                </a:lnTo>
                <a:lnTo>
                  <a:pt x="4651921" y="6414423"/>
                </a:lnTo>
                <a:lnTo>
                  <a:pt x="4652650" y="6404028"/>
                </a:lnTo>
                <a:lnTo>
                  <a:pt x="4654109" y="6394545"/>
                </a:lnTo>
                <a:lnTo>
                  <a:pt x="4657027" y="6386339"/>
                </a:lnTo>
                <a:lnTo>
                  <a:pt x="4661586" y="6379592"/>
                </a:lnTo>
                <a:lnTo>
                  <a:pt x="4666692" y="6374486"/>
                </a:lnTo>
                <a:lnTo>
                  <a:pt x="4673439" y="6369927"/>
                </a:lnTo>
                <a:lnTo>
                  <a:pt x="4680733" y="6367009"/>
                </a:lnTo>
                <a:lnTo>
                  <a:pt x="4688940" y="6367009"/>
                </a:lnTo>
                <a:lnTo>
                  <a:pt x="4697146" y="6367738"/>
                </a:lnTo>
                <a:lnTo>
                  <a:pt x="4703711" y="6370838"/>
                </a:lnTo>
                <a:lnTo>
                  <a:pt x="4708999" y="6374486"/>
                </a:lnTo>
                <a:lnTo>
                  <a:pt x="4713376" y="6378862"/>
                </a:lnTo>
                <a:lnTo>
                  <a:pt x="4717205" y="6383421"/>
                </a:lnTo>
                <a:lnTo>
                  <a:pt x="4718664" y="6387068"/>
                </a:lnTo>
                <a:lnTo>
                  <a:pt x="4720123" y="6389986"/>
                </a:lnTo>
                <a:lnTo>
                  <a:pt x="4720853" y="6391445"/>
                </a:lnTo>
                <a:lnTo>
                  <a:pt x="4741642" y="6380321"/>
                </a:lnTo>
                <a:lnTo>
                  <a:pt x="4738724" y="6373027"/>
                </a:lnTo>
                <a:lnTo>
                  <a:pt x="4734165" y="6366279"/>
                </a:lnTo>
                <a:lnTo>
                  <a:pt x="4728329" y="6360444"/>
                </a:lnTo>
                <a:lnTo>
                  <a:pt x="4721582" y="6354426"/>
                </a:lnTo>
                <a:lnTo>
                  <a:pt x="4714105" y="6350779"/>
                </a:lnTo>
                <a:lnTo>
                  <a:pt x="4706081" y="6346949"/>
                </a:lnTo>
                <a:lnTo>
                  <a:pt x="4697146" y="6344761"/>
                </a:lnTo>
                <a:close/>
                <a:moveTo>
                  <a:pt x="4819510" y="6343302"/>
                </a:moveTo>
                <a:lnTo>
                  <a:pt x="4807657" y="6344032"/>
                </a:lnTo>
                <a:lnTo>
                  <a:pt x="4795803" y="6347861"/>
                </a:lnTo>
                <a:lnTo>
                  <a:pt x="4785408" y="6352967"/>
                </a:lnTo>
                <a:lnTo>
                  <a:pt x="4775743" y="6360444"/>
                </a:lnTo>
                <a:lnTo>
                  <a:pt x="4768267" y="6370839"/>
                </a:lnTo>
                <a:lnTo>
                  <a:pt x="4762431" y="6382692"/>
                </a:lnTo>
                <a:lnTo>
                  <a:pt x="4758601" y="6396734"/>
                </a:lnTo>
                <a:lnTo>
                  <a:pt x="4757872" y="6412964"/>
                </a:lnTo>
                <a:lnTo>
                  <a:pt x="4757872" y="6423359"/>
                </a:lnTo>
                <a:lnTo>
                  <a:pt x="4759331" y="6432294"/>
                </a:lnTo>
                <a:lnTo>
                  <a:pt x="4761702" y="6441230"/>
                </a:lnTo>
                <a:lnTo>
                  <a:pt x="4765349" y="6448525"/>
                </a:lnTo>
                <a:lnTo>
                  <a:pt x="4768996" y="6455272"/>
                </a:lnTo>
                <a:lnTo>
                  <a:pt x="4774284" y="6462019"/>
                </a:lnTo>
                <a:lnTo>
                  <a:pt x="4779391" y="6467125"/>
                </a:lnTo>
                <a:lnTo>
                  <a:pt x="4785408" y="6471502"/>
                </a:lnTo>
                <a:lnTo>
                  <a:pt x="4789056" y="6473873"/>
                </a:lnTo>
                <a:lnTo>
                  <a:pt x="4792703" y="6475332"/>
                </a:lnTo>
                <a:lnTo>
                  <a:pt x="4797262" y="6477520"/>
                </a:lnTo>
                <a:lnTo>
                  <a:pt x="4801639" y="6478979"/>
                </a:lnTo>
                <a:lnTo>
                  <a:pt x="4806198" y="6479708"/>
                </a:lnTo>
                <a:lnTo>
                  <a:pt x="4810574" y="6480438"/>
                </a:lnTo>
                <a:lnTo>
                  <a:pt x="4814951" y="6481167"/>
                </a:lnTo>
                <a:lnTo>
                  <a:pt x="4819510" y="6481167"/>
                </a:lnTo>
                <a:lnTo>
                  <a:pt x="4832822" y="6479708"/>
                </a:lnTo>
                <a:lnTo>
                  <a:pt x="4845405" y="6476061"/>
                </a:lnTo>
                <a:lnTo>
                  <a:pt x="4855800" y="6470043"/>
                </a:lnTo>
                <a:lnTo>
                  <a:pt x="4864735" y="6462019"/>
                </a:lnTo>
                <a:lnTo>
                  <a:pt x="4872030" y="6452354"/>
                </a:lnTo>
                <a:lnTo>
                  <a:pt x="4878048" y="6441230"/>
                </a:lnTo>
                <a:lnTo>
                  <a:pt x="4880966" y="6427918"/>
                </a:lnTo>
                <a:lnTo>
                  <a:pt x="4881695" y="6412964"/>
                </a:lnTo>
                <a:lnTo>
                  <a:pt x="4880236" y="6396005"/>
                </a:lnTo>
                <a:lnTo>
                  <a:pt x="4875859" y="6381051"/>
                </a:lnTo>
                <a:lnTo>
                  <a:pt x="4869842" y="6369198"/>
                </a:lnTo>
                <a:lnTo>
                  <a:pt x="4860906" y="6359715"/>
                </a:lnTo>
                <a:lnTo>
                  <a:pt x="4852153" y="6352238"/>
                </a:lnTo>
                <a:lnTo>
                  <a:pt x="4841029" y="6346949"/>
                </a:lnTo>
                <a:lnTo>
                  <a:pt x="4829905" y="6344032"/>
                </a:lnTo>
                <a:close/>
                <a:moveTo>
                  <a:pt x="4494726" y="6308471"/>
                </a:moveTo>
                <a:lnTo>
                  <a:pt x="4307807" y="6369927"/>
                </a:lnTo>
                <a:lnTo>
                  <a:pt x="4369445" y="6558305"/>
                </a:lnTo>
                <a:lnTo>
                  <a:pt x="4533934" y="6504144"/>
                </a:lnTo>
                <a:lnTo>
                  <a:pt x="4519892" y="6458919"/>
                </a:lnTo>
                <a:lnTo>
                  <a:pt x="4467920" y="6458919"/>
                </a:lnTo>
                <a:lnTo>
                  <a:pt x="4462084" y="6479708"/>
                </a:lnTo>
                <a:lnTo>
                  <a:pt x="4435277" y="6479708"/>
                </a:lnTo>
                <a:lnTo>
                  <a:pt x="4479773" y="6346220"/>
                </a:lnTo>
                <a:lnTo>
                  <a:pt x="4507309" y="6346220"/>
                </a:lnTo>
                <a:close/>
                <a:moveTo>
                  <a:pt x="2353342" y="0"/>
                </a:moveTo>
                <a:lnTo>
                  <a:pt x="6077554" y="10395"/>
                </a:lnTo>
                <a:lnTo>
                  <a:pt x="6087079" y="4007761"/>
                </a:lnTo>
                <a:lnTo>
                  <a:pt x="5101422" y="6885758"/>
                </a:lnTo>
                <a:lnTo>
                  <a:pt x="0" y="6879986"/>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a:lvl1pPr>
          </a:lstStyle>
          <a:p>
            <a:pPr marL="228600" lvl="0" indent="-228600" algn="ctr"/>
            <a:r>
              <a:rPr lang="en-US" noProof="0"/>
              <a:t>Click icon to insert an image</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7143071"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5511603"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6955681"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6735762"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204257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7502678"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pic>
        <p:nvPicPr>
          <p:cNvPr id="8" name="Picture 7" descr="Android.png">
            <a:extLst>
              <a:ext uri="{FF2B5EF4-FFF2-40B4-BE49-F238E27FC236}">
                <a16:creationId xmlns:a16="http://schemas.microsoft.com/office/drawing/2014/main" id="{697FABA5-4118-4203-BA93-DBCD7FC450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5" name="Picture Placeholder 4">
            <a:extLst>
              <a:ext uri="{FF2B5EF4-FFF2-40B4-BE49-F238E27FC236}">
                <a16:creationId xmlns:a16="http://schemas.microsoft.com/office/drawing/2014/main" id="{10B00AF0-3BFA-4AC7-AB36-69D01C90D683}"/>
              </a:ext>
            </a:extLst>
          </p:cNvPr>
          <p:cNvSpPr>
            <a:spLocks noGrp="1"/>
          </p:cNvSpPr>
          <p:nvPr>
            <p:ph type="pic" sz="quarter" idx="14" hasCustomPrompt="1"/>
          </p:nvPr>
        </p:nvSpPr>
        <p:spPr>
          <a:xfrm>
            <a:off x="8747760" y="2174240"/>
            <a:ext cx="1955800" cy="3281679"/>
          </a:xfrm>
          <a:prstGeom prst="rect">
            <a:avLst/>
          </a:prstGeom>
          <a:pattFill prst="dkUpDiag">
            <a:fgClr>
              <a:schemeClr val="bg1">
                <a:lumMod val="75000"/>
              </a:schemeClr>
            </a:fgClr>
            <a:bgClr>
              <a:schemeClr val="bg1">
                <a:lumMod val="95000"/>
              </a:schemeClr>
            </a:bgClr>
          </a:pattFill>
        </p:spPr>
        <p:txBody>
          <a:bodyPr tIns="180000"/>
          <a:lstStyle>
            <a:lvl1pPr>
              <a:defRPr lang="nl-NL" sz="1600"/>
            </a:lvl1pPr>
          </a:lstStyle>
          <a:p>
            <a:pPr marL="0" lvl="0" indent="0" algn="ctr">
              <a:buNone/>
            </a:pPr>
            <a:r>
              <a:rPr lang="en-US" noProof="0"/>
              <a:t>Click icon to insert an image</a:t>
            </a:r>
          </a:p>
        </p:txBody>
      </p:sp>
    </p:spTree>
    <p:extLst>
      <p:ext uri="{BB962C8B-B14F-4D97-AF65-F5344CB8AC3E}">
        <p14:creationId xmlns:p14="http://schemas.microsoft.com/office/powerpoint/2010/main" val="1964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9" name="Picture 27" descr="ipad.png">
            <a:extLst>
              <a:ext uri="{FF2B5EF4-FFF2-40B4-BE49-F238E27FC236}">
                <a16:creationId xmlns:a16="http://schemas.microsoft.com/office/drawing/2014/main" id="{40E220D6-FD15-44C4-AA9B-F78ACC70C4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12880" y="2087067"/>
            <a:ext cx="4915097" cy="3567164"/>
          </a:xfrm>
          <a:prstGeom prst="rect">
            <a:avLst/>
          </a:prstGeom>
        </p:spPr>
      </p:pic>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5399682"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5" name="Picture Placeholder 4">
            <a:extLst>
              <a:ext uri="{FF2B5EF4-FFF2-40B4-BE49-F238E27FC236}">
                <a16:creationId xmlns:a16="http://schemas.microsoft.com/office/drawing/2014/main" id="{10B00AF0-3BFA-4AC7-AB36-69D01C90D683}"/>
              </a:ext>
            </a:extLst>
          </p:cNvPr>
          <p:cNvSpPr>
            <a:spLocks noGrp="1"/>
          </p:cNvSpPr>
          <p:nvPr>
            <p:ph type="pic" sz="quarter" idx="14" hasCustomPrompt="1"/>
          </p:nvPr>
        </p:nvSpPr>
        <p:spPr>
          <a:xfrm>
            <a:off x="6633210" y="2286000"/>
            <a:ext cx="4069080" cy="3093719"/>
          </a:xfrm>
          <a:prstGeom prst="rect">
            <a:avLst/>
          </a:prstGeom>
          <a:pattFill prst="dkUpDiag">
            <a:fgClr>
              <a:schemeClr val="bg1">
                <a:lumMod val="75000"/>
              </a:schemeClr>
            </a:fgClr>
            <a:bgClr>
              <a:schemeClr val="bg1">
                <a:lumMod val="95000"/>
              </a:schemeClr>
            </a:bgClr>
          </a:pattFill>
        </p:spPr>
        <p:txBody>
          <a:bodyPr tIns="180000"/>
          <a:lstStyle>
            <a:lvl1pPr>
              <a:defRPr lang="nl-NL" sz="1600"/>
            </a:lvl1pPr>
          </a:lstStyle>
          <a:p>
            <a:pPr marL="0" lvl="0" indent="0" algn="ctr">
              <a:buNone/>
            </a:pPr>
            <a:r>
              <a:rPr lang="en-US" noProof="0"/>
              <a:t>Click icon to insert an image</a:t>
            </a:r>
          </a:p>
        </p:txBody>
      </p:sp>
    </p:spTree>
    <p:extLst>
      <p:ext uri="{BB962C8B-B14F-4D97-AF65-F5344CB8AC3E}">
        <p14:creationId xmlns:p14="http://schemas.microsoft.com/office/powerpoint/2010/main" val="238716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ptop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3277318" y="1898249"/>
            <a:ext cx="5718742" cy="3755982"/>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grpSp>
      <p:sp>
        <p:nvSpPr>
          <p:cNvPr id="9" name="Picture Placeholder 8">
            <a:extLst>
              <a:ext uri="{FF2B5EF4-FFF2-40B4-BE49-F238E27FC236}">
                <a16:creationId xmlns:a16="http://schemas.microsoft.com/office/drawing/2014/main" id="{F8E80370-8790-4863-AB9C-02FC64D074B3}"/>
              </a:ext>
            </a:extLst>
          </p:cNvPr>
          <p:cNvSpPr>
            <a:spLocks noGrp="1"/>
          </p:cNvSpPr>
          <p:nvPr>
            <p:ph type="pic" sz="quarter" idx="12" hasCustomPrompt="1"/>
          </p:nvPr>
        </p:nvSpPr>
        <p:spPr>
          <a:xfrm>
            <a:off x="4017963" y="2287588"/>
            <a:ext cx="4191000" cy="2595562"/>
          </a:xfrm>
          <a:prstGeom prst="rect">
            <a:avLst/>
          </a:prstGeom>
          <a:pattFill prst="dkUpDiag">
            <a:fgClr>
              <a:schemeClr val="bg1">
                <a:lumMod val="75000"/>
              </a:schemeClr>
            </a:fgClr>
            <a:bgClr>
              <a:schemeClr val="bg1">
                <a:lumMod val="95000"/>
              </a:schemeClr>
            </a:bgClr>
          </a:pattFill>
        </p:spPr>
        <p:txBody>
          <a:bodyPr tIns="180000"/>
          <a:lstStyle>
            <a:lvl1pPr marL="0" indent="0" algn="ctr">
              <a:buNone/>
              <a:defRPr sz="1600"/>
            </a:lvl1pPr>
          </a:lstStyle>
          <a:p>
            <a:r>
              <a:rPr lang="en-US" noProof="0"/>
              <a:t>Click icon to insert an image</a:t>
            </a:r>
          </a:p>
        </p:txBody>
      </p:sp>
    </p:spTree>
    <p:extLst>
      <p:ext uri="{BB962C8B-B14F-4D97-AF65-F5344CB8AC3E}">
        <p14:creationId xmlns:p14="http://schemas.microsoft.com/office/powerpoint/2010/main" val="61857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3"/>
            <a:ext cx="10531475" cy="4629873"/>
          </a:xfrm>
          <a:prstGeom prst="rect">
            <a:avLst/>
          </a:prstGeom>
        </p:spPr>
        <p:txBody>
          <a:bodyPr lIns="0" tIns="0" rIns="0" bIns="0"/>
          <a:lstStyle>
            <a:lvl1pPr marL="266567" indent="-266567">
              <a:buClr>
                <a:schemeClr val="accent1"/>
              </a:buClr>
              <a:defRPr sz="1999">
                <a:solidFill>
                  <a:schemeClr val="tx1"/>
                </a:solidFill>
              </a:defRPr>
            </a:lvl1pPr>
            <a:lvl2pPr marL="625162" indent="-266567">
              <a:buClr>
                <a:schemeClr val="accent1"/>
              </a:buClr>
              <a:buFont typeface="Calibri" panose="020F0502020204030204" pitchFamily="34" charset="0"/>
              <a:buChar char="-"/>
              <a:defRPr sz="1799">
                <a:solidFill>
                  <a:schemeClr val="tx1">
                    <a:lumMod val="50000"/>
                    <a:lumOff val="50000"/>
                  </a:schemeClr>
                </a:solidFill>
              </a:defRPr>
            </a:lvl2pPr>
            <a:lvl3pPr marL="890143" indent="-264980">
              <a:buClr>
                <a:schemeClr val="accent1"/>
              </a:buClr>
              <a:buFont typeface="Wingdings" panose="05000000000000000000" pitchFamily="2" charset="2"/>
              <a:buChar char="§"/>
              <a:defRPr sz="1599">
                <a:solidFill>
                  <a:schemeClr val="tx1"/>
                </a:solidFill>
              </a:defRPr>
            </a:lvl3pPr>
          </a:lstStyle>
          <a:p>
            <a:pPr lvl="0"/>
            <a:r>
              <a:rPr lang="nl-NL" noProof="0"/>
              <a:t>Aanpassen tekst</a:t>
            </a:r>
          </a:p>
          <a:p>
            <a:pPr lvl="1"/>
            <a:r>
              <a:rPr lang="nl-NL" noProof="0"/>
              <a:t>Tweede level</a:t>
            </a:r>
          </a:p>
          <a:p>
            <a:pPr lvl="2"/>
            <a:r>
              <a:rPr lang="nl-NL" noProof="0"/>
              <a:t>Derde level</a:t>
            </a:r>
          </a:p>
        </p:txBody>
      </p:sp>
    </p:spTree>
    <p:extLst>
      <p:ext uri="{BB962C8B-B14F-4D97-AF65-F5344CB8AC3E}">
        <p14:creationId xmlns:p14="http://schemas.microsoft.com/office/powerpoint/2010/main" val="421587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ptop vide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3277318" y="1898249"/>
            <a:ext cx="5718742" cy="3755982"/>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grpSp>
      <p:sp>
        <p:nvSpPr>
          <p:cNvPr id="10" name="Media Placeholder 9">
            <a:extLst>
              <a:ext uri="{FF2B5EF4-FFF2-40B4-BE49-F238E27FC236}">
                <a16:creationId xmlns:a16="http://schemas.microsoft.com/office/drawing/2014/main" id="{A6C3A0F0-27BB-4883-B60B-CFCD69CCC8D5}"/>
              </a:ext>
            </a:extLst>
          </p:cNvPr>
          <p:cNvSpPr>
            <a:spLocks noGrp="1"/>
          </p:cNvSpPr>
          <p:nvPr>
            <p:ph type="media" sz="quarter" idx="12" hasCustomPrompt="1"/>
          </p:nvPr>
        </p:nvSpPr>
        <p:spPr>
          <a:xfrm>
            <a:off x="4017963" y="2287588"/>
            <a:ext cx="4191000" cy="2595562"/>
          </a:xfrm>
          <a:prstGeom prst="rect">
            <a:avLst/>
          </a:prstGeom>
          <a:pattFill prst="dkUpDiag">
            <a:fgClr>
              <a:schemeClr val="bg1">
                <a:lumMod val="75000"/>
              </a:schemeClr>
            </a:fgClr>
            <a:bgClr>
              <a:schemeClr val="bg1">
                <a:lumMod val="95000"/>
              </a:schemeClr>
            </a:bgClr>
          </a:pattFill>
        </p:spPr>
        <p:txBody>
          <a:bodyPr tIns="18000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Click icon to insert media</a:t>
            </a:r>
          </a:p>
        </p:txBody>
      </p:sp>
    </p:spTree>
    <p:extLst>
      <p:ext uri="{BB962C8B-B14F-4D97-AF65-F5344CB8AC3E}">
        <p14:creationId xmlns:p14="http://schemas.microsoft.com/office/powerpoint/2010/main" val="2257920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ptop XL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2174335" y="1452622"/>
            <a:ext cx="7843329" cy="5151378"/>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grpSp>
      <p:sp>
        <p:nvSpPr>
          <p:cNvPr id="9" name="Picture Placeholder 8">
            <a:extLst>
              <a:ext uri="{FF2B5EF4-FFF2-40B4-BE49-F238E27FC236}">
                <a16:creationId xmlns:a16="http://schemas.microsoft.com/office/drawing/2014/main" id="{F8E80370-8790-4863-AB9C-02FC64D074B3}"/>
              </a:ext>
            </a:extLst>
          </p:cNvPr>
          <p:cNvSpPr>
            <a:spLocks noGrp="1"/>
          </p:cNvSpPr>
          <p:nvPr>
            <p:ph type="pic" sz="quarter" idx="12" hasCustomPrompt="1"/>
          </p:nvPr>
        </p:nvSpPr>
        <p:spPr>
          <a:xfrm>
            <a:off x="3184586" y="1986646"/>
            <a:ext cx="5751070" cy="3569202"/>
          </a:xfrm>
          <a:prstGeom prst="rect">
            <a:avLst/>
          </a:prstGeom>
          <a:pattFill prst="dkUpDiag">
            <a:fgClr>
              <a:schemeClr val="bg1">
                <a:lumMod val="75000"/>
              </a:schemeClr>
            </a:fgClr>
            <a:bgClr>
              <a:schemeClr val="bg1">
                <a:lumMod val="95000"/>
              </a:schemeClr>
            </a:bgClr>
          </a:pattFill>
        </p:spPr>
        <p:txBody>
          <a:bodyPr tIns="180000"/>
          <a:lstStyle>
            <a:lvl1pPr marL="0" indent="0" algn="ctr">
              <a:buNone/>
              <a:defRPr sz="1600"/>
            </a:lvl1pPr>
          </a:lstStyle>
          <a:p>
            <a:r>
              <a:rPr lang="en-US" noProof="0"/>
              <a:t>Click icon to insert an image</a:t>
            </a:r>
          </a:p>
        </p:txBody>
      </p:sp>
    </p:spTree>
    <p:extLst>
      <p:ext uri="{BB962C8B-B14F-4D97-AF65-F5344CB8AC3E}">
        <p14:creationId xmlns:p14="http://schemas.microsoft.com/office/powerpoint/2010/main" val="992484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ptop XL vide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2174335" y="1452622"/>
            <a:ext cx="7843329" cy="5151378"/>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grpSp>
      <p:sp>
        <p:nvSpPr>
          <p:cNvPr id="10" name="Media Placeholder 9">
            <a:extLst>
              <a:ext uri="{FF2B5EF4-FFF2-40B4-BE49-F238E27FC236}">
                <a16:creationId xmlns:a16="http://schemas.microsoft.com/office/drawing/2014/main" id="{19DB4B01-EB8D-4060-A3E9-7E3E8B6AFED0}"/>
              </a:ext>
            </a:extLst>
          </p:cNvPr>
          <p:cNvSpPr>
            <a:spLocks noGrp="1"/>
          </p:cNvSpPr>
          <p:nvPr>
            <p:ph type="media" sz="quarter" idx="12" hasCustomPrompt="1"/>
          </p:nvPr>
        </p:nvSpPr>
        <p:spPr>
          <a:xfrm>
            <a:off x="3189288" y="1987550"/>
            <a:ext cx="5749925" cy="3559175"/>
          </a:xfrm>
          <a:prstGeom prst="rect">
            <a:avLst/>
          </a:prstGeom>
          <a:pattFill prst="dkUpDiag">
            <a:fgClr>
              <a:schemeClr val="bg1">
                <a:lumMod val="75000"/>
              </a:schemeClr>
            </a:fgClr>
            <a:bgClr>
              <a:schemeClr val="bg1">
                <a:lumMod val="95000"/>
              </a:schemeClr>
            </a:bgClr>
          </a:pattFill>
        </p:spPr>
        <p:txBody>
          <a:bodyPr tIns="18000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Click icon to insert media</a:t>
            </a:r>
          </a:p>
        </p:txBody>
      </p:sp>
    </p:spTree>
    <p:extLst>
      <p:ext uri="{BB962C8B-B14F-4D97-AF65-F5344CB8AC3E}">
        <p14:creationId xmlns:p14="http://schemas.microsoft.com/office/powerpoint/2010/main" val="21939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hoto frame full">
    <p:spTree>
      <p:nvGrpSpPr>
        <p:cNvPr id="1" name=""/>
        <p:cNvGrpSpPr/>
        <p:nvPr/>
      </p:nvGrpSpPr>
      <p:grpSpPr>
        <a:xfrm>
          <a:off x="0" y="0"/>
          <a:ext cx="0" cy="0"/>
          <a:chOff x="0" y="0"/>
          <a:chExt cx="0" cy="0"/>
        </a:xfrm>
      </p:grpSpPr>
      <p:sp>
        <p:nvSpPr>
          <p:cNvPr id="18" name="Rectangle 3">
            <a:extLst>
              <a:ext uri="{FF2B5EF4-FFF2-40B4-BE49-F238E27FC236}">
                <a16:creationId xmlns:a16="http://schemas.microsoft.com/office/drawing/2014/main" id="{BA86B133-8EA2-4BCA-9047-7964C012F2D3}"/>
              </a:ext>
            </a:extLst>
          </p:cNvPr>
          <p:cNvSpPr/>
          <p:nvPr userDrawn="1"/>
        </p:nvSpPr>
        <p:spPr>
          <a:xfrm rot="10800000">
            <a:off x="-12761" y="-11579"/>
            <a:ext cx="2293503" cy="6880685"/>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6" name="Group 45">
            <a:extLst>
              <a:ext uri="{FF2B5EF4-FFF2-40B4-BE49-F238E27FC236}">
                <a16:creationId xmlns:a16="http://schemas.microsoft.com/office/drawing/2014/main" id="{D52F4F2B-D6E4-49FD-A49C-C066BB1C819A}"/>
              </a:ext>
            </a:extLst>
          </p:cNvPr>
          <p:cNvGrpSpPr/>
          <p:nvPr userDrawn="1"/>
        </p:nvGrpSpPr>
        <p:grpSpPr>
          <a:xfrm>
            <a:off x="375970" y="509428"/>
            <a:ext cx="1269708" cy="457523"/>
            <a:chOff x="3078163" y="2341563"/>
            <a:chExt cx="6035676" cy="2174875"/>
          </a:xfrm>
        </p:grpSpPr>
        <p:sp>
          <p:nvSpPr>
            <p:cNvPr id="47" name="Freeform 5">
              <a:extLst>
                <a:ext uri="{FF2B5EF4-FFF2-40B4-BE49-F238E27FC236}">
                  <a16:creationId xmlns:a16="http://schemas.microsoft.com/office/drawing/2014/main" id="{CC873411-21FD-495E-B469-63EE401DFB8D}"/>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48" name="Freeform 6">
              <a:extLst>
                <a:ext uri="{FF2B5EF4-FFF2-40B4-BE49-F238E27FC236}">
                  <a16:creationId xmlns:a16="http://schemas.microsoft.com/office/drawing/2014/main" id="{C37F28F2-3A6B-4A2D-BB07-336F952F95BC}"/>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49" name="Freeform 7">
              <a:extLst>
                <a:ext uri="{FF2B5EF4-FFF2-40B4-BE49-F238E27FC236}">
                  <a16:creationId xmlns:a16="http://schemas.microsoft.com/office/drawing/2014/main" id="{F6C91EE9-45B1-4CA7-B9FF-2B382E9BA059}"/>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50" name="Freeform 8">
              <a:extLst>
                <a:ext uri="{FF2B5EF4-FFF2-40B4-BE49-F238E27FC236}">
                  <a16:creationId xmlns:a16="http://schemas.microsoft.com/office/drawing/2014/main" id="{8FB6BFED-CA50-4767-90E7-F7F31F6E872C}"/>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51" name="Freeform 9">
              <a:extLst>
                <a:ext uri="{FF2B5EF4-FFF2-40B4-BE49-F238E27FC236}">
                  <a16:creationId xmlns:a16="http://schemas.microsoft.com/office/drawing/2014/main" id="{1CCB9127-4DB0-4E41-9BAE-0917376F7AA8}"/>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52" name="Freeform 10">
              <a:extLst>
                <a:ext uri="{FF2B5EF4-FFF2-40B4-BE49-F238E27FC236}">
                  <a16:creationId xmlns:a16="http://schemas.microsoft.com/office/drawing/2014/main" id="{54C9E3C8-5976-4789-B0A2-88D59AF83147}"/>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53" name="Freeform 11">
              <a:extLst>
                <a:ext uri="{FF2B5EF4-FFF2-40B4-BE49-F238E27FC236}">
                  <a16:creationId xmlns:a16="http://schemas.microsoft.com/office/drawing/2014/main" id="{D20CC8FB-6D1D-428F-A33D-C001800D262E}"/>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5" name="Tijdelijke aanduiding voor afbeelding 14">
            <a:extLst>
              <a:ext uri="{FF2B5EF4-FFF2-40B4-BE49-F238E27FC236}">
                <a16:creationId xmlns:a16="http://schemas.microsoft.com/office/drawing/2014/main" id="{B0BA5DFF-164C-4F33-9EF5-BBA2D30D6CB1}"/>
              </a:ext>
            </a:extLst>
          </p:cNvPr>
          <p:cNvSpPr>
            <a:spLocks noGrp="1"/>
          </p:cNvSpPr>
          <p:nvPr>
            <p:ph type="pic" sz="quarter" idx="12" hasCustomPrompt="1"/>
          </p:nvPr>
        </p:nvSpPr>
        <p:spPr>
          <a:xfrm>
            <a:off x="-9526" y="-11574"/>
            <a:ext cx="12201525" cy="6880686"/>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1525" h="6880686">
                <a:moveTo>
                  <a:pt x="2318085" y="0"/>
                </a:moveTo>
                <a:lnTo>
                  <a:pt x="12201525" y="463"/>
                </a:lnTo>
                <a:cubicBezTo>
                  <a:pt x="12200620" y="625408"/>
                  <a:pt x="12199714" y="1250354"/>
                  <a:pt x="12198810" y="1875299"/>
                </a:cubicBezTo>
                <a:lnTo>
                  <a:pt x="12201525" y="1875299"/>
                </a:lnTo>
                <a:lnTo>
                  <a:pt x="12201525" y="6344112"/>
                </a:lnTo>
                <a:lnTo>
                  <a:pt x="12199508" y="6344112"/>
                </a:lnTo>
                <a:cubicBezTo>
                  <a:pt x="12200181" y="6522970"/>
                  <a:pt x="12200852" y="6701828"/>
                  <a:pt x="12201525" y="6880686"/>
                </a:cubicBezTo>
                <a:lnTo>
                  <a:pt x="0" y="6880686"/>
                </a:lnTo>
                <a:lnTo>
                  <a:pt x="11673" y="6841306"/>
                </a:lnTo>
                <a:lnTo>
                  <a:pt x="1308276" y="2995309"/>
                </a:lnTo>
                <a:lnTo>
                  <a:pt x="1457809" y="2580257"/>
                </a:lnTo>
                <a:cubicBezTo>
                  <a:pt x="1662353" y="2006866"/>
                  <a:pt x="1860795" y="1433476"/>
                  <a:pt x="2040932" y="860085"/>
                </a:cubicBezTo>
                <a:lnTo>
                  <a:pt x="2134197" y="54545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dirty="0"/>
            </a:lvl1pPr>
          </a:lstStyle>
          <a:p>
            <a:pPr marL="228600" lvl="0" indent="-228600" algn="ctr"/>
            <a:r>
              <a:rPr lang="en-US" noProof="0"/>
              <a:t>Click icon to insert an image</a:t>
            </a:r>
          </a:p>
        </p:txBody>
      </p:sp>
    </p:spTree>
    <p:extLst>
      <p:ext uri="{BB962C8B-B14F-4D97-AF65-F5344CB8AC3E}">
        <p14:creationId xmlns:p14="http://schemas.microsoft.com/office/powerpoint/2010/main" val="390096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2">
          <p15:clr>
            <a:srgbClr val="FBAE40"/>
          </p15:clr>
        </p15:guide>
        <p15:guide id="4" orient="horz" pos="4065">
          <p15:clr>
            <a:srgbClr val="FBAE40"/>
          </p15:clr>
        </p15:guide>
        <p15:guide id="5" pos="4404">
          <p15:clr>
            <a:srgbClr val="FBAE40"/>
          </p15:clr>
        </p15:guide>
        <p15:guide id="6" pos="123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sp>
        <p:nvSpPr>
          <p:cNvPr id="28" name="Vrije vorm: vorm 27">
            <a:extLst>
              <a:ext uri="{FF2B5EF4-FFF2-40B4-BE49-F238E27FC236}">
                <a16:creationId xmlns:a16="http://schemas.microsoft.com/office/drawing/2014/main" id="{A7DAE745-3021-445B-9937-0EEA4C1BC8A8}"/>
              </a:ext>
            </a:extLst>
          </p:cNvPr>
          <p:cNvSpPr/>
          <p:nvPr userDrawn="1"/>
        </p:nvSpPr>
        <p:spPr>
          <a:xfrm>
            <a:off x="5873442" y="2546429"/>
            <a:ext cx="6318556" cy="3293654"/>
          </a:xfrm>
          <a:custGeom>
            <a:avLst/>
            <a:gdLst>
              <a:gd name="connsiteX0" fmla="*/ 1106090 w 6318556"/>
              <a:gd name="connsiteY0" fmla="*/ 0 h 3293654"/>
              <a:gd name="connsiteX1" fmla="*/ 1126600 w 6318556"/>
              <a:gd name="connsiteY1" fmla="*/ 46 h 3293654"/>
              <a:gd name="connsiteX2" fmla="*/ 1126615 w 6318556"/>
              <a:gd name="connsiteY2" fmla="*/ 0 h 3293654"/>
              <a:gd name="connsiteX3" fmla="*/ 1126615 w 6318556"/>
              <a:gd name="connsiteY3" fmla="*/ 46 h 3293654"/>
              <a:gd name="connsiteX4" fmla="*/ 6318556 w 6318556"/>
              <a:gd name="connsiteY4" fmla="*/ 11652 h 3293654"/>
              <a:gd name="connsiteX5" fmla="*/ 6318556 w 6318556"/>
              <a:gd name="connsiteY5" fmla="*/ 3293654 h 3293654"/>
              <a:gd name="connsiteX6" fmla="*/ 0 w 6318556"/>
              <a:gd name="connsiteY6" fmla="*/ 3293654 h 3293654"/>
              <a:gd name="connsiteX7" fmla="*/ 955335 w 6318556"/>
              <a:gd name="connsiteY7" fmla="*/ 500738 h 3293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8556" h="3293654">
                <a:moveTo>
                  <a:pt x="1106090" y="0"/>
                </a:moveTo>
                <a:lnTo>
                  <a:pt x="1126600" y="46"/>
                </a:lnTo>
                <a:lnTo>
                  <a:pt x="1126615" y="0"/>
                </a:lnTo>
                <a:lnTo>
                  <a:pt x="1126615" y="46"/>
                </a:lnTo>
                <a:lnTo>
                  <a:pt x="6318556" y="11652"/>
                </a:lnTo>
                <a:lnTo>
                  <a:pt x="6318556" y="3293654"/>
                </a:lnTo>
                <a:lnTo>
                  <a:pt x="0" y="3293654"/>
                </a:lnTo>
                <a:lnTo>
                  <a:pt x="955335" y="5007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18" name="Rectangle 3">
            <a:extLst>
              <a:ext uri="{FF2B5EF4-FFF2-40B4-BE49-F238E27FC236}">
                <a16:creationId xmlns:a16="http://schemas.microsoft.com/office/drawing/2014/main" id="{BA86B133-8EA2-4BCA-9047-7964C012F2D3}"/>
              </a:ext>
            </a:extLst>
          </p:cNvPr>
          <p:cNvSpPr/>
          <p:nvPr userDrawn="1"/>
        </p:nvSpPr>
        <p:spPr>
          <a:xfrm rot="10800000">
            <a:off x="-9530" y="-11577"/>
            <a:ext cx="2311293" cy="6880686"/>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6979454" y="2995165"/>
            <a:ext cx="4862858" cy="2152893"/>
          </a:xfrm>
          <a:prstGeom prst="rect">
            <a:avLst/>
          </a:prstGeom>
        </p:spPr>
        <p:txBody>
          <a:bodyPr lIns="0" tIns="0" rIns="0" bIns="72000" anchor="b" anchorCtr="0"/>
          <a:lstStyle>
            <a:lvl1pPr>
              <a:defRPr sz="2800">
                <a:solidFill>
                  <a:schemeClr val="bg1"/>
                </a:solidFill>
              </a:defRPr>
            </a:lvl1pPr>
          </a:lstStyle>
          <a:p>
            <a:r>
              <a:rPr lang="en-US" noProof="0"/>
              <a:t>Click to edit </a:t>
            </a:r>
            <a:br>
              <a:rPr lang="en-US" noProof="0"/>
            </a:br>
            <a:r>
              <a:rPr lang="en-US" noProof="0"/>
              <a:t>Master title style</a:t>
            </a:r>
          </a:p>
        </p:txBody>
      </p:sp>
      <p:sp>
        <p:nvSpPr>
          <p:cNvPr id="26" name="Tijdelijke aanduiding voor afbeelding 25">
            <a:extLst>
              <a:ext uri="{FF2B5EF4-FFF2-40B4-BE49-F238E27FC236}">
                <a16:creationId xmlns:a16="http://schemas.microsoft.com/office/drawing/2014/main" id="{D2D835CF-AC8F-47B2-9687-324E766D8FE4}"/>
              </a:ext>
            </a:extLst>
          </p:cNvPr>
          <p:cNvSpPr>
            <a:spLocks noGrp="1"/>
          </p:cNvSpPr>
          <p:nvPr>
            <p:ph type="pic" sz="quarter" idx="12" hasCustomPrompt="1"/>
          </p:nvPr>
        </p:nvSpPr>
        <p:spPr>
          <a:xfrm>
            <a:off x="-9526" y="-11574"/>
            <a:ext cx="12201525" cy="6880686"/>
          </a:xfrm>
          <a:custGeom>
            <a:avLst/>
            <a:gdLst>
              <a:gd name="connsiteX0" fmla="*/ 6989058 w 12201525"/>
              <a:gd name="connsiteY0" fmla="*/ 2558003 h 6880686"/>
              <a:gd name="connsiteX1" fmla="*/ 6838303 w 12201525"/>
              <a:gd name="connsiteY1" fmla="*/ 3058741 h 6880686"/>
              <a:gd name="connsiteX2" fmla="*/ 5882968 w 12201525"/>
              <a:gd name="connsiteY2" fmla="*/ 5851657 h 6880686"/>
              <a:gd name="connsiteX3" fmla="*/ 12201524 w 12201525"/>
              <a:gd name="connsiteY3" fmla="*/ 5851657 h 6880686"/>
              <a:gd name="connsiteX4" fmla="*/ 12201524 w 12201525"/>
              <a:gd name="connsiteY4" fmla="*/ 2569655 h 6880686"/>
              <a:gd name="connsiteX5" fmla="*/ 7009583 w 12201525"/>
              <a:gd name="connsiteY5" fmla="*/ 2558049 h 6880686"/>
              <a:gd name="connsiteX6" fmla="*/ 7009583 w 12201525"/>
              <a:gd name="connsiteY6" fmla="*/ 2558003 h 6880686"/>
              <a:gd name="connsiteX7" fmla="*/ 7009568 w 12201525"/>
              <a:gd name="connsiteY7" fmla="*/ 2558049 h 6880686"/>
              <a:gd name="connsiteX8" fmla="*/ 2318085 w 12201525"/>
              <a:gd name="connsiteY8" fmla="*/ 0 h 6880686"/>
              <a:gd name="connsiteX9" fmla="*/ 12201525 w 12201525"/>
              <a:gd name="connsiteY9" fmla="*/ 463 h 6880686"/>
              <a:gd name="connsiteX10" fmla="*/ 12198810 w 12201525"/>
              <a:gd name="connsiteY10" fmla="*/ 1875299 h 6880686"/>
              <a:gd name="connsiteX11" fmla="*/ 12201525 w 12201525"/>
              <a:gd name="connsiteY11" fmla="*/ 1875299 h 6880686"/>
              <a:gd name="connsiteX12" fmla="*/ 12201525 w 12201525"/>
              <a:gd name="connsiteY12" fmla="*/ 6344112 h 6880686"/>
              <a:gd name="connsiteX13" fmla="*/ 12199508 w 12201525"/>
              <a:gd name="connsiteY13" fmla="*/ 6344112 h 6880686"/>
              <a:gd name="connsiteX14" fmla="*/ 12201525 w 12201525"/>
              <a:gd name="connsiteY14" fmla="*/ 6880686 h 6880686"/>
              <a:gd name="connsiteX15" fmla="*/ 0 w 12201525"/>
              <a:gd name="connsiteY15" fmla="*/ 6880686 h 6880686"/>
              <a:gd name="connsiteX16" fmla="*/ 11673 w 12201525"/>
              <a:gd name="connsiteY16" fmla="*/ 6841306 h 6880686"/>
              <a:gd name="connsiteX17" fmla="*/ 1308276 w 12201525"/>
              <a:gd name="connsiteY17" fmla="*/ 2995309 h 6880686"/>
              <a:gd name="connsiteX18" fmla="*/ 1457809 w 12201525"/>
              <a:gd name="connsiteY18" fmla="*/ 2580257 h 6880686"/>
              <a:gd name="connsiteX19" fmla="*/ 2040932 w 12201525"/>
              <a:gd name="connsiteY19" fmla="*/ 860085 h 6880686"/>
              <a:gd name="connsiteX20" fmla="*/ 2134197 w 12201525"/>
              <a:gd name="connsiteY20" fmla="*/ 545453 h 688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01525" h="6880686">
                <a:moveTo>
                  <a:pt x="6989058" y="2558003"/>
                </a:moveTo>
                <a:lnTo>
                  <a:pt x="6838303" y="3058741"/>
                </a:lnTo>
                <a:lnTo>
                  <a:pt x="5882968" y="5851657"/>
                </a:lnTo>
                <a:lnTo>
                  <a:pt x="12201524" y="5851657"/>
                </a:lnTo>
                <a:lnTo>
                  <a:pt x="12201524" y="2569655"/>
                </a:lnTo>
                <a:lnTo>
                  <a:pt x="7009583" y="2558049"/>
                </a:lnTo>
                <a:lnTo>
                  <a:pt x="7009583" y="2558003"/>
                </a:lnTo>
                <a:lnTo>
                  <a:pt x="7009568" y="2558049"/>
                </a:lnTo>
                <a:close/>
                <a:moveTo>
                  <a:pt x="2318085" y="0"/>
                </a:moveTo>
                <a:lnTo>
                  <a:pt x="12201525" y="463"/>
                </a:lnTo>
                <a:cubicBezTo>
                  <a:pt x="12200620" y="625408"/>
                  <a:pt x="12199714" y="1250354"/>
                  <a:pt x="12198810" y="1875299"/>
                </a:cubicBezTo>
                <a:lnTo>
                  <a:pt x="12201525" y="1875299"/>
                </a:lnTo>
                <a:lnTo>
                  <a:pt x="12201525" y="6344112"/>
                </a:lnTo>
                <a:lnTo>
                  <a:pt x="12199508" y="6344112"/>
                </a:lnTo>
                <a:cubicBezTo>
                  <a:pt x="12200181" y="6522970"/>
                  <a:pt x="12200852" y="6701828"/>
                  <a:pt x="12201525" y="6880686"/>
                </a:cubicBezTo>
                <a:lnTo>
                  <a:pt x="0" y="6880686"/>
                </a:lnTo>
                <a:lnTo>
                  <a:pt x="11673" y="6841306"/>
                </a:lnTo>
                <a:lnTo>
                  <a:pt x="1308276" y="2995309"/>
                </a:lnTo>
                <a:lnTo>
                  <a:pt x="1457809" y="2580257"/>
                </a:lnTo>
                <a:cubicBezTo>
                  <a:pt x="1662353" y="2006866"/>
                  <a:pt x="1860795" y="1433476"/>
                  <a:pt x="2040932" y="860085"/>
                </a:cubicBezTo>
                <a:lnTo>
                  <a:pt x="2134197" y="54545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dirty="0"/>
            </a:lvl1pPr>
          </a:lstStyle>
          <a:p>
            <a:pPr marL="228600" lvl="0" indent="-228600" algn="ctr"/>
            <a:r>
              <a:rPr lang="en-US" noProof="0"/>
              <a:t>Click icon to insert an image</a:t>
            </a:r>
          </a:p>
        </p:txBody>
      </p:sp>
      <p:grpSp>
        <p:nvGrpSpPr>
          <p:cNvPr id="15" name="Group 14">
            <a:extLst>
              <a:ext uri="{FF2B5EF4-FFF2-40B4-BE49-F238E27FC236}">
                <a16:creationId xmlns:a16="http://schemas.microsoft.com/office/drawing/2014/main" id="{C0FAACAD-4552-CD4D-BDF0-611AEAED22F5}"/>
              </a:ext>
            </a:extLst>
          </p:cNvPr>
          <p:cNvGrpSpPr/>
          <p:nvPr userDrawn="1"/>
        </p:nvGrpSpPr>
        <p:grpSpPr>
          <a:xfrm>
            <a:off x="375970" y="509428"/>
            <a:ext cx="1269708" cy="457523"/>
            <a:chOff x="3078163" y="2341563"/>
            <a:chExt cx="6035676" cy="2174875"/>
          </a:xfrm>
        </p:grpSpPr>
        <p:sp>
          <p:nvSpPr>
            <p:cNvPr id="16" name="Freeform 5">
              <a:extLst>
                <a:ext uri="{FF2B5EF4-FFF2-40B4-BE49-F238E27FC236}">
                  <a16:creationId xmlns:a16="http://schemas.microsoft.com/office/drawing/2014/main" id="{C83A5D12-FAF6-504C-B2FD-C6E83D549131}"/>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7" name="Freeform 6">
              <a:extLst>
                <a:ext uri="{FF2B5EF4-FFF2-40B4-BE49-F238E27FC236}">
                  <a16:creationId xmlns:a16="http://schemas.microsoft.com/office/drawing/2014/main" id="{6E8BC0E6-FFF7-964A-A8F8-259E13B42E78}"/>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9" name="Freeform 7">
              <a:extLst>
                <a:ext uri="{FF2B5EF4-FFF2-40B4-BE49-F238E27FC236}">
                  <a16:creationId xmlns:a16="http://schemas.microsoft.com/office/drawing/2014/main" id="{114F31EA-8D74-B946-A277-58356FD95CB4}"/>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0" name="Freeform 8">
              <a:extLst>
                <a:ext uri="{FF2B5EF4-FFF2-40B4-BE49-F238E27FC236}">
                  <a16:creationId xmlns:a16="http://schemas.microsoft.com/office/drawing/2014/main" id="{BE90E716-DDAC-D744-B755-8020656C05B4}"/>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1" name="Freeform 9">
              <a:extLst>
                <a:ext uri="{FF2B5EF4-FFF2-40B4-BE49-F238E27FC236}">
                  <a16:creationId xmlns:a16="http://schemas.microsoft.com/office/drawing/2014/main" id="{BBEDE278-6817-6642-9CED-73B9B0EF7C22}"/>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Freeform 10">
              <a:extLst>
                <a:ext uri="{FF2B5EF4-FFF2-40B4-BE49-F238E27FC236}">
                  <a16:creationId xmlns:a16="http://schemas.microsoft.com/office/drawing/2014/main" id="{334752CE-ADF5-5C4D-8231-CC00983FD69C}"/>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11">
              <a:extLst>
                <a:ext uri="{FF2B5EF4-FFF2-40B4-BE49-F238E27FC236}">
                  <a16:creationId xmlns:a16="http://schemas.microsoft.com/office/drawing/2014/main" id="{F927F4F0-2CD3-A742-9CB0-20710EA6AA61}"/>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7" name="Vrije vorm: vorm 26">
            <a:extLst>
              <a:ext uri="{FF2B5EF4-FFF2-40B4-BE49-F238E27FC236}">
                <a16:creationId xmlns:a16="http://schemas.microsoft.com/office/drawing/2014/main" id="{E090E6A0-BBE1-434C-8C1D-CD317F3FF280}"/>
              </a:ext>
            </a:extLst>
          </p:cNvPr>
          <p:cNvSpPr/>
          <p:nvPr userDrawn="1"/>
        </p:nvSpPr>
        <p:spPr>
          <a:xfrm>
            <a:off x="5873442" y="5340453"/>
            <a:ext cx="6318556" cy="499631"/>
          </a:xfrm>
          <a:custGeom>
            <a:avLst/>
            <a:gdLst>
              <a:gd name="connsiteX0" fmla="*/ 170902 w 6318556"/>
              <a:gd name="connsiteY0" fmla="*/ 0 h 499631"/>
              <a:gd name="connsiteX1" fmla="*/ 6318556 w 6318556"/>
              <a:gd name="connsiteY1" fmla="*/ 0 h 499631"/>
              <a:gd name="connsiteX2" fmla="*/ 6318556 w 6318556"/>
              <a:gd name="connsiteY2" fmla="*/ 499631 h 499631"/>
              <a:gd name="connsiteX3" fmla="*/ 0 w 6318556"/>
              <a:gd name="connsiteY3" fmla="*/ 499631 h 499631"/>
            </a:gdLst>
            <a:ahLst/>
            <a:cxnLst>
              <a:cxn ang="0">
                <a:pos x="connsiteX0" y="connsiteY0"/>
              </a:cxn>
              <a:cxn ang="0">
                <a:pos x="connsiteX1" y="connsiteY1"/>
              </a:cxn>
              <a:cxn ang="0">
                <a:pos x="connsiteX2" y="connsiteY2"/>
              </a:cxn>
              <a:cxn ang="0">
                <a:pos x="connsiteX3" y="connsiteY3"/>
              </a:cxn>
            </a:cxnLst>
            <a:rect l="l" t="t" r="r" b="b"/>
            <a:pathLst>
              <a:path w="6318556" h="499631">
                <a:moveTo>
                  <a:pt x="170902" y="0"/>
                </a:moveTo>
                <a:lnTo>
                  <a:pt x="6318556" y="0"/>
                </a:lnTo>
                <a:lnTo>
                  <a:pt x="6318556" y="499631"/>
                </a:lnTo>
                <a:lnTo>
                  <a:pt x="0" y="49963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14" name="TextBox 13">
            <a:extLst>
              <a:ext uri="{FF2B5EF4-FFF2-40B4-BE49-F238E27FC236}">
                <a16:creationId xmlns:a16="http://schemas.microsoft.com/office/drawing/2014/main" id="{6CAC65C5-D382-4D46-8330-6C7F60B3857A}"/>
              </a:ext>
            </a:extLst>
          </p:cNvPr>
          <p:cNvSpPr txBox="1"/>
          <p:nvPr userDrawn="1"/>
        </p:nvSpPr>
        <p:spPr>
          <a:xfrm>
            <a:off x="7001550" y="5340452"/>
            <a:ext cx="5181214" cy="364908"/>
          </a:xfrm>
          <a:prstGeom prst="rect">
            <a:avLst/>
          </a:prstGeom>
          <a:noFill/>
        </p:spPr>
        <p:txBody>
          <a:bodyPr wrap="square" lIns="0" rIns="0" rtlCol="0">
            <a:spAutoFit/>
          </a:bodyPr>
          <a:lstStyle/>
          <a:p>
            <a:pPr>
              <a:lnSpc>
                <a:spcPts val="2500"/>
              </a:lnSpc>
            </a:pPr>
            <a:r>
              <a:rPr lang="en-US" sz="1000" b="1" i="1" noProof="0">
                <a:solidFill>
                  <a:schemeClr val="bg1"/>
                </a:solidFill>
                <a:latin typeface="Arial" panose="020B0604020202020204" pitchFamily="34" charset="0"/>
                <a:cs typeface="Arial" panose="020B0604020202020204" pitchFamily="34" charset="0"/>
              </a:rPr>
              <a:t>Helping people achieve a lifetime of financial security</a:t>
            </a:r>
          </a:p>
        </p:txBody>
      </p:sp>
    </p:spTree>
    <p:extLst>
      <p:ext uri="{BB962C8B-B14F-4D97-AF65-F5344CB8AC3E}">
        <p14:creationId xmlns:p14="http://schemas.microsoft.com/office/powerpoint/2010/main" val="192620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guide id="5" pos="4404">
          <p15:clr>
            <a:srgbClr val="FBAE40"/>
          </p15:clr>
        </p15:guide>
        <p15:guide id="6" pos="123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91015" y="1477881"/>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91015" y="18928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558081" y="1477881"/>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1291015" y="2868418"/>
            <a:ext cx="2759201" cy="37659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4" name="Tijdelijke aanduiding voor tekst 37"/>
          <p:cNvSpPr>
            <a:spLocks noGrp="1"/>
          </p:cNvSpPr>
          <p:nvPr>
            <p:ph type="body" sz="quarter" idx="39" hasCustomPrompt="1"/>
          </p:nvPr>
        </p:nvSpPr>
        <p:spPr>
          <a:xfrm>
            <a:off x="1291015" y="3255173"/>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5" name="Tijdelijke aanduiding voor tekst 71"/>
          <p:cNvSpPr>
            <a:spLocks noGrp="1"/>
          </p:cNvSpPr>
          <p:nvPr>
            <p:ph type="body" sz="quarter" idx="40" hasCustomPrompt="1"/>
          </p:nvPr>
        </p:nvSpPr>
        <p:spPr>
          <a:xfrm>
            <a:off x="558081" y="2868418"/>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1291015" y="4258955"/>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7" name="Tijdelijke aanduiding voor tekst 37"/>
          <p:cNvSpPr>
            <a:spLocks noGrp="1"/>
          </p:cNvSpPr>
          <p:nvPr>
            <p:ph type="body" sz="quarter" idx="42" hasCustomPrompt="1"/>
          </p:nvPr>
        </p:nvSpPr>
        <p:spPr>
          <a:xfrm>
            <a:off x="1291015" y="4646200"/>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8" name="Tijdelijke aanduiding voor tekst 71"/>
          <p:cNvSpPr>
            <a:spLocks noGrp="1"/>
          </p:cNvSpPr>
          <p:nvPr>
            <p:ph type="body" sz="quarter" idx="43" hasCustomPrompt="1"/>
          </p:nvPr>
        </p:nvSpPr>
        <p:spPr>
          <a:xfrm>
            <a:off x="558081" y="4258955"/>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9" name="Tijdelijke aanduiding voor tekst 35"/>
          <p:cNvSpPr>
            <a:spLocks noGrp="1"/>
          </p:cNvSpPr>
          <p:nvPr>
            <p:ph type="body" sz="quarter" idx="44" hasCustomPrompt="1"/>
          </p:nvPr>
        </p:nvSpPr>
        <p:spPr>
          <a:xfrm>
            <a:off x="5061465" y="1477881"/>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0" name="Tijdelijke aanduiding voor tekst 37"/>
          <p:cNvSpPr>
            <a:spLocks noGrp="1"/>
          </p:cNvSpPr>
          <p:nvPr>
            <p:ph type="body" sz="quarter" idx="45" hasCustomPrompt="1"/>
          </p:nvPr>
        </p:nvSpPr>
        <p:spPr>
          <a:xfrm>
            <a:off x="5061465" y="18928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1" name="Tijdelijke aanduiding voor tekst 71"/>
          <p:cNvSpPr>
            <a:spLocks noGrp="1"/>
          </p:cNvSpPr>
          <p:nvPr>
            <p:ph type="body" sz="quarter" idx="46" hasCustomPrompt="1"/>
          </p:nvPr>
        </p:nvSpPr>
        <p:spPr>
          <a:xfrm>
            <a:off x="4328531" y="1477881"/>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2" name="Tijdelijke aanduiding voor tekst 35"/>
          <p:cNvSpPr>
            <a:spLocks noGrp="1"/>
          </p:cNvSpPr>
          <p:nvPr>
            <p:ph type="body" sz="quarter" idx="47" hasCustomPrompt="1"/>
          </p:nvPr>
        </p:nvSpPr>
        <p:spPr>
          <a:xfrm>
            <a:off x="5061465" y="2868418"/>
            <a:ext cx="2759201" cy="37659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3" name="Tijdelijke aanduiding voor tekst 37"/>
          <p:cNvSpPr>
            <a:spLocks noGrp="1"/>
          </p:cNvSpPr>
          <p:nvPr>
            <p:ph type="body" sz="quarter" idx="48" hasCustomPrompt="1"/>
          </p:nvPr>
        </p:nvSpPr>
        <p:spPr>
          <a:xfrm>
            <a:off x="5061465" y="3255173"/>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4" name="Tijdelijke aanduiding voor tekst 71"/>
          <p:cNvSpPr>
            <a:spLocks noGrp="1"/>
          </p:cNvSpPr>
          <p:nvPr>
            <p:ph type="body" sz="quarter" idx="49" hasCustomPrompt="1"/>
          </p:nvPr>
        </p:nvSpPr>
        <p:spPr>
          <a:xfrm>
            <a:off x="4328531" y="2868418"/>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5" name="Tijdelijke aanduiding voor tekst 35"/>
          <p:cNvSpPr>
            <a:spLocks noGrp="1"/>
          </p:cNvSpPr>
          <p:nvPr>
            <p:ph type="body" sz="quarter" idx="50" hasCustomPrompt="1"/>
          </p:nvPr>
        </p:nvSpPr>
        <p:spPr>
          <a:xfrm>
            <a:off x="5061465" y="4258955"/>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6" name="Tijdelijke aanduiding voor tekst 37"/>
          <p:cNvSpPr>
            <a:spLocks noGrp="1"/>
          </p:cNvSpPr>
          <p:nvPr>
            <p:ph type="body" sz="quarter" idx="51" hasCustomPrompt="1"/>
          </p:nvPr>
        </p:nvSpPr>
        <p:spPr>
          <a:xfrm>
            <a:off x="5061465" y="4646200"/>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7" name="Tijdelijke aanduiding voor tekst 71"/>
          <p:cNvSpPr>
            <a:spLocks noGrp="1"/>
          </p:cNvSpPr>
          <p:nvPr>
            <p:ph type="body" sz="quarter" idx="52" hasCustomPrompt="1"/>
          </p:nvPr>
        </p:nvSpPr>
        <p:spPr>
          <a:xfrm>
            <a:off x="4328531" y="4258955"/>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8" name="Tijdelijke aanduiding voor tekst 35"/>
          <p:cNvSpPr>
            <a:spLocks noGrp="1"/>
          </p:cNvSpPr>
          <p:nvPr>
            <p:ph type="body" sz="quarter" idx="53" hasCustomPrompt="1"/>
          </p:nvPr>
        </p:nvSpPr>
        <p:spPr>
          <a:xfrm>
            <a:off x="8891403" y="1477881"/>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9" name="Tijdelijke aanduiding voor tekst 37"/>
          <p:cNvSpPr>
            <a:spLocks noGrp="1"/>
          </p:cNvSpPr>
          <p:nvPr>
            <p:ph type="body" sz="quarter" idx="54" hasCustomPrompt="1"/>
          </p:nvPr>
        </p:nvSpPr>
        <p:spPr>
          <a:xfrm>
            <a:off x="8891403" y="18928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90" name="Tijdelijke aanduiding voor tekst 71"/>
          <p:cNvSpPr>
            <a:spLocks noGrp="1"/>
          </p:cNvSpPr>
          <p:nvPr>
            <p:ph type="body" sz="quarter" idx="55" hasCustomPrompt="1"/>
          </p:nvPr>
        </p:nvSpPr>
        <p:spPr>
          <a:xfrm>
            <a:off x="8158469" y="1477881"/>
            <a:ext cx="678534"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91" name="Tijdelijke aanduiding voor tekst 35"/>
          <p:cNvSpPr>
            <a:spLocks noGrp="1"/>
          </p:cNvSpPr>
          <p:nvPr>
            <p:ph type="body" sz="quarter" idx="56" hasCustomPrompt="1"/>
          </p:nvPr>
        </p:nvSpPr>
        <p:spPr>
          <a:xfrm>
            <a:off x="8891403" y="2868418"/>
            <a:ext cx="2759201" cy="37659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92" name="Tijdelijke aanduiding voor tekst 37"/>
          <p:cNvSpPr>
            <a:spLocks noGrp="1"/>
          </p:cNvSpPr>
          <p:nvPr>
            <p:ph type="body" sz="quarter" idx="57" hasCustomPrompt="1"/>
          </p:nvPr>
        </p:nvSpPr>
        <p:spPr>
          <a:xfrm>
            <a:off x="8891403" y="3255173"/>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93" name="Tijdelijke aanduiding voor tekst 71"/>
          <p:cNvSpPr>
            <a:spLocks noGrp="1"/>
          </p:cNvSpPr>
          <p:nvPr>
            <p:ph type="body" sz="quarter" idx="58" hasCustomPrompt="1"/>
          </p:nvPr>
        </p:nvSpPr>
        <p:spPr>
          <a:xfrm>
            <a:off x="8158469" y="2868418"/>
            <a:ext cx="678534"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94" name="Tijdelijke aanduiding voor tekst 35"/>
          <p:cNvSpPr>
            <a:spLocks noGrp="1"/>
          </p:cNvSpPr>
          <p:nvPr>
            <p:ph type="body" sz="quarter" idx="59" hasCustomPrompt="1"/>
          </p:nvPr>
        </p:nvSpPr>
        <p:spPr>
          <a:xfrm>
            <a:off x="8891403" y="4258955"/>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95" name="Tijdelijke aanduiding voor tekst 37"/>
          <p:cNvSpPr>
            <a:spLocks noGrp="1"/>
          </p:cNvSpPr>
          <p:nvPr>
            <p:ph type="body" sz="quarter" idx="60" hasCustomPrompt="1"/>
          </p:nvPr>
        </p:nvSpPr>
        <p:spPr>
          <a:xfrm>
            <a:off x="8891403" y="4646200"/>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96" name="Tijdelijke aanduiding voor tekst 71"/>
          <p:cNvSpPr>
            <a:spLocks noGrp="1"/>
          </p:cNvSpPr>
          <p:nvPr>
            <p:ph type="body" sz="quarter" idx="61" hasCustomPrompt="1"/>
          </p:nvPr>
        </p:nvSpPr>
        <p:spPr>
          <a:xfrm>
            <a:off x="8158469" y="4258955"/>
            <a:ext cx="678534"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33" name="Title 1">
            <a:extLst>
              <a:ext uri="{FF2B5EF4-FFF2-40B4-BE49-F238E27FC236}">
                <a16:creationId xmlns:a16="http://schemas.microsoft.com/office/drawing/2014/main" id="{6A8FA3C3-982D-4FF0-AC3B-7CEC4B93EAF9}"/>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accent1"/>
                </a:solidFill>
              </a:defRPr>
            </a:lvl1pPr>
          </a:lstStyle>
          <a:p>
            <a:r>
              <a:rPr lang="en-US" noProof="0"/>
              <a:t>Click to edit </a:t>
            </a:r>
            <a:br>
              <a:rPr lang="en-US" noProof="0"/>
            </a:br>
            <a:r>
              <a:rPr lang="en-US" noProof="0"/>
              <a:t>Master title style</a:t>
            </a:r>
          </a:p>
        </p:txBody>
      </p:sp>
    </p:spTree>
    <p:extLst>
      <p:ext uri="{BB962C8B-B14F-4D97-AF65-F5344CB8AC3E}">
        <p14:creationId xmlns:p14="http://schemas.microsoft.com/office/powerpoint/2010/main" val="257292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498201"/>
            <a:ext cx="3494215" cy="36032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cxnSp>
        <p:nvCxnSpPr>
          <p:cNvPr id="15" name="Straight Connector 59"/>
          <p:cNvCxnSpPr/>
          <p:nvPr userDrawn="1"/>
        </p:nvCxnSpPr>
        <p:spPr>
          <a:xfrm>
            <a:off x="6079237" y="1457561"/>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1896933"/>
            <a:ext cx="3494678"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2489026" y="2888738"/>
            <a:ext cx="3494215"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4" name="Tijdelijke aanduiding voor tekst 37"/>
          <p:cNvSpPr>
            <a:spLocks noGrp="1"/>
          </p:cNvSpPr>
          <p:nvPr>
            <p:ph type="body" sz="quarter" idx="39" hasCustomPrompt="1"/>
          </p:nvPr>
        </p:nvSpPr>
        <p:spPr>
          <a:xfrm>
            <a:off x="2488927" y="3265333"/>
            <a:ext cx="3494678"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5" name="Tijdelijke aanduiding voor tekst 71"/>
          <p:cNvSpPr>
            <a:spLocks noGrp="1"/>
          </p:cNvSpPr>
          <p:nvPr>
            <p:ph type="body" sz="quarter" idx="40" hasCustomPrompt="1"/>
          </p:nvPr>
        </p:nvSpPr>
        <p:spPr>
          <a:xfrm>
            <a:off x="1731788" y="2868418"/>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2489026" y="4279275"/>
            <a:ext cx="3494215"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7" name="Tijdelijke aanduiding voor tekst 37"/>
          <p:cNvSpPr>
            <a:spLocks noGrp="1"/>
          </p:cNvSpPr>
          <p:nvPr>
            <p:ph type="body" sz="quarter" idx="42" hasCustomPrompt="1"/>
          </p:nvPr>
        </p:nvSpPr>
        <p:spPr>
          <a:xfrm>
            <a:off x="2488927" y="4655870"/>
            <a:ext cx="3494678"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8" name="Tijdelijke aanduiding voor tekst 71"/>
          <p:cNvSpPr>
            <a:spLocks noGrp="1"/>
          </p:cNvSpPr>
          <p:nvPr>
            <p:ph type="body" sz="quarter" idx="43" hasCustomPrompt="1"/>
          </p:nvPr>
        </p:nvSpPr>
        <p:spPr>
          <a:xfrm>
            <a:off x="1731788" y="4258955"/>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9" name="Tijdelijke aanduiding voor tekst 35"/>
          <p:cNvSpPr>
            <a:spLocks noGrp="1"/>
          </p:cNvSpPr>
          <p:nvPr>
            <p:ph type="body" sz="quarter" idx="44" hasCustomPrompt="1"/>
          </p:nvPr>
        </p:nvSpPr>
        <p:spPr>
          <a:xfrm>
            <a:off x="6994489" y="1498201"/>
            <a:ext cx="3724311" cy="360322"/>
          </a:xfrm>
          <a:prstGeom prst="rect">
            <a:avLst/>
          </a:prstGeom>
        </p:spPr>
        <p:txBody>
          <a:bodyPr lIns="0" tIns="0" rIns="0" bIns="0"/>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0" name="Tijdelijke aanduiding voor tekst 37"/>
          <p:cNvSpPr>
            <a:spLocks noGrp="1"/>
          </p:cNvSpPr>
          <p:nvPr>
            <p:ph type="body" sz="quarter" idx="45" hasCustomPrompt="1"/>
          </p:nvPr>
        </p:nvSpPr>
        <p:spPr>
          <a:xfrm>
            <a:off x="6994489" y="1896933"/>
            <a:ext cx="3724804"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1" name="Tijdelijke aanduiding voor tekst 71"/>
          <p:cNvSpPr>
            <a:spLocks noGrp="1"/>
          </p:cNvSpPr>
          <p:nvPr>
            <p:ph type="body" sz="quarter" idx="46" hasCustomPrompt="1"/>
          </p:nvPr>
        </p:nvSpPr>
        <p:spPr>
          <a:xfrm>
            <a:off x="6261555" y="1477881"/>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2" name="Tijdelijke aanduiding voor tekst 35"/>
          <p:cNvSpPr>
            <a:spLocks noGrp="1"/>
          </p:cNvSpPr>
          <p:nvPr>
            <p:ph type="body" sz="quarter" idx="47" hasCustomPrompt="1"/>
          </p:nvPr>
        </p:nvSpPr>
        <p:spPr>
          <a:xfrm>
            <a:off x="6994489" y="2888738"/>
            <a:ext cx="3724311"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3" name="Tijdelijke aanduiding voor tekst 37"/>
          <p:cNvSpPr>
            <a:spLocks noGrp="1"/>
          </p:cNvSpPr>
          <p:nvPr>
            <p:ph type="body" sz="quarter" idx="48" hasCustomPrompt="1"/>
          </p:nvPr>
        </p:nvSpPr>
        <p:spPr>
          <a:xfrm>
            <a:off x="6994489" y="3265333"/>
            <a:ext cx="3724804"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4" name="Tijdelijke aanduiding voor tekst 71"/>
          <p:cNvSpPr>
            <a:spLocks noGrp="1"/>
          </p:cNvSpPr>
          <p:nvPr>
            <p:ph type="body" sz="quarter" idx="49" hasCustomPrompt="1"/>
          </p:nvPr>
        </p:nvSpPr>
        <p:spPr>
          <a:xfrm>
            <a:off x="6261555" y="2868418"/>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5" name="Tijdelijke aanduiding voor tekst 35"/>
          <p:cNvSpPr>
            <a:spLocks noGrp="1"/>
          </p:cNvSpPr>
          <p:nvPr>
            <p:ph type="body" sz="quarter" idx="50" hasCustomPrompt="1"/>
          </p:nvPr>
        </p:nvSpPr>
        <p:spPr>
          <a:xfrm>
            <a:off x="6994489" y="4279275"/>
            <a:ext cx="3724311"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6" name="Tijdelijke aanduiding voor tekst 37"/>
          <p:cNvSpPr>
            <a:spLocks noGrp="1"/>
          </p:cNvSpPr>
          <p:nvPr>
            <p:ph type="body" sz="quarter" idx="51" hasCustomPrompt="1"/>
          </p:nvPr>
        </p:nvSpPr>
        <p:spPr>
          <a:xfrm>
            <a:off x="6994489" y="4655870"/>
            <a:ext cx="3724804"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7" name="Tijdelijke aanduiding voor tekst 71"/>
          <p:cNvSpPr>
            <a:spLocks noGrp="1"/>
          </p:cNvSpPr>
          <p:nvPr>
            <p:ph type="body" sz="quarter" idx="52" hasCustomPrompt="1"/>
          </p:nvPr>
        </p:nvSpPr>
        <p:spPr>
          <a:xfrm>
            <a:off x="6261555" y="4258955"/>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24" name="Title 1">
            <a:extLst>
              <a:ext uri="{FF2B5EF4-FFF2-40B4-BE49-F238E27FC236}">
                <a16:creationId xmlns:a16="http://schemas.microsoft.com/office/drawing/2014/main" id="{4283E8B5-1FFF-4454-AAA0-2B6D46348C17}"/>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accent1"/>
                </a:solidFill>
              </a:defRPr>
            </a:lvl1pPr>
          </a:lstStyle>
          <a:p>
            <a:r>
              <a:rPr lang="en-US" noProof="0"/>
              <a:t>Click to edit </a:t>
            </a:r>
            <a:br>
              <a:rPr lang="en-US" noProof="0"/>
            </a:br>
            <a:r>
              <a:rPr lang="en-US" noProof="0"/>
              <a:t>Master title style</a:t>
            </a:r>
          </a:p>
        </p:txBody>
      </p:sp>
    </p:spTree>
    <p:extLst>
      <p:ext uri="{BB962C8B-B14F-4D97-AF65-F5344CB8AC3E}">
        <p14:creationId xmlns:p14="http://schemas.microsoft.com/office/powerpoint/2010/main" val="2249460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498201"/>
            <a:ext cx="6364794" cy="36032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38" name="Tijdelijke aanduiding voor tekst 37"/>
          <p:cNvSpPr>
            <a:spLocks noGrp="1"/>
          </p:cNvSpPr>
          <p:nvPr>
            <p:ph type="body" sz="quarter" idx="12" hasCustomPrompt="1"/>
          </p:nvPr>
        </p:nvSpPr>
        <p:spPr>
          <a:xfrm>
            <a:off x="2488926" y="1877251"/>
            <a:ext cx="6365637"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2489026" y="2888738"/>
            <a:ext cx="6364794"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4" name="Tijdelijke aanduiding voor tekst 37"/>
          <p:cNvSpPr>
            <a:spLocks noGrp="1"/>
          </p:cNvSpPr>
          <p:nvPr>
            <p:ph type="body" sz="quarter" idx="39" hasCustomPrompt="1"/>
          </p:nvPr>
        </p:nvSpPr>
        <p:spPr>
          <a:xfrm>
            <a:off x="2488926" y="3267788"/>
            <a:ext cx="6365637"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5" name="Tijdelijke aanduiding voor tekst 71"/>
          <p:cNvSpPr>
            <a:spLocks noGrp="1"/>
          </p:cNvSpPr>
          <p:nvPr>
            <p:ph type="body" sz="quarter" idx="40" hasCustomPrompt="1"/>
          </p:nvPr>
        </p:nvSpPr>
        <p:spPr>
          <a:xfrm>
            <a:off x="1731788" y="2868418"/>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2489026" y="4279275"/>
            <a:ext cx="6364794"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7" name="Tijdelijke aanduiding voor tekst 37"/>
          <p:cNvSpPr>
            <a:spLocks noGrp="1"/>
          </p:cNvSpPr>
          <p:nvPr>
            <p:ph type="body" sz="quarter" idx="42" hasCustomPrompt="1"/>
          </p:nvPr>
        </p:nvSpPr>
        <p:spPr>
          <a:xfrm>
            <a:off x="2488926" y="4658325"/>
            <a:ext cx="6365637"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8" name="Tijdelijke aanduiding voor tekst 71"/>
          <p:cNvSpPr>
            <a:spLocks noGrp="1"/>
          </p:cNvSpPr>
          <p:nvPr>
            <p:ph type="body" sz="quarter" idx="43" hasCustomPrompt="1"/>
          </p:nvPr>
        </p:nvSpPr>
        <p:spPr>
          <a:xfrm>
            <a:off x="1731788" y="4258955"/>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14" name="Title 1">
            <a:extLst>
              <a:ext uri="{FF2B5EF4-FFF2-40B4-BE49-F238E27FC236}">
                <a16:creationId xmlns:a16="http://schemas.microsoft.com/office/drawing/2014/main" id="{74D8B13C-D7AD-40E5-AB16-80CE14088C6E}"/>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accent1"/>
                </a:solidFill>
              </a:defRPr>
            </a:lvl1pPr>
          </a:lstStyle>
          <a:p>
            <a:r>
              <a:rPr lang="en-US" noProof="0"/>
              <a:t>Click to edit </a:t>
            </a:r>
            <a:br>
              <a:rPr lang="en-US" noProof="0"/>
            </a:br>
            <a:r>
              <a:rPr lang="en-US" noProof="0"/>
              <a:t>Master title style</a:t>
            </a:r>
          </a:p>
        </p:txBody>
      </p:sp>
    </p:spTree>
    <p:extLst>
      <p:ext uri="{BB962C8B-B14F-4D97-AF65-F5344CB8AC3E}">
        <p14:creationId xmlns:p14="http://schemas.microsoft.com/office/powerpoint/2010/main" val="233724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olding slide">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90C0BC2C-E703-407C-8C07-F08C1589AEE4}"/>
              </a:ext>
            </a:extLst>
          </p:cNvPr>
          <p:cNvGrpSpPr/>
          <p:nvPr userDrawn="1"/>
        </p:nvGrpSpPr>
        <p:grpSpPr>
          <a:xfrm>
            <a:off x="2895600" y="2275777"/>
            <a:ext cx="6400800" cy="2306446"/>
            <a:chOff x="2895600" y="2275777"/>
            <a:chExt cx="6400800" cy="2306446"/>
          </a:xfrm>
        </p:grpSpPr>
        <p:sp>
          <p:nvSpPr>
            <p:cNvPr id="21" name="Vrije vorm: vorm 20">
              <a:extLst>
                <a:ext uri="{FF2B5EF4-FFF2-40B4-BE49-F238E27FC236}">
                  <a16:creationId xmlns:a16="http://schemas.microsoft.com/office/drawing/2014/main" id="{CA9E3DDA-395C-4DDD-B1D8-656220373CB1}"/>
                </a:ext>
              </a:extLst>
            </p:cNvPr>
            <p:cNvSpPr>
              <a:spLocks/>
            </p:cNvSpPr>
            <p:nvPr userDrawn="1"/>
          </p:nvSpPr>
          <p:spPr bwMode="auto">
            <a:xfrm>
              <a:off x="2895600" y="2275777"/>
              <a:ext cx="2087583" cy="2306446"/>
            </a:xfrm>
            <a:custGeom>
              <a:avLst/>
              <a:gdLst>
                <a:gd name="connsiteX0" fmla="*/ 1712156 w 2087583"/>
                <a:gd name="connsiteY0" fmla="*/ 643111 h 2306446"/>
                <a:gd name="connsiteX1" fmla="*/ 1888927 w 2087583"/>
                <a:gd name="connsiteY1" fmla="*/ 1190261 h 2306446"/>
                <a:gd name="connsiteX2" fmla="*/ 1540435 w 2087583"/>
                <a:gd name="connsiteY2" fmla="*/ 1183527 h 2306446"/>
                <a:gd name="connsiteX3" fmla="*/ 1725623 w 2087583"/>
                <a:gd name="connsiteY3" fmla="*/ 0 h 2306446"/>
                <a:gd name="connsiteX4" fmla="*/ 1841787 w 2087583"/>
                <a:gd name="connsiteY4" fmla="*/ 348492 h 2306446"/>
                <a:gd name="connsiteX5" fmla="*/ 1587573 w 2087583"/>
                <a:gd name="connsiteY5" fmla="*/ 348492 h 2306446"/>
                <a:gd name="connsiteX6" fmla="*/ 1176791 w 2087583"/>
                <a:gd name="connsiteY6" fmla="*/ 1580842 h 2306446"/>
                <a:gd name="connsiteX7" fmla="*/ 1424271 w 2087583"/>
                <a:gd name="connsiteY7" fmla="*/ 1580842 h 2306446"/>
                <a:gd name="connsiteX8" fmla="*/ 1478144 w 2087583"/>
                <a:gd name="connsiteY8" fmla="*/ 1388918 h 2306446"/>
                <a:gd name="connsiteX9" fmla="*/ 1957951 w 2087583"/>
                <a:gd name="connsiteY9" fmla="*/ 1388918 h 2306446"/>
                <a:gd name="connsiteX10" fmla="*/ 2087583 w 2087583"/>
                <a:gd name="connsiteY10" fmla="*/ 1806436 h 2306446"/>
                <a:gd name="connsiteX11" fmla="*/ 569035 w 2087583"/>
                <a:gd name="connsiteY11" fmla="*/ 2306446 h 2306446"/>
                <a:gd name="connsiteX12" fmla="*/ 0 w 2087583"/>
                <a:gd name="connsiteY12" fmla="*/ 567352 h 230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7583" h="2306446">
                  <a:moveTo>
                    <a:pt x="1712156" y="643111"/>
                  </a:moveTo>
                  <a:lnTo>
                    <a:pt x="1888927" y="1190261"/>
                  </a:lnTo>
                  <a:lnTo>
                    <a:pt x="1540435" y="1183527"/>
                  </a:lnTo>
                  <a:close/>
                  <a:moveTo>
                    <a:pt x="1725623" y="0"/>
                  </a:moveTo>
                  <a:lnTo>
                    <a:pt x="1841787" y="348492"/>
                  </a:lnTo>
                  <a:lnTo>
                    <a:pt x="1587573" y="348492"/>
                  </a:lnTo>
                  <a:lnTo>
                    <a:pt x="1176791" y="1580842"/>
                  </a:lnTo>
                  <a:lnTo>
                    <a:pt x="1424271" y="1580842"/>
                  </a:lnTo>
                  <a:lnTo>
                    <a:pt x="1478144" y="1388918"/>
                  </a:lnTo>
                  <a:lnTo>
                    <a:pt x="1957951" y="1388918"/>
                  </a:lnTo>
                  <a:lnTo>
                    <a:pt x="2087583" y="1806436"/>
                  </a:lnTo>
                  <a:lnTo>
                    <a:pt x="569035" y="2306446"/>
                  </a:lnTo>
                  <a:lnTo>
                    <a:pt x="0" y="56735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nl-NL"/>
            </a:p>
          </p:txBody>
        </p:sp>
        <p:sp>
          <p:nvSpPr>
            <p:cNvPr id="16" name="Freeform 7">
              <a:extLst>
                <a:ext uri="{FF2B5EF4-FFF2-40B4-BE49-F238E27FC236}">
                  <a16:creationId xmlns:a16="http://schemas.microsoft.com/office/drawing/2014/main" id="{22CB442A-9BFA-4C2F-8B09-4981059B3B0B}"/>
                </a:ext>
              </a:extLst>
            </p:cNvPr>
            <p:cNvSpPr>
              <a:spLocks/>
            </p:cNvSpPr>
            <p:nvPr userDrawn="1"/>
          </p:nvSpPr>
          <p:spPr bwMode="auto">
            <a:xfrm>
              <a:off x="4936044" y="2639421"/>
              <a:ext cx="888906" cy="1210464"/>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7" name="Freeform 8">
              <a:extLst>
                <a:ext uri="{FF2B5EF4-FFF2-40B4-BE49-F238E27FC236}">
                  <a16:creationId xmlns:a16="http://schemas.microsoft.com/office/drawing/2014/main" id="{2076A068-17F1-4D27-957C-9CFB21F4777C}"/>
                </a:ext>
              </a:extLst>
            </p:cNvPr>
            <p:cNvSpPr>
              <a:spLocks/>
            </p:cNvSpPr>
            <p:nvPr userDrawn="1"/>
          </p:nvSpPr>
          <p:spPr bwMode="auto">
            <a:xfrm>
              <a:off x="8345202" y="2639421"/>
              <a:ext cx="951198" cy="1203730"/>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8" name="Freeform 9">
              <a:extLst>
                <a:ext uri="{FF2B5EF4-FFF2-40B4-BE49-F238E27FC236}">
                  <a16:creationId xmlns:a16="http://schemas.microsoft.com/office/drawing/2014/main" id="{B41E182A-3121-41A6-8205-38D2B47289F4}"/>
                </a:ext>
              </a:extLst>
            </p:cNvPr>
            <p:cNvSpPr>
              <a:spLocks/>
            </p:cNvSpPr>
            <p:nvPr userDrawn="1"/>
          </p:nvSpPr>
          <p:spPr bwMode="auto">
            <a:xfrm>
              <a:off x="5840103" y="2604067"/>
              <a:ext cx="1067361" cy="1272754"/>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9" name="Freeform 10">
              <a:extLst>
                <a:ext uri="{FF2B5EF4-FFF2-40B4-BE49-F238E27FC236}">
                  <a16:creationId xmlns:a16="http://schemas.microsoft.com/office/drawing/2014/main" id="{789A2F69-5ED1-498D-A0B0-57D4FA4EF769}"/>
                </a:ext>
              </a:extLst>
            </p:cNvPr>
            <p:cNvSpPr>
              <a:spLocks/>
            </p:cNvSpPr>
            <p:nvPr userDrawn="1"/>
          </p:nvSpPr>
          <p:spPr bwMode="auto">
            <a:xfrm>
              <a:off x="7050564" y="2597333"/>
              <a:ext cx="1143121" cy="1272754"/>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0" name="Freeform 11">
              <a:extLst>
                <a:ext uri="{FF2B5EF4-FFF2-40B4-BE49-F238E27FC236}">
                  <a16:creationId xmlns:a16="http://schemas.microsoft.com/office/drawing/2014/main" id="{5A13FF52-B406-4569-A479-67CEFA7F7939}"/>
                </a:ext>
              </a:extLst>
            </p:cNvPr>
            <p:cNvSpPr>
              <a:spLocks/>
            </p:cNvSpPr>
            <p:nvPr userDrawn="1"/>
          </p:nvSpPr>
          <p:spPr bwMode="auto">
            <a:xfrm>
              <a:off x="5237397" y="4151237"/>
              <a:ext cx="3319930" cy="122899"/>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Tree>
    <p:extLst>
      <p:ext uri="{BB962C8B-B14F-4D97-AF65-F5344CB8AC3E}">
        <p14:creationId xmlns:p14="http://schemas.microsoft.com/office/powerpoint/2010/main" val="311789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59" name="Vrije vorm: vorm 58">
            <a:extLst>
              <a:ext uri="{FF2B5EF4-FFF2-40B4-BE49-F238E27FC236}">
                <a16:creationId xmlns:a16="http://schemas.microsoft.com/office/drawing/2014/main" id="{CF061A2A-C969-47FB-87D7-2FEBCBE23B6B}"/>
              </a:ext>
            </a:extLst>
          </p:cNvPr>
          <p:cNvSpPr/>
          <p:nvPr userDrawn="1"/>
        </p:nvSpPr>
        <p:spPr>
          <a:xfrm>
            <a:off x="4125816" y="6186070"/>
            <a:ext cx="7292723" cy="671930"/>
          </a:xfrm>
          <a:custGeom>
            <a:avLst/>
            <a:gdLst>
              <a:gd name="connsiteX0" fmla="*/ 3272 w 7292723"/>
              <a:gd name="connsiteY0" fmla="*/ 663481 h 671930"/>
              <a:gd name="connsiteX1" fmla="*/ 3272 w 7292723"/>
              <a:gd name="connsiteY1" fmla="*/ 671930 h 671930"/>
              <a:gd name="connsiteX2" fmla="*/ 382 w 7292723"/>
              <a:gd name="connsiteY2" fmla="*/ 671930 h 671930"/>
              <a:gd name="connsiteX3" fmla="*/ 292308 w 7292723"/>
              <a:gd name="connsiteY3" fmla="*/ 0 h 671930"/>
              <a:gd name="connsiteX4" fmla="*/ 7292723 w 7292723"/>
              <a:gd name="connsiteY4" fmla="*/ 0 h 671930"/>
              <a:gd name="connsiteX5" fmla="*/ 7062885 w 7292723"/>
              <a:gd name="connsiteY5" fmla="*/ 671930 h 671930"/>
              <a:gd name="connsiteX6" fmla="*/ 62470 w 7292723"/>
              <a:gd name="connsiteY6" fmla="*/ 671930 h 671930"/>
              <a:gd name="connsiteX7" fmla="*/ 0 w 7292723"/>
              <a:gd name="connsiteY7" fmla="*/ 0 h 671930"/>
              <a:gd name="connsiteX8" fmla="*/ 382 w 7292723"/>
              <a:gd name="connsiteY8" fmla="*/ 0 h 671930"/>
              <a:gd name="connsiteX9" fmla="*/ 382 w 7292723"/>
              <a:gd name="connsiteY9" fmla="*/ 671930 h 671930"/>
              <a:gd name="connsiteX10" fmla="*/ 0 w 7292723"/>
              <a:gd name="connsiteY10" fmla="*/ 671930 h 67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92723" h="671930">
                <a:moveTo>
                  <a:pt x="3272" y="663481"/>
                </a:moveTo>
                <a:lnTo>
                  <a:pt x="3272" y="671930"/>
                </a:lnTo>
                <a:lnTo>
                  <a:pt x="382" y="671930"/>
                </a:lnTo>
                <a:close/>
                <a:moveTo>
                  <a:pt x="292308" y="0"/>
                </a:moveTo>
                <a:lnTo>
                  <a:pt x="7292723" y="0"/>
                </a:lnTo>
                <a:lnTo>
                  <a:pt x="7062885" y="671930"/>
                </a:lnTo>
                <a:lnTo>
                  <a:pt x="62470" y="671930"/>
                </a:lnTo>
                <a:close/>
                <a:moveTo>
                  <a:pt x="0" y="0"/>
                </a:moveTo>
                <a:lnTo>
                  <a:pt x="382" y="0"/>
                </a:lnTo>
                <a:lnTo>
                  <a:pt x="382" y="671930"/>
                </a:lnTo>
                <a:lnTo>
                  <a:pt x="0" y="6719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88817" y="1554899"/>
            <a:ext cx="4641551" cy="1564710"/>
          </a:xfrm>
          <a:prstGeom prst="rect">
            <a:avLst/>
          </a:prstGeom>
        </p:spPr>
        <p:txBody>
          <a:bodyPr lIns="0" tIns="0" rIns="0" bIns="0" anchor="ctr"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5241130"/>
            <a:ext cx="3708862" cy="304800"/>
          </a:xfrm>
          <a:prstGeom prst="rect">
            <a:avLst/>
          </a:prstGeom>
        </p:spPr>
        <p:txBody>
          <a:bodyPr lIns="0" anchor="ctr"/>
          <a:lstStyle>
            <a:lvl1pPr marL="0" indent="0">
              <a:buNone/>
              <a:defRPr sz="1200" b="0" i="0">
                <a:solidFill>
                  <a:schemeClr val="tx1">
                    <a:lumMod val="75000"/>
                    <a:lumOff val="25000"/>
                  </a:schemeClr>
                </a:solidFill>
              </a:defRPr>
            </a:lvl1pPr>
            <a:lvl2pPr marL="457200" indent="0">
              <a:buNone/>
              <a:defRPr sz="800" b="1" i="0">
                <a:solidFill>
                  <a:schemeClr val="bg1"/>
                </a:solidFill>
              </a:defRPr>
            </a:lvl2pPr>
            <a:lvl3pPr marL="914400" indent="0">
              <a:buNone/>
              <a:defRPr sz="800" i="1"/>
            </a:lvl3pPr>
            <a:lvl4pPr marL="1371600" indent="0">
              <a:buNone/>
              <a:defRPr sz="800" i="1"/>
            </a:lvl4pPr>
            <a:lvl5pPr marL="1828800" indent="0">
              <a:buNone/>
              <a:defRPr sz="800" i="1"/>
            </a:lvl5pPr>
          </a:lstStyle>
          <a:p>
            <a:pPr lvl="0"/>
            <a:r>
              <a:rPr lang="en-US" noProof="0"/>
              <a:t>City, Country, Date, Year</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7" y="3661068"/>
            <a:ext cx="4641551" cy="325447"/>
          </a:xfrm>
          <a:prstGeom prst="rect">
            <a:avLst/>
          </a:prstGeom>
        </p:spPr>
        <p:txBody>
          <a:bodyPr lIns="0" tIns="0" rIns="0" bIns="0" anchor="ctr" anchorCtr="0"/>
          <a:lstStyle>
            <a:lvl1pPr marL="0" indent="0">
              <a:buNone/>
              <a:defRPr sz="1600" b="1">
                <a:solidFill>
                  <a:schemeClr val="accent1"/>
                </a:solidFill>
              </a:defRPr>
            </a:lvl1pPr>
            <a:lvl2pPr marL="0" indent="0">
              <a:buNone/>
              <a:defRPr sz="1400">
                <a:solidFill>
                  <a:schemeClr val="bg2"/>
                </a:solidFill>
              </a:defRPr>
            </a:lvl2pPr>
          </a:lstStyle>
          <a:p>
            <a:pPr lvl="0"/>
            <a:r>
              <a:rPr lang="en-US" noProof="0"/>
              <a:t>Put department here</a:t>
            </a:r>
          </a:p>
        </p:txBody>
      </p:sp>
      <p:sp>
        <p:nvSpPr>
          <p:cNvPr id="61" name="Tijdelijke aanduiding voor afbeelding 60">
            <a:extLst>
              <a:ext uri="{FF2B5EF4-FFF2-40B4-BE49-F238E27FC236}">
                <a16:creationId xmlns:a16="http://schemas.microsoft.com/office/drawing/2014/main" id="{8F4F692A-378F-44E7-A1C8-941AAE1217A2}"/>
              </a:ext>
            </a:extLst>
          </p:cNvPr>
          <p:cNvSpPr>
            <a:spLocks noGrp="1"/>
          </p:cNvSpPr>
          <p:nvPr>
            <p:ph type="pic" sz="quarter" idx="12" hasCustomPrompt="1"/>
          </p:nvPr>
        </p:nvSpPr>
        <p:spPr>
          <a:xfrm>
            <a:off x="4418018" y="-6312"/>
            <a:ext cx="7771920" cy="6225314"/>
          </a:xfrm>
          <a:custGeom>
            <a:avLst/>
            <a:gdLst>
              <a:gd name="connsiteX0" fmla="*/ 2118250 w 7771920"/>
              <a:gd name="connsiteY0" fmla="*/ 0 h 6225314"/>
              <a:gd name="connsiteX1" fmla="*/ 7768034 w 7771920"/>
              <a:gd name="connsiteY1" fmla="*/ 1151 h 6225314"/>
              <a:gd name="connsiteX2" fmla="*/ 7771920 w 7771920"/>
              <a:gd name="connsiteY2" fmla="*/ 3349434 h 6225314"/>
              <a:gd name="connsiteX3" fmla="*/ 7771478 w 7771920"/>
              <a:gd name="connsiteY3" fmla="*/ 3938492 h 6225314"/>
              <a:gd name="connsiteX4" fmla="*/ 6989256 w 7771920"/>
              <a:gd name="connsiteY4" fmla="*/ 6225314 h 6225314"/>
              <a:gd name="connsiteX5" fmla="*/ 0 w 7771920"/>
              <a:gd name="connsiteY5" fmla="*/ 6192693 h 6225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1920" h="6225314">
                <a:moveTo>
                  <a:pt x="2118250" y="0"/>
                </a:moveTo>
                <a:lnTo>
                  <a:pt x="7768034" y="1151"/>
                </a:lnTo>
                <a:cubicBezTo>
                  <a:pt x="7764526" y="1126594"/>
                  <a:pt x="7770624" y="2233340"/>
                  <a:pt x="7771920" y="3349434"/>
                </a:cubicBezTo>
                <a:lnTo>
                  <a:pt x="7771478" y="3938492"/>
                </a:lnTo>
                <a:lnTo>
                  <a:pt x="6989256" y="6225314"/>
                </a:lnTo>
                <a:lnTo>
                  <a:pt x="0" y="619269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Font typeface="Arial" panose="020B0604020202020204" pitchFamily="34" charset="0"/>
              <a:buNone/>
              <a:defRPr lang="nl-NL" sz="1600"/>
            </a:lvl1pPr>
          </a:lstStyle>
          <a:p>
            <a:pPr marL="228600" lvl="0" indent="-228600" algn="ctr"/>
            <a:r>
              <a:rPr lang="en-US" noProof="0"/>
              <a:t>Click icon to insert an image</a:t>
            </a:r>
          </a:p>
        </p:txBody>
      </p:sp>
      <p:pic>
        <p:nvPicPr>
          <p:cNvPr id="32" name="Picture 31" descr="A close up of a logo&#10;&#10;Description automatically generated">
            <a:extLst>
              <a:ext uri="{FF2B5EF4-FFF2-40B4-BE49-F238E27FC236}">
                <a16:creationId xmlns:a16="http://schemas.microsoft.com/office/drawing/2014/main" id="{1493A41B-8A8D-ED4A-A236-E590C2AA41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5" y="-8305"/>
            <a:ext cx="2321311" cy="1332543"/>
          </a:xfrm>
          <a:prstGeom prst="rect">
            <a:avLst/>
          </a:prstGeom>
        </p:spPr>
      </p:pic>
      <p:sp>
        <p:nvSpPr>
          <p:cNvPr id="13" name="Tijdelijke aanduiding voor tekst 12">
            <a:extLst>
              <a:ext uri="{FF2B5EF4-FFF2-40B4-BE49-F238E27FC236}">
                <a16:creationId xmlns:a16="http://schemas.microsoft.com/office/drawing/2014/main" id="{D1D1B9CC-7A37-4B19-AEAE-B3F3C09EB1E4}"/>
              </a:ext>
            </a:extLst>
          </p:cNvPr>
          <p:cNvSpPr>
            <a:spLocks noGrp="1"/>
          </p:cNvSpPr>
          <p:nvPr>
            <p:ph type="body" sz="quarter" idx="13" hasCustomPrompt="1"/>
          </p:nvPr>
        </p:nvSpPr>
        <p:spPr>
          <a:xfrm>
            <a:off x="588963" y="4182184"/>
            <a:ext cx="4397375" cy="288925"/>
          </a:xfrm>
          <a:prstGeom prst="rect">
            <a:avLst/>
          </a:prstGeom>
        </p:spPr>
        <p:txBody>
          <a:bodyPr lIns="0" tIns="0" rIns="0" bIns="0" anchor="ctr" anchorCtr="0"/>
          <a:lstStyle>
            <a:lvl1pPr marL="0" indent="0">
              <a:buNone/>
              <a:defRPr lang="nl-NL" sz="1600" b="1" kern="1200" dirty="0">
                <a:solidFill>
                  <a:schemeClr val="tx2"/>
                </a:solidFill>
                <a:latin typeface="+mn-lt"/>
                <a:ea typeface="+mn-ea"/>
                <a:cs typeface="+mn-cs"/>
              </a:defRPr>
            </a:lvl1pPr>
          </a:lstStyle>
          <a:p>
            <a:pPr lvl="0"/>
            <a:r>
              <a:rPr lang="en-US" noProof="0"/>
              <a:t>Name Speaker</a:t>
            </a:r>
          </a:p>
        </p:txBody>
      </p:sp>
      <p:sp>
        <p:nvSpPr>
          <p:cNvPr id="44" name="Tijdelijke aanduiding voor tekst 12">
            <a:extLst>
              <a:ext uri="{FF2B5EF4-FFF2-40B4-BE49-F238E27FC236}">
                <a16:creationId xmlns:a16="http://schemas.microsoft.com/office/drawing/2014/main" id="{610F4E30-8C76-49D0-906F-40210A812200}"/>
              </a:ext>
            </a:extLst>
          </p:cNvPr>
          <p:cNvSpPr>
            <a:spLocks noGrp="1"/>
          </p:cNvSpPr>
          <p:nvPr>
            <p:ph type="body" sz="quarter" idx="14" hasCustomPrompt="1"/>
          </p:nvPr>
        </p:nvSpPr>
        <p:spPr>
          <a:xfrm>
            <a:off x="588963" y="4511749"/>
            <a:ext cx="4397375" cy="288925"/>
          </a:xfrm>
          <a:prstGeom prst="rect">
            <a:avLst/>
          </a:prstGeom>
        </p:spPr>
        <p:txBody>
          <a:bodyPr lIns="0" tIns="0" rIns="0" bIns="0" anchor="ctr" anchorCtr="0"/>
          <a:lstStyle>
            <a:lvl1pPr marL="0" indent="0">
              <a:buNone/>
              <a:defRPr lang="nl-NL" sz="1600" b="0" kern="1200" dirty="0">
                <a:solidFill>
                  <a:schemeClr val="bg2"/>
                </a:solidFill>
                <a:latin typeface="+mn-lt"/>
                <a:ea typeface="+mn-ea"/>
                <a:cs typeface="+mn-cs"/>
              </a:defRPr>
            </a:lvl1pPr>
          </a:lstStyle>
          <a:p>
            <a:pPr lvl="0"/>
            <a:r>
              <a:rPr lang="en-US" noProof="0"/>
              <a:t>Job Title</a:t>
            </a:r>
          </a:p>
        </p:txBody>
      </p:sp>
      <p:sp>
        <p:nvSpPr>
          <p:cNvPr id="57" name="Rectangle 3">
            <a:extLst>
              <a:ext uri="{FF2B5EF4-FFF2-40B4-BE49-F238E27FC236}">
                <a16:creationId xmlns:a16="http://schemas.microsoft.com/office/drawing/2014/main" id="{FFB26F9B-BD1C-4057-BB96-BCEFD94FFDCC}"/>
              </a:ext>
            </a:extLst>
          </p:cNvPr>
          <p:cNvSpPr/>
          <p:nvPr userDrawn="1"/>
        </p:nvSpPr>
        <p:spPr>
          <a:xfrm>
            <a:off x="11188701" y="3887729"/>
            <a:ext cx="1016000" cy="2970271"/>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2" name="TextBox 13">
            <a:extLst>
              <a:ext uri="{FF2B5EF4-FFF2-40B4-BE49-F238E27FC236}">
                <a16:creationId xmlns:a16="http://schemas.microsoft.com/office/drawing/2014/main" id="{B1619D70-3443-43B9-9764-D3495C2811C0}"/>
              </a:ext>
            </a:extLst>
          </p:cNvPr>
          <p:cNvSpPr txBox="1"/>
          <p:nvPr userDrawn="1"/>
        </p:nvSpPr>
        <p:spPr>
          <a:xfrm>
            <a:off x="6527800" y="6219002"/>
            <a:ext cx="4626377" cy="638998"/>
          </a:xfrm>
          <a:prstGeom prst="rect">
            <a:avLst/>
          </a:prstGeom>
          <a:noFill/>
        </p:spPr>
        <p:txBody>
          <a:bodyPr wrap="none" lIns="0" rIns="0" rtlCol="0" anchor="ctr" anchorCtr="0">
            <a:noAutofit/>
          </a:bodyPr>
          <a:lstStyle/>
          <a:p>
            <a:pPr>
              <a:lnSpc>
                <a:spcPts val="2500"/>
              </a:lnSpc>
            </a:pPr>
            <a:r>
              <a:rPr lang="en-US" sz="1200" b="1" i="1" noProof="0">
                <a:solidFill>
                  <a:schemeClr val="bg1"/>
                </a:solidFill>
                <a:latin typeface="Arial" panose="020B0604020202020204" pitchFamily="34" charset="0"/>
                <a:cs typeface="Arial" panose="020B0604020202020204" pitchFamily="34" charset="0"/>
              </a:rPr>
              <a:t>Helping people achieve a lifetime of financial security</a:t>
            </a:r>
          </a:p>
        </p:txBody>
      </p:sp>
    </p:spTree>
    <p:extLst>
      <p:ext uri="{BB962C8B-B14F-4D97-AF65-F5344CB8AC3E}">
        <p14:creationId xmlns:p14="http://schemas.microsoft.com/office/powerpoint/2010/main" val="2316324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4112">
          <p15:clr>
            <a:srgbClr val="FBAE40"/>
          </p15:clr>
        </p15:guide>
        <p15:guide id="3" pos="2593">
          <p15:clr>
            <a:srgbClr val="FBAE40"/>
          </p15:clr>
        </p15:guide>
        <p15:guide id="4" orient="horz" pos="406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Tree>
    <p:extLst>
      <p:ext uri="{BB962C8B-B14F-4D97-AF65-F5344CB8AC3E}">
        <p14:creationId xmlns:p14="http://schemas.microsoft.com/office/powerpoint/2010/main" val="208996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8" name="TextBox 7">
            <a:extLst>
              <a:ext uri="{FF2B5EF4-FFF2-40B4-BE49-F238E27FC236}">
                <a16:creationId xmlns:a16="http://schemas.microsoft.com/office/drawing/2014/main" id="{0DFD0E95-87C7-4D1A-A97B-7E16FC2F9623}"/>
              </a:ext>
            </a:extLst>
          </p:cNvPr>
          <p:cNvSpPr txBox="1"/>
          <p:nvPr userDrawn="1"/>
        </p:nvSpPr>
        <p:spPr>
          <a:xfrm rot="19892733">
            <a:off x="3560516" y="2540272"/>
            <a:ext cx="4876800" cy="1323439"/>
          </a:xfrm>
          <a:prstGeom prst="rect">
            <a:avLst/>
          </a:prstGeom>
          <a:noFill/>
        </p:spPr>
        <p:txBody>
          <a:bodyPr wrap="square" rtlCol="0">
            <a:spAutoFit/>
          </a:bodyPr>
          <a:lstStyle/>
          <a:p>
            <a:r>
              <a:rPr lang="nl-NL" sz="8000">
                <a:solidFill>
                  <a:schemeClr val="bg1">
                    <a:lumMod val="85000"/>
                  </a:schemeClr>
                </a:solidFill>
              </a:rPr>
              <a:t>DRAFT</a:t>
            </a:r>
            <a:endParaRPr lang="en-US" sz="8000">
              <a:solidFill>
                <a:schemeClr val="bg1">
                  <a:lumMod val="85000"/>
                </a:schemeClr>
              </a:solidFill>
            </a:endParaRPr>
          </a:p>
        </p:txBody>
      </p:sp>
    </p:spTree>
    <p:extLst>
      <p:ext uri="{BB962C8B-B14F-4D97-AF65-F5344CB8AC3E}">
        <p14:creationId xmlns:p14="http://schemas.microsoft.com/office/powerpoint/2010/main" val="689450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59092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ea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spTree>
    <p:extLst>
      <p:ext uri="{BB962C8B-B14F-4D97-AF65-F5344CB8AC3E}">
        <p14:creationId xmlns:p14="http://schemas.microsoft.com/office/powerpoint/2010/main" val="303786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406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pSp>
        <p:nvGrpSpPr>
          <p:cNvPr id="8" name="Group 33">
            <a:extLst>
              <a:ext uri="{FF2B5EF4-FFF2-40B4-BE49-F238E27FC236}">
                <a16:creationId xmlns:a16="http://schemas.microsoft.com/office/drawing/2014/main" id="{0F111399-0853-4003-B801-EEE0A470D4D4}"/>
              </a:ext>
            </a:extLst>
          </p:cNvPr>
          <p:cNvGrpSpPr/>
          <p:nvPr userDrawn="1"/>
        </p:nvGrpSpPr>
        <p:grpSpPr>
          <a:xfrm>
            <a:off x="1338368" y="1900547"/>
            <a:ext cx="9605085" cy="4132027"/>
            <a:chOff x="1289907" y="1209727"/>
            <a:chExt cx="9605085" cy="4132027"/>
          </a:xfrm>
        </p:grpSpPr>
        <p:sp>
          <p:nvSpPr>
            <p:cNvPr id="9" name="Rectangle 35">
              <a:extLst>
                <a:ext uri="{FF2B5EF4-FFF2-40B4-BE49-F238E27FC236}">
                  <a16:creationId xmlns:a16="http://schemas.microsoft.com/office/drawing/2014/main" id="{9F0202DC-D15A-461B-B46A-8C32477B30E1}"/>
                </a:ext>
              </a:extLst>
            </p:cNvPr>
            <p:cNvSpPr/>
            <p:nvPr/>
          </p:nvSpPr>
          <p:spPr>
            <a:xfrm>
              <a:off x="6143002" y="1209727"/>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42">
              <a:extLst>
                <a:ext uri="{FF2B5EF4-FFF2-40B4-BE49-F238E27FC236}">
                  <a16:creationId xmlns:a16="http://schemas.microsoft.com/office/drawing/2014/main" id="{E29D36D8-FC89-4FD1-8DB6-2DF884D771EC}"/>
                </a:ext>
              </a:extLst>
            </p:cNvPr>
            <p:cNvSpPr/>
            <p:nvPr/>
          </p:nvSpPr>
          <p:spPr>
            <a:xfrm>
              <a:off x="1289907" y="1209727"/>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43">
              <a:extLst>
                <a:ext uri="{FF2B5EF4-FFF2-40B4-BE49-F238E27FC236}">
                  <a16:creationId xmlns:a16="http://schemas.microsoft.com/office/drawing/2014/main" id="{B2A292D7-806F-40A6-8A45-E82055912C74}"/>
                </a:ext>
              </a:extLst>
            </p:cNvPr>
            <p:cNvSpPr/>
            <p:nvPr/>
          </p:nvSpPr>
          <p:spPr>
            <a:xfrm>
              <a:off x="6143002" y="3321670"/>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44">
              <a:extLst>
                <a:ext uri="{FF2B5EF4-FFF2-40B4-BE49-F238E27FC236}">
                  <a16:creationId xmlns:a16="http://schemas.microsoft.com/office/drawing/2014/main" id="{002B7D63-A551-4F0C-8495-F05187FF87C4}"/>
                </a:ext>
              </a:extLst>
            </p:cNvPr>
            <p:cNvSpPr/>
            <p:nvPr/>
          </p:nvSpPr>
          <p:spPr>
            <a:xfrm>
              <a:off x="1289907" y="3321670"/>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1400175" y="1962150"/>
            <a:ext cx="3631463"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13" name="Freeform 26">
            <a:extLst>
              <a:ext uri="{FF2B5EF4-FFF2-40B4-BE49-F238E27FC236}">
                <a16:creationId xmlns:a16="http://schemas.microsoft.com/office/drawing/2014/main" id="{98C254CC-74B9-40A5-9891-B6101C2F993E}"/>
              </a:ext>
            </a:extLst>
          </p:cNvPr>
          <p:cNvSpPr/>
          <p:nvPr userDrawn="1"/>
        </p:nvSpPr>
        <p:spPr>
          <a:xfrm>
            <a:off x="4656729" y="2485354"/>
            <a:ext cx="1385168" cy="1389348"/>
          </a:xfrm>
          <a:custGeom>
            <a:avLst/>
            <a:gdLst>
              <a:gd name="connsiteX0" fmla="*/ 1385168 w 1385168"/>
              <a:gd name="connsiteY0" fmla="*/ 0 h 1389348"/>
              <a:gd name="connsiteX1" fmla="*/ 1385168 w 1385168"/>
              <a:gd name="connsiteY1" fmla="*/ 1389348 h 1389348"/>
              <a:gd name="connsiteX2" fmla="*/ 0 w 1385168"/>
              <a:gd name="connsiteY2" fmla="*/ 1389348 h 1389348"/>
              <a:gd name="connsiteX3" fmla="*/ 2484 w 1385168"/>
              <a:gd name="connsiteY3" fmla="*/ 1363430 h 1389348"/>
              <a:gd name="connsiteX4" fmla="*/ 105777 w 1385168"/>
              <a:gd name="connsiteY4" fmla="*/ 1169282 h 1389348"/>
              <a:gd name="connsiteX5" fmla="*/ 1169725 w 1385168"/>
              <a:gd name="connsiteY5" fmla="*/ 105334 h 1389348"/>
              <a:gd name="connsiteX6" fmla="*/ 1363873 w 1385168"/>
              <a:gd name="connsiteY6" fmla="*/ 2041 h 1389348"/>
              <a:gd name="connsiteX0" fmla="*/ 1385168 w 1476608"/>
              <a:gd name="connsiteY0" fmla="*/ 1389348 h 1480788"/>
              <a:gd name="connsiteX1" fmla="*/ 0 w 1476608"/>
              <a:gd name="connsiteY1" fmla="*/ 1389348 h 1480788"/>
              <a:gd name="connsiteX2" fmla="*/ 2484 w 1476608"/>
              <a:gd name="connsiteY2" fmla="*/ 1363430 h 1480788"/>
              <a:gd name="connsiteX3" fmla="*/ 105777 w 1476608"/>
              <a:gd name="connsiteY3" fmla="*/ 1169282 h 1480788"/>
              <a:gd name="connsiteX4" fmla="*/ 1169725 w 1476608"/>
              <a:gd name="connsiteY4" fmla="*/ 105334 h 1480788"/>
              <a:gd name="connsiteX5" fmla="*/ 1363873 w 1476608"/>
              <a:gd name="connsiteY5" fmla="*/ 2041 h 1480788"/>
              <a:gd name="connsiteX6" fmla="*/ 1385168 w 1476608"/>
              <a:gd name="connsiteY6" fmla="*/ 0 h 1480788"/>
              <a:gd name="connsiteX7" fmla="*/ 1476608 w 1476608"/>
              <a:gd name="connsiteY7" fmla="*/ 1480788 h 1480788"/>
              <a:gd name="connsiteX0" fmla="*/ 1385168 w 1385168"/>
              <a:gd name="connsiteY0" fmla="*/ 1389348 h 1389348"/>
              <a:gd name="connsiteX1" fmla="*/ 0 w 1385168"/>
              <a:gd name="connsiteY1" fmla="*/ 1389348 h 1389348"/>
              <a:gd name="connsiteX2" fmla="*/ 2484 w 1385168"/>
              <a:gd name="connsiteY2" fmla="*/ 1363430 h 1389348"/>
              <a:gd name="connsiteX3" fmla="*/ 105777 w 1385168"/>
              <a:gd name="connsiteY3" fmla="*/ 1169282 h 1389348"/>
              <a:gd name="connsiteX4" fmla="*/ 1169725 w 1385168"/>
              <a:gd name="connsiteY4" fmla="*/ 105334 h 1389348"/>
              <a:gd name="connsiteX5" fmla="*/ 1363873 w 1385168"/>
              <a:gd name="connsiteY5" fmla="*/ 2041 h 1389348"/>
              <a:gd name="connsiteX6" fmla="*/ 1385168 w 1385168"/>
              <a:gd name="connsiteY6" fmla="*/ 0 h 1389348"/>
              <a:gd name="connsiteX0" fmla="*/ 0 w 1385168"/>
              <a:gd name="connsiteY0" fmla="*/ 1389348 h 1389348"/>
              <a:gd name="connsiteX1" fmla="*/ 2484 w 1385168"/>
              <a:gd name="connsiteY1" fmla="*/ 1363430 h 1389348"/>
              <a:gd name="connsiteX2" fmla="*/ 105777 w 1385168"/>
              <a:gd name="connsiteY2" fmla="*/ 1169282 h 1389348"/>
              <a:gd name="connsiteX3" fmla="*/ 1169725 w 1385168"/>
              <a:gd name="connsiteY3" fmla="*/ 105334 h 1389348"/>
              <a:gd name="connsiteX4" fmla="*/ 1363873 w 1385168"/>
              <a:gd name="connsiteY4" fmla="*/ 2041 h 1389348"/>
              <a:gd name="connsiteX5" fmla="*/ 1385168 w 1385168"/>
              <a:gd name="connsiteY5" fmla="*/ 0 h 138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5168" h="1389348">
                <a:moveTo>
                  <a:pt x="0" y="1389348"/>
                </a:moveTo>
                <a:lnTo>
                  <a:pt x="2484" y="1363430"/>
                </a:lnTo>
                <a:cubicBezTo>
                  <a:pt x="16256" y="1292296"/>
                  <a:pt x="50687" y="1224371"/>
                  <a:pt x="105777" y="1169282"/>
                </a:cubicBezTo>
                <a:lnTo>
                  <a:pt x="1169725" y="105334"/>
                </a:lnTo>
                <a:cubicBezTo>
                  <a:pt x="1224815" y="50244"/>
                  <a:pt x="1292740" y="15814"/>
                  <a:pt x="1363873" y="2041"/>
                </a:cubicBezTo>
                <a:lnTo>
                  <a:pt x="1385168"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a:extLst>
              <a:ext uri="{FF2B5EF4-FFF2-40B4-BE49-F238E27FC236}">
                <a16:creationId xmlns:a16="http://schemas.microsoft.com/office/drawing/2014/main" id="{B69BB58D-0B1D-49CF-AC59-FABFB91E2B11}"/>
              </a:ext>
            </a:extLst>
          </p:cNvPr>
          <p:cNvSpPr/>
          <p:nvPr userDrawn="1"/>
        </p:nvSpPr>
        <p:spPr>
          <a:xfrm>
            <a:off x="4937155" y="2761246"/>
            <a:ext cx="1104742" cy="1113457"/>
          </a:xfrm>
          <a:custGeom>
            <a:avLst/>
            <a:gdLst>
              <a:gd name="connsiteX0" fmla="*/ 1104742 w 1104742"/>
              <a:gd name="connsiteY0" fmla="*/ 0 h 1113457"/>
              <a:gd name="connsiteX1" fmla="*/ 1104742 w 1104742"/>
              <a:gd name="connsiteY1" fmla="*/ 1113457 h 1113457"/>
              <a:gd name="connsiteX2" fmla="*/ 0 w 1104742"/>
              <a:gd name="connsiteY2" fmla="*/ 1113457 h 1113457"/>
              <a:gd name="connsiteX3" fmla="*/ 13331 w 1104742"/>
              <a:gd name="connsiteY3" fmla="*/ 1044950 h 1113457"/>
              <a:gd name="connsiteX4" fmla="*/ 80134 w 1104742"/>
              <a:gd name="connsiteY4" fmla="*/ 944349 h 1113457"/>
              <a:gd name="connsiteX5" fmla="*/ 940257 w 1104742"/>
              <a:gd name="connsiteY5" fmla="*/ 84226 h 1113457"/>
              <a:gd name="connsiteX6" fmla="*/ 1097211 w 1104742"/>
              <a:gd name="connsiteY6" fmla="*/ 722 h 111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4742" h="1113457">
                <a:moveTo>
                  <a:pt x="1104742" y="0"/>
                </a:moveTo>
                <a:lnTo>
                  <a:pt x="1104742" y="1113457"/>
                </a:lnTo>
                <a:lnTo>
                  <a:pt x="0" y="1113457"/>
                </a:lnTo>
                <a:lnTo>
                  <a:pt x="13331" y="1044950"/>
                </a:lnTo>
                <a:cubicBezTo>
                  <a:pt x="28176" y="1008342"/>
                  <a:pt x="50444" y="974040"/>
                  <a:pt x="80134" y="944349"/>
                </a:cubicBezTo>
                <a:lnTo>
                  <a:pt x="940257" y="84226"/>
                </a:lnTo>
                <a:cubicBezTo>
                  <a:pt x="984793" y="39691"/>
                  <a:pt x="1039705" y="11856"/>
                  <a:pt x="1097211" y="7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5">
            <a:extLst>
              <a:ext uri="{FF2B5EF4-FFF2-40B4-BE49-F238E27FC236}">
                <a16:creationId xmlns:a16="http://schemas.microsoft.com/office/drawing/2014/main" id="{36A11DBA-8340-488E-9332-C90AAF45B3EB}"/>
              </a:ext>
            </a:extLst>
          </p:cNvPr>
          <p:cNvSpPr>
            <a:spLocks noChangeAspect="1"/>
          </p:cNvSpPr>
          <p:nvPr userDrawn="1"/>
        </p:nvSpPr>
        <p:spPr>
          <a:xfrm rot="18900000">
            <a:off x="6017211" y="2789844"/>
            <a:ext cx="844084" cy="1568503"/>
          </a:xfrm>
          <a:custGeom>
            <a:avLst/>
            <a:gdLst>
              <a:gd name="connsiteX0" fmla="*/ 787333 w 844084"/>
              <a:gd name="connsiteY0" fmla="*/ 0 h 1568503"/>
              <a:gd name="connsiteX1" fmla="*/ 792147 w 844084"/>
              <a:gd name="connsiteY1" fmla="*/ 5835 h 1568503"/>
              <a:gd name="connsiteX2" fmla="*/ 844084 w 844084"/>
              <a:gd name="connsiteY2" fmla="*/ 175864 h 1568503"/>
              <a:gd name="connsiteX3" fmla="*/ 844084 w 844084"/>
              <a:gd name="connsiteY3" fmla="*/ 1392262 h 1568503"/>
              <a:gd name="connsiteX4" fmla="*/ 820186 w 844084"/>
              <a:gd name="connsiteY4" fmla="*/ 1510635 h 1568503"/>
              <a:gd name="connsiteX5" fmla="*/ 781170 w 844084"/>
              <a:gd name="connsiteY5" fmla="*/ 1568503 h 1568503"/>
              <a:gd name="connsiteX6" fmla="*/ 0 w 844084"/>
              <a:gd name="connsiteY6" fmla="*/ 787333 h 1568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84" h="1568503">
                <a:moveTo>
                  <a:pt x="787333" y="0"/>
                </a:moveTo>
                <a:lnTo>
                  <a:pt x="792147" y="5835"/>
                </a:lnTo>
                <a:cubicBezTo>
                  <a:pt x="824938" y="54371"/>
                  <a:pt x="844084" y="112881"/>
                  <a:pt x="844084" y="175864"/>
                </a:cubicBezTo>
                <a:lnTo>
                  <a:pt x="844084" y="1392262"/>
                </a:lnTo>
                <a:cubicBezTo>
                  <a:pt x="844084" y="1434251"/>
                  <a:pt x="835575" y="1474252"/>
                  <a:pt x="820186" y="1510635"/>
                </a:cubicBezTo>
                <a:lnTo>
                  <a:pt x="781170" y="1568503"/>
                </a:lnTo>
                <a:lnTo>
                  <a:pt x="0" y="78733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7">
            <a:extLst>
              <a:ext uri="{FF2B5EF4-FFF2-40B4-BE49-F238E27FC236}">
                <a16:creationId xmlns:a16="http://schemas.microsoft.com/office/drawing/2014/main" id="{299C1602-1934-42DC-A4B4-34AB2EDE311A}"/>
              </a:ext>
            </a:extLst>
          </p:cNvPr>
          <p:cNvSpPr>
            <a:spLocks noChangeAspect="1"/>
          </p:cNvSpPr>
          <p:nvPr userDrawn="1"/>
        </p:nvSpPr>
        <p:spPr>
          <a:xfrm rot="18900000">
            <a:off x="5655001" y="3845128"/>
            <a:ext cx="1568502" cy="844083"/>
          </a:xfrm>
          <a:custGeom>
            <a:avLst/>
            <a:gdLst>
              <a:gd name="connsiteX0" fmla="*/ 787332 w 1568502"/>
              <a:gd name="connsiteY0" fmla="*/ 0 h 844083"/>
              <a:gd name="connsiteX1" fmla="*/ 1568502 w 1568502"/>
              <a:gd name="connsiteY1" fmla="*/ 781170 h 844083"/>
              <a:gd name="connsiteX2" fmla="*/ 1510635 w 1568502"/>
              <a:gd name="connsiteY2" fmla="*/ 820185 h 844083"/>
              <a:gd name="connsiteX3" fmla="*/ 1392262 w 1568502"/>
              <a:gd name="connsiteY3" fmla="*/ 844083 h 844083"/>
              <a:gd name="connsiteX4" fmla="*/ 175864 w 1568502"/>
              <a:gd name="connsiteY4" fmla="*/ 844083 h 844083"/>
              <a:gd name="connsiteX5" fmla="*/ 5835 w 1568502"/>
              <a:gd name="connsiteY5" fmla="*/ 792146 h 844083"/>
              <a:gd name="connsiteX6" fmla="*/ 0 w 1568502"/>
              <a:gd name="connsiteY6" fmla="*/ 787332 h 8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502" h="844083">
                <a:moveTo>
                  <a:pt x="787332" y="0"/>
                </a:moveTo>
                <a:lnTo>
                  <a:pt x="1568502" y="781170"/>
                </a:lnTo>
                <a:lnTo>
                  <a:pt x="1510635" y="820185"/>
                </a:lnTo>
                <a:cubicBezTo>
                  <a:pt x="1474252" y="835574"/>
                  <a:pt x="1434251" y="844083"/>
                  <a:pt x="1392262" y="844083"/>
                </a:cubicBezTo>
                <a:lnTo>
                  <a:pt x="175864" y="844083"/>
                </a:lnTo>
                <a:cubicBezTo>
                  <a:pt x="112881" y="844083"/>
                  <a:pt x="54371" y="824937"/>
                  <a:pt x="5835" y="792146"/>
                </a:cubicBezTo>
                <a:lnTo>
                  <a:pt x="0" y="78733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Freeform 19">
            <a:extLst>
              <a:ext uri="{FF2B5EF4-FFF2-40B4-BE49-F238E27FC236}">
                <a16:creationId xmlns:a16="http://schemas.microsoft.com/office/drawing/2014/main" id="{95C505BA-60C7-4516-A2F3-F6C352F531C3}"/>
              </a:ext>
            </a:extLst>
          </p:cNvPr>
          <p:cNvSpPr>
            <a:spLocks noChangeAspect="1"/>
          </p:cNvSpPr>
          <p:nvPr userDrawn="1"/>
        </p:nvSpPr>
        <p:spPr>
          <a:xfrm rot="18900000">
            <a:off x="5323605" y="3482917"/>
            <a:ext cx="844084" cy="1568502"/>
          </a:xfrm>
          <a:custGeom>
            <a:avLst/>
            <a:gdLst>
              <a:gd name="connsiteX0" fmla="*/ 62914 w 844084"/>
              <a:gd name="connsiteY0" fmla="*/ 0 h 1568502"/>
              <a:gd name="connsiteX1" fmla="*/ 844084 w 844084"/>
              <a:gd name="connsiteY1" fmla="*/ 781170 h 1568502"/>
              <a:gd name="connsiteX2" fmla="*/ 56752 w 844084"/>
              <a:gd name="connsiteY2" fmla="*/ 1568502 h 1568502"/>
              <a:gd name="connsiteX3" fmla="*/ 51937 w 844084"/>
              <a:gd name="connsiteY3" fmla="*/ 1562666 h 1568502"/>
              <a:gd name="connsiteX4" fmla="*/ 0 w 844084"/>
              <a:gd name="connsiteY4" fmla="*/ 1392637 h 1568502"/>
              <a:gd name="connsiteX5" fmla="*/ 0 w 844084"/>
              <a:gd name="connsiteY5" fmla="*/ 176239 h 1568502"/>
              <a:gd name="connsiteX6" fmla="*/ 23898 w 844084"/>
              <a:gd name="connsiteY6" fmla="*/ 57867 h 156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84" h="1568502">
                <a:moveTo>
                  <a:pt x="62914" y="0"/>
                </a:moveTo>
                <a:lnTo>
                  <a:pt x="844084" y="781170"/>
                </a:lnTo>
                <a:lnTo>
                  <a:pt x="56752" y="1568502"/>
                </a:lnTo>
                <a:lnTo>
                  <a:pt x="51937" y="1562666"/>
                </a:lnTo>
                <a:cubicBezTo>
                  <a:pt x="19147" y="1514131"/>
                  <a:pt x="0" y="1455620"/>
                  <a:pt x="0" y="1392637"/>
                </a:cubicBezTo>
                <a:lnTo>
                  <a:pt x="0" y="176239"/>
                </a:lnTo>
                <a:cubicBezTo>
                  <a:pt x="0" y="134250"/>
                  <a:pt x="8510" y="94250"/>
                  <a:pt x="23898" y="57867"/>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28">
            <a:extLst>
              <a:ext uri="{FF2B5EF4-FFF2-40B4-BE49-F238E27FC236}">
                <a16:creationId xmlns:a16="http://schemas.microsoft.com/office/drawing/2014/main" id="{EE052943-05BC-4408-9668-3D70A72B4EF7}"/>
              </a:ext>
            </a:extLst>
          </p:cNvPr>
          <p:cNvSpPr>
            <a:spLocks noChangeAspect="1"/>
          </p:cNvSpPr>
          <p:nvPr userDrawn="1"/>
        </p:nvSpPr>
        <p:spPr>
          <a:xfrm rot="18900000">
            <a:off x="5281379" y="3707823"/>
            <a:ext cx="80814" cy="1961879"/>
          </a:xfrm>
          <a:custGeom>
            <a:avLst/>
            <a:gdLst>
              <a:gd name="connsiteX0" fmla="*/ 80814 w 1060276"/>
              <a:gd name="connsiteY0" fmla="*/ 0 h 1961879"/>
              <a:gd name="connsiteX1" fmla="*/ 1060276 w 1060276"/>
              <a:gd name="connsiteY1" fmla="*/ 979462 h 1961879"/>
              <a:gd name="connsiteX2" fmla="*/ 77859 w 1060276"/>
              <a:gd name="connsiteY2" fmla="*/ 1961879 h 1961879"/>
              <a:gd name="connsiteX3" fmla="*/ 64245 w 1060276"/>
              <a:gd name="connsiteY3" fmla="*/ 1945377 h 1961879"/>
              <a:gd name="connsiteX4" fmla="*/ 0 w 1060276"/>
              <a:gd name="connsiteY4" fmla="*/ 1735055 h 1961879"/>
              <a:gd name="connsiteX5" fmla="*/ 0 w 1060276"/>
              <a:gd name="connsiteY5" fmla="*/ 230405 h 1961879"/>
              <a:gd name="connsiteX6" fmla="*/ 64245 w 1060276"/>
              <a:gd name="connsiteY6" fmla="*/ 20083 h 1961879"/>
              <a:gd name="connsiteX0" fmla="*/ 1060276 w 1151716"/>
              <a:gd name="connsiteY0" fmla="*/ 979462 h 1961879"/>
              <a:gd name="connsiteX1" fmla="*/ 77859 w 1151716"/>
              <a:gd name="connsiteY1" fmla="*/ 1961879 h 1961879"/>
              <a:gd name="connsiteX2" fmla="*/ 64245 w 1151716"/>
              <a:gd name="connsiteY2" fmla="*/ 1945377 h 1961879"/>
              <a:gd name="connsiteX3" fmla="*/ 0 w 1151716"/>
              <a:gd name="connsiteY3" fmla="*/ 1735055 h 1961879"/>
              <a:gd name="connsiteX4" fmla="*/ 0 w 1151716"/>
              <a:gd name="connsiteY4" fmla="*/ 230405 h 1961879"/>
              <a:gd name="connsiteX5" fmla="*/ 64245 w 1151716"/>
              <a:gd name="connsiteY5" fmla="*/ 20083 h 1961879"/>
              <a:gd name="connsiteX6" fmla="*/ 80814 w 1151716"/>
              <a:gd name="connsiteY6" fmla="*/ 0 h 1961879"/>
              <a:gd name="connsiteX7" fmla="*/ 1151716 w 1151716"/>
              <a:gd name="connsiteY7" fmla="*/ 1070902 h 1961879"/>
              <a:gd name="connsiteX0" fmla="*/ 77859 w 1151716"/>
              <a:gd name="connsiteY0" fmla="*/ 1961879 h 1961879"/>
              <a:gd name="connsiteX1" fmla="*/ 64245 w 1151716"/>
              <a:gd name="connsiteY1" fmla="*/ 1945377 h 1961879"/>
              <a:gd name="connsiteX2" fmla="*/ 0 w 1151716"/>
              <a:gd name="connsiteY2" fmla="*/ 1735055 h 1961879"/>
              <a:gd name="connsiteX3" fmla="*/ 0 w 1151716"/>
              <a:gd name="connsiteY3" fmla="*/ 230405 h 1961879"/>
              <a:gd name="connsiteX4" fmla="*/ 64245 w 1151716"/>
              <a:gd name="connsiteY4" fmla="*/ 20083 h 1961879"/>
              <a:gd name="connsiteX5" fmla="*/ 80814 w 1151716"/>
              <a:gd name="connsiteY5" fmla="*/ 0 h 1961879"/>
              <a:gd name="connsiteX6" fmla="*/ 1151716 w 1151716"/>
              <a:gd name="connsiteY6" fmla="*/ 1070902 h 1961879"/>
              <a:gd name="connsiteX0" fmla="*/ 77859 w 80814"/>
              <a:gd name="connsiteY0" fmla="*/ 1961879 h 1961879"/>
              <a:gd name="connsiteX1" fmla="*/ 64245 w 80814"/>
              <a:gd name="connsiteY1" fmla="*/ 1945377 h 1961879"/>
              <a:gd name="connsiteX2" fmla="*/ 0 w 80814"/>
              <a:gd name="connsiteY2" fmla="*/ 1735055 h 1961879"/>
              <a:gd name="connsiteX3" fmla="*/ 0 w 80814"/>
              <a:gd name="connsiteY3" fmla="*/ 230405 h 1961879"/>
              <a:gd name="connsiteX4" fmla="*/ 64245 w 80814"/>
              <a:gd name="connsiteY4" fmla="*/ 20083 h 1961879"/>
              <a:gd name="connsiteX5" fmla="*/ 80814 w 80814"/>
              <a:gd name="connsiteY5" fmla="*/ 0 h 196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814" h="1961879">
                <a:moveTo>
                  <a:pt x="77859" y="1961879"/>
                </a:moveTo>
                <a:lnTo>
                  <a:pt x="64245" y="1945377"/>
                </a:lnTo>
                <a:cubicBezTo>
                  <a:pt x="23684" y="1885340"/>
                  <a:pt x="0" y="1812964"/>
                  <a:pt x="0" y="1735055"/>
                </a:cubicBezTo>
                <a:lnTo>
                  <a:pt x="0" y="230405"/>
                </a:lnTo>
                <a:cubicBezTo>
                  <a:pt x="0" y="152497"/>
                  <a:pt x="23684" y="80120"/>
                  <a:pt x="64245" y="20083"/>
                </a:cubicBezTo>
                <a:lnTo>
                  <a:pt x="80814" y="0"/>
                </a:ln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30">
            <a:extLst>
              <a:ext uri="{FF2B5EF4-FFF2-40B4-BE49-F238E27FC236}">
                <a16:creationId xmlns:a16="http://schemas.microsoft.com/office/drawing/2014/main" id="{5A032A09-67A8-4E51-82B8-6101FBF08EB2}"/>
              </a:ext>
            </a:extLst>
          </p:cNvPr>
          <p:cNvSpPr>
            <a:spLocks noChangeAspect="1"/>
          </p:cNvSpPr>
          <p:nvPr userDrawn="1"/>
        </p:nvSpPr>
        <p:spPr>
          <a:xfrm rot="18900000">
            <a:off x="5882174" y="4648357"/>
            <a:ext cx="1961878" cy="80814"/>
          </a:xfrm>
          <a:custGeom>
            <a:avLst/>
            <a:gdLst>
              <a:gd name="connsiteX0" fmla="*/ 982417 w 1961878"/>
              <a:gd name="connsiteY0" fmla="*/ 0 h 1060275"/>
              <a:gd name="connsiteX1" fmla="*/ 1961878 w 1961878"/>
              <a:gd name="connsiteY1" fmla="*/ 979461 h 1060275"/>
              <a:gd name="connsiteX2" fmla="*/ 1941795 w 1961878"/>
              <a:gd name="connsiteY2" fmla="*/ 996031 h 1060275"/>
              <a:gd name="connsiteX3" fmla="*/ 1731473 w 1961878"/>
              <a:gd name="connsiteY3" fmla="*/ 1060275 h 1060275"/>
              <a:gd name="connsiteX4" fmla="*/ 226823 w 1961878"/>
              <a:gd name="connsiteY4" fmla="*/ 1060275 h 1060275"/>
              <a:gd name="connsiteX5" fmla="*/ 16501 w 1961878"/>
              <a:gd name="connsiteY5" fmla="*/ 996031 h 1060275"/>
              <a:gd name="connsiteX6" fmla="*/ 0 w 1961878"/>
              <a:gd name="connsiteY6" fmla="*/ 982417 h 1060275"/>
              <a:gd name="connsiteX0" fmla="*/ 982417 w 1961878"/>
              <a:gd name="connsiteY0" fmla="*/ 0 h 1060275"/>
              <a:gd name="connsiteX1" fmla="*/ 1961878 w 1961878"/>
              <a:gd name="connsiteY1" fmla="*/ 979461 h 1060275"/>
              <a:gd name="connsiteX2" fmla="*/ 1941795 w 1961878"/>
              <a:gd name="connsiteY2" fmla="*/ 996031 h 1060275"/>
              <a:gd name="connsiteX3" fmla="*/ 1731473 w 1961878"/>
              <a:gd name="connsiteY3" fmla="*/ 1060275 h 1060275"/>
              <a:gd name="connsiteX4" fmla="*/ 226823 w 1961878"/>
              <a:gd name="connsiteY4" fmla="*/ 1060275 h 1060275"/>
              <a:gd name="connsiteX5" fmla="*/ 16501 w 1961878"/>
              <a:gd name="connsiteY5" fmla="*/ 996031 h 1060275"/>
              <a:gd name="connsiteX6" fmla="*/ 0 w 1961878"/>
              <a:gd name="connsiteY6" fmla="*/ 982417 h 1060275"/>
              <a:gd name="connsiteX7" fmla="*/ 1073857 w 1961878"/>
              <a:gd name="connsiteY7" fmla="*/ 91440 h 1060275"/>
              <a:gd name="connsiteX0" fmla="*/ 1961878 w 1961878"/>
              <a:gd name="connsiteY0" fmla="*/ 888021 h 968835"/>
              <a:gd name="connsiteX1" fmla="*/ 1941795 w 1961878"/>
              <a:gd name="connsiteY1" fmla="*/ 904591 h 968835"/>
              <a:gd name="connsiteX2" fmla="*/ 1731473 w 1961878"/>
              <a:gd name="connsiteY2" fmla="*/ 968835 h 968835"/>
              <a:gd name="connsiteX3" fmla="*/ 226823 w 1961878"/>
              <a:gd name="connsiteY3" fmla="*/ 968835 h 968835"/>
              <a:gd name="connsiteX4" fmla="*/ 16501 w 1961878"/>
              <a:gd name="connsiteY4" fmla="*/ 904591 h 968835"/>
              <a:gd name="connsiteX5" fmla="*/ 0 w 1961878"/>
              <a:gd name="connsiteY5" fmla="*/ 890977 h 968835"/>
              <a:gd name="connsiteX6" fmla="*/ 1073857 w 1961878"/>
              <a:gd name="connsiteY6" fmla="*/ 0 h 968835"/>
              <a:gd name="connsiteX0" fmla="*/ 1961878 w 1961878"/>
              <a:gd name="connsiteY0" fmla="*/ 0 h 80814"/>
              <a:gd name="connsiteX1" fmla="*/ 1941795 w 1961878"/>
              <a:gd name="connsiteY1" fmla="*/ 16570 h 80814"/>
              <a:gd name="connsiteX2" fmla="*/ 1731473 w 1961878"/>
              <a:gd name="connsiteY2" fmla="*/ 80814 h 80814"/>
              <a:gd name="connsiteX3" fmla="*/ 226823 w 1961878"/>
              <a:gd name="connsiteY3" fmla="*/ 80814 h 80814"/>
              <a:gd name="connsiteX4" fmla="*/ 16501 w 1961878"/>
              <a:gd name="connsiteY4" fmla="*/ 16570 h 80814"/>
              <a:gd name="connsiteX5" fmla="*/ 0 w 1961878"/>
              <a:gd name="connsiteY5" fmla="*/ 2956 h 8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1878" h="80814">
                <a:moveTo>
                  <a:pt x="1961878" y="0"/>
                </a:moveTo>
                <a:lnTo>
                  <a:pt x="1941795" y="16570"/>
                </a:lnTo>
                <a:cubicBezTo>
                  <a:pt x="1881758" y="57131"/>
                  <a:pt x="1809381" y="80814"/>
                  <a:pt x="1731473" y="80814"/>
                </a:cubicBezTo>
                <a:lnTo>
                  <a:pt x="226823" y="80814"/>
                </a:lnTo>
                <a:cubicBezTo>
                  <a:pt x="148915" y="80814"/>
                  <a:pt x="76539" y="57130"/>
                  <a:pt x="16501" y="16570"/>
                </a:cubicBezTo>
                <a:lnTo>
                  <a:pt x="0" y="2956"/>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Freeform 32">
            <a:extLst>
              <a:ext uri="{FF2B5EF4-FFF2-40B4-BE49-F238E27FC236}">
                <a16:creationId xmlns:a16="http://schemas.microsoft.com/office/drawing/2014/main" id="{BC94C936-AB5F-4BFD-97FD-13CB694666C7}"/>
              </a:ext>
            </a:extLst>
          </p:cNvPr>
          <p:cNvSpPr>
            <a:spLocks noChangeAspect="1"/>
          </p:cNvSpPr>
          <p:nvPr userDrawn="1"/>
        </p:nvSpPr>
        <p:spPr>
          <a:xfrm rot="18900000">
            <a:off x="6822706" y="2171562"/>
            <a:ext cx="80814" cy="1961879"/>
          </a:xfrm>
          <a:custGeom>
            <a:avLst/>
            <a:gdLst>
              <a:gd name="connsiteX0" fmla="*/ 982417 w 1060276"/>
              <a:gd name="connsiteY0" fmla="*/ 0 h 1961879"/>
              <a:gd name="connsiteX1" fmla="*/ 996031 w 1060276"/>
              <a:gd name="connsiteY1" fmla="*/ 16501 h 1961879"/>
              <a:gd name="connsiteX2" fmla="*/ 1060276 w 1060276"/>
              <a:gd name="connsiteY2" fmla="*/ 226823 h 1961879"/>
              <a:gd name="connsiteX3" fmla="*/ 1060276 w 1060276"/>
              <a:gd name="connsiteY3" fmla="*/ 1731473 h 1961879"/>
              <a:gd name="connsiteX4" fmla="*/ 996032 w 1060276"/>
              <a:gd name="connsiteY4" fmla="*/ 1941795 h 1961879"/>
              <a:gd name="connsiteX5" fmla="*/ 979462 w 1060276"/>
              <a:gd name="connsiteY5" fmla="*/ 1961879 h 1961879"/>
              <a:gd name="connsiteX6" fmla="*/ 0 w 1060276"/>
              <a:gd name="connsiteY6" fmla="*/ 982418 h 1961879"/>
              <a:gd name="connsiteX0" fmla="*/ 0 w 1060276"/>
              <a:gd name="connsiteY0" fmla="*/ 982418 h 1961879"/>
              <a:gd name="connsiteX1" fmla="*/ 982417 w 1060276"/>
              <a:gd name="connsiteY1" fmla="*/ 0 h 1961879"/>
              <a:gd name="connsiteX2" fmla="*/ 996031 w 1060276"/>
              <a:gd name="connsiteY2" fmla="*/ 16501 h 1961879"/>
              <a:gd name="connsiteX3" fmla="*/ 1060276 w 1060276"/>
              <a:gd name="connsiteY3" fmla="*/ 226823 h 1961879"/>
              <a:gd name="connsiteX4" fmla="*/ 1060276 w 1060276"/>
              <a:gd name="connsiteY4" fmla="*/ 1731473 h 1961879"/>
              <a:gd name="connsiteX5" fmla="*/ 996032 w 1060276"/>
              <a:gd name="connsiteY5" fmla="*/ 1941795 h 1961879"/>
              <a:gd name="connsiteX6" fmla="*/ 979462 w 1060276"/>
              <a:gd name="connsiteY6" fmla="*/ 1961879 h 1961879"/>
              <a:gd name="connsiteX7" fmla="*/ 91440 w 1060276"/>
              <a:gd name="connsiteY7" fmla="*/ 1073858 h 1961879"/>
              <a:gd name="connsiteX0" fmla="*/ 890977 w 968836"/>
              <a:gd name="connsiteY0" fmla="*/ 0 h 1961879"/>
              <a:gd name="connsiteX1" fmla="*/ 904591 w 968836"/>
              <a:gd name="connsiteY1" fmla="*/ 16501 h 1961879"/>
              <a:gd name="connsiteX2" fmla="*/ 968836 w 968836"/>
              <a:gd name="connsiteY2" fmla="*/ 226823 h 1961879"/>
              <a:gd name="connsiteX3" fmla="*/ 968836 w 968836"/>
              <a:gd name="connsiteY3" fmla="*/ 1731473 h 1961879"/>
              <a:gd name="connsiteX4" fmla="*/ 904592 w 968836"/>
              <a:gd name="connsiteY4" fmla="*/ 1941795 h 1961879"/>
              <a:gd name="connsiteX5" fmla="*/ 888022 w 968836"/>
              <a:gd name="connsiteY5" fmla="*/ 1961879 h 1961879"/>
              <a:gd name="connsiteX6" fmla="*/ 0 w 968836"/>
              <a:gd name="connsiteY6" fmla="*/ 1073858 h 1961879"/>
              <a:gd name="connsiteX0" fmla="*/ 2955 w 80814"/>
              <a:gd name="connsiteY0" fmla="*/ 0 h 1961879"/>
              <a:gd name="connsiteX1" fmla="*/ 16569 w 80814"/>
              <a:gd name="connsiteY1" fmla="*/ 16501 h 1961879"/>
              <a:gd name="connsiteX2" fmla="*/ 80814 w 80814"/>
              <a:gd name="connsiteY2" fmla="*/ 226823 h 1961879"/>
              <a:gd name="connsiteX3" fmla="*/ 80814 w 80814"/>
              <a:gd name="connsiteY3" fmla="*/ 1731473 h 1961879"/>
              <a:gd name="connsiteX4" fmla="*/ 16570 w 80814"/>
              <a:gd name="connsiteY4" fmla="*/ 1941795 h 1961879"/>
              <a:gd name="connsiteX5" fmla="*/ 0 w 80814"/>
              <a:gd name="connsiteY5" fmla="*/ 1961879 h 196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814" h="1961879">
                <a:moveTo>
                  <a:pt x="2955" y="0"/>
                </a:moveTo>
                <a:lnTo>
                  <a:pt x="16569" y="16501"/>
                </a:lnTo>
                <a:cubicBezTo>
                  <a:pt x="57130" y="76539"/>
                  <a:pt x="80814" y="148915"/>
                  <a:pt x="80814" y="226823"/>
                </a:cubicBezTo>
                <a:lnTo>
                  <a:pt x="80814" y="1731473"/>
                </a:lnTo>
                <a:cubicBezTo>
                  <a:pt x="80814" y="1809381"/>
                  <a:pt x="57131" y="1881758"/>
                  <a:pt x="16570" y="1941795"/>
                </a:cubicBezTo>
                <a:lnTo>
                  <a:pt x="0" y="1961879"/>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11">
            <a:extLst>
              <a:ext uri="{FF2B5EF4-FFF2-40B4-BE49-F238E27FC236}">
                <a16:creationId xmlns:a16="http://schemas.microsoft.com/office/drawing/2014/main" id="{237F6B36-262D-4304-8620-95CE914E91E8}"/>
              </a:ext>
            </a:extLst>
          </p:cNvPr>
          <p:cNvSpPr>
            <a:spLocks noGrp="1"/>
          </p:cNvSpPr>
          <p:nvPr>
            <p:ph type="body" sz="quarter" idx="14" hasCustomPrompt="1"/>
          </p:nvPr>
        </p:nvSpPr>
        <p:spPr>
          <a:xfrm>
            <a:off x="1400176" y="4080633"/>
            <a:ext cx="3631462"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30" name="Tijdelijke aanduiding voor tekst 11">
            <a:extLst>
              <a:ext uri="{FF2B5EF4-FFF2-40B4-BE49-F238E27FC236}">
                <a16:creationId xmlns:a16="http://schemas.microsoft.com/office/drawing/2014/main" id="{9B3353CF-18B6-4732-9FC2-7BCABCA2AF74}"/>
              </a:ext>
            </a:extLst>
          </p:cNvPr>
          <p:cNvSpPr>
            <a:spLocks noGrp="1"/>
          </p:cNvSpPr>
          <p:nvPr>
            <p:ph type="body" sz="quarter" idx="15" hasCustomPrompt="1"/>
          </p:nvPr>
        </p:nvSpPr>
        <p:spPr>
          <a:xfrm>
            <a:off x="7575790" y="1962150"/>
            <a:ext cx="3216036"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31" name="Tijdelijke aanduiding voor tekst 11">
            <a:extLst>
              <a:ext uri="{FF2B5EF4-FFF2-40B4-BE49-F238E27FC236}">
                <a16:creationId xmlns:a16="http://schemas.microsoft.com/office/drawing/2014/main" id="{29191A71-D738-4511-9190-DA2629706DA8}"/>
              </a:ext>
            </a:extLst>
          </p:cNvPr>
          <p:cNvSpPr>
            <a:spLocks noGrp="1"/>
          </p:cNvSpPr>
          <p:nvPr>
            <p:ph type="body" sz="quarter" idx="16" hasCustomPrompt="1"/>
          </p:nvPr>
        </p:nvSpPr>
        <p:spPr>
          <a:xfrm>
            <a:off x="7575790" y="4080633"/>
            <a:ext cx="3216036" cy="1866900"/>
          </a:xfrm>
          <a:prstGeom prst="rect">
            <a:avLst/>
          </a:prstGeom>
        </p:spPr>
        <p:txBody>
          <a:bodyPr lIns="0" tIns="0" rIns="0" bIns="0"/>
          <a:lstStyle>
            <a:lvl1pPr marL="266700" indent="-266700">
              <a:buClr>
                <a:schemeClr val="accent1"/>
              </a:buClr>
              <a:defRPr sz="1800">
                <a:solidFill>
                  <a:schemeClr val="tx1"/>
                </a:solidFill>
              </a:defRPr>
            </a:lvl1pPr>
            <a:lvl2pPr marL="625475" indent="-266700">
              <a:buClr>
                <a:schemeClr val="accent1"/>
              </a:buClr>
              <a:buFont typeface="Calibri" panose="020F0502020204030204" pitchFamily="34" charset="0"/>
              <a:buChar char="-"/>
              <a:defRPr sz="1600">
                <a:solidFill>
                  <a:schemeClr val="tx1">
                    <a:lumMod val="50000"/>
                    <a:lumOff val="50000"/>
                  </a:schemeClr>
                </a:solidFill>
              </a:defRPr>
            </a:lvl2pPr>
            <a:lvl3pPr marL="890588" indent="-265113">
              <a:buClr>
                <a:schemeClr val="accent1"/>
              </a:buClr>
              <a:buFont typeface="Wingdings" panose="05000000000000000000" pitchFamily="2" charset="2"/>
              <a:buChar char="§"/>
              <a:defRPr sz="14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5" name="Tijdelijke aanduiding voor tekst 4">
            <a:extLst>
              <a:ext uri="{FF2B5EF4-FFF2-40B4-BE49-F238E27FC236}">
                <a16:creationId xmlns:a16="http://schemas.microsoft.com/office/drawing/2014/main" id="{0ACADCD3-098C-45DE-9F13-7A32B841EC7F}"/>
              </a:ext>
            </a:extLst>
          </p:cNvPr>
          <p:cNvSpPr>
            <a:spLocks noGrp="1"/>
          </p:cNvSpPr>
          <p:nvPr>
            <p:ph type="body" sz="quarter" idx="17" hasCustomPrompt="1"/>
          </p:nvPr>
        </p:nvSpPr>
        <p:spPr>
          <a:xfrm>
            <a:off x="5343525" y="3429000"/>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
        <p:nvSpPr>
          <p:cNvPr id="32" name="Tijdelijke aanduiding voor tekst 4">
            <a:extLst>
              <a:ext uri="{FF2B5EF4-FFF2-40B4-BE49-F238E27FC236}">
                <a16:creationId xmlns:a16="http://schemas.microsoft.com/office/drawing/2014/main" id="{95FB77A0-6438-4527-9242-A03F3A0D6FFD}"/>
              </a:ext>
            </a:extLst>
          </p:cNvPr>
          <p:cNvSpPr>
            <a:spLocks noGrp="1"/>
          </p:cNvSpPr>
          <p:nvPr>
            <p:ph type="body" sz="quarter" idx="18" hasCustomPrompt="1"/>
          </p:nvPr>
        </p:nvSpPr>
        <p:spPr>
          <a:xfrm>
            <a:off x="6228810" y="3429000"/>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
        <p:nvSpPr>
          <p:cNvPr id="33" name="Tijdelijke aanduiding voor tekst 4">
            <a:extLst>
              <a:ext uri="{FF2B5EF4-FFF2-40B4-BE49-F238E27FC236}">
                <a16:creationId xmlns:a16="http://schemas.microsoft.com/office/drawing/2014/main" id="{C23C21B9-452B-47AF-972C-70148CCA2C9C}"/>
              </a:ext>
            </a:extLst>
          </p:cNvPr>
          <p:cNvSpPr>
            <a:spLocks noGrp="1"/>
          </p:cNvSpPr>
          <p:nvPr>
            <p:ph type="body" sz="quarter" idx="19" hasCustomPrompt="1"/>
          </p:nvPr>
        </p:nvSpPr>
        <p:spPr>
          <a:xfrm>
            <a:off x="5343525" y="4039456"/>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
        <p:nvSpPr>
          <p:cNvPr id="34" name="Tijdelijke aanduiding voor tekst 4">
            <a:extLst>
              <a:ext uri="{FF2B5EF4-FFF2-40B4-BE49-F238E27FC236}">
                <a16:creationId xmlns:a16="http://schemas.microsoft.com/office/drawing/2014/main" id="{F0DD2AEF-768F-4569-A000-6F18A6682AAF}"/>
              </a:ext>
            </a:extLst>
          </p:cNvPr>
          <p:cNvSpPr>
            <a:spLocks noGrp="1"/>
          </p:cNvSpPr>
          <p:nvPr>
            <p:ph type="body" sz="quarter" idx="20" hasCustomPrompt="1"/>
          </p:nvPr>
        </p:nvSpPr>
        <p:spPr>
          <a:xfrm>
            <a:off x="6228810" y="4039456"/>
            <a:ext cx="646113" cy="292100"/>
          </a:xfrm>
          <a:prstGeom prst="rect">
            <a:avLst/>
          </a:prstGeom>
        </p:spPr>
        <p:txBody>
          <a:bodyPr/>
          <a:lstStyle>
            <a:lvl1pPr marL="0" indent="0" algn="ctr">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noProof="0"/>
              <a:t>text</a:t>
            </a:r>
          </a:p>
        </p:txBody>
      </p:sp>
    </p:spTree>
    <p:extLst>
      <p:ext uri="{BB962C8B-B14F-4D97-AF65-F5344CB8AC3E}">
        <p14:creationId xmlns:p14="http://schemas.microsoft.com/office/powerpoint/2010/main" val="376864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19" name="Tijdelijke aanduiding voor afbeelding 18">
            <a:extLst>
              <a:ext uri="{FF2B5EF4-FFF2-40B4-BE49-F238E27FC236}">
                <a16:creationId xmlns:a16="http://schemas.microsoft.com/office/drawing/2014/main" id="{7B375A55-05DF-4620-927B-CEFAB4E05C4E}"/>
              </a:ext>
            </a:extLst>
          </p:cNvPr>
          <p:cNvSpPr>
            <a:spLocks noGrp="1"/>
          </p:cNvSpPr>
          <p:nvPr>
            <p:ph type="pic" sz="quarter" idx="10" hasCustomPrompt="1"/>
          </p:nvPr>
        </p:nvSpPr>
        <p:spPr>
          <a:xfrm>
            <a:off x="-11113" y="-11113"/>
            <a:ext cx="7049592" cy="6869113"/>
          </a:xfrm>
          <a:custGeom>
            <a:avLst/>
            <a:gdLst>
              <a:gd name="connsiteX0" fmla="*/ 0 w 7049592"/>
              <a:gd name="connsiteY0" fmla="*/ 0 h 6869113"/>
              <a:gd name="connsiteX1" fmla="*/ 7049592 w 7049592"/>
              <a:gd name="connsiteY1" fmla="*/ 0 h 6869113"/>
              <a:gd name="connsiteX2" fmla="*/ 6961918 w 7049592"/>
              <a:gd name="connsiteY2" fmla="*/ 304793 h 6869113"/>
              <a:gd name="connsiteX3" fmla="*/ 4716550 w 7049592"/>
              <a:gd name="connsiteY3" fmla="*/ 6869113 h 6869113"/>
              <a:gd name="connsiteX4" fmla="*/ 0 w 7049592"/>
              <a:gd name="connsiteY4" fmla="*/ 6869113 h 6869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9592" h="6869113">
                <a:moveTo>
                  <a:pt x="0" y="0"/>
                </a:moveTo>
                <a:lnTo>
                  <a:pt x="7049592" y="0"/>
                </a:lnTo>
                <a:lnTo>
                  <a:pt x="6961918" y="304793"/>
                </a:lnTo>
                <a:lnTo>
                  <a:pt x="4716550" y="6869113"/>
                </a:lnTo>
                <a:lnTo>
                  <a:pt x="0" y="686911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a:lvl1pPr>
          </a:lstStyle>
          <a:p>
            <a:pPr marL="228600" lvl="0" indent="-228600" algn="ctr"/>
            <a:r>
              <a:rPr lang="en-US" noProof="0"/>
              <a:t>Click icon to insert an image</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6979454" y="1980017"/>
            <a:ext cx="4862858" cy="2905494"/>
          </a:xfrm>
          <a:prstGeom prst="rect">
            <a:avLst/>
          </a:prstGeom>
        </p:spPr>
        <p:txBody>
          <a:bodyPr lIns="0" tIns="0" rIns="0" bIns="72000" anchor="ctr" anchorCtr="0"/>
          <a:lstStyle>
            <a:lvl1pPr>
              <a:defRPr sz="3600">
                <a:solidFill>
                  <a:schemeClr val="accent1"/>
                </a:solidFill>
              </a:defRPr>
            </a:lvl1pPr>
          </a:lstStyle>
          <a:p>
            <a:r>
              <a:rPr lang="en-US" noProof="0"/>
              <a:t>Click to edit </a:t>
            </a:r>
            <a:br>
              <a:rPr lang="en-US" noProof="0"/>
            </a:br>
            <a:r>
              <a:rPr lang="en-US" noProof="0"/>
              <a:t>Master title style</a:t>
            </a:r>
          </a:p>
        </p:txBody>
      </p:sp>
      <p:grpSp>
        <p:nvGrpSpPr>
          <p:cNvPr id="22" name="Group 21">
            <a:extLst>
              <a:ext uri="{FF2B5EF4-FFF2-40B4-BE49-F238E27FC236}">
                <a16:creationId xmlns:a16="http://schemas.microsoft.com/office/drawing/2014/main" id="{7FEC5561-0D1D-48CD-9857-C6F2175A0034}"/>
              </a:ext>
            </a:extLst>
          </p:cNvPr>
          <p:cNvGrpSpPr/>
          <p:nvPr userDrawn="1"/>
        </p:nvGrpSpPr>
        <p:grpSpPr>
          <a:xfrm>
            <a:off x="10422255" y="6286500"/>
            <a:ext cx="693334" cy="249834"/>
            <a:chOff x="3078163" y="2341563"/>
            <a:chExt cx="6035676" cy="2174875"/>
          </a:xfrm>
        </p:grpSpPr>
        <p:sp>
          <p:nvSpPr>
            <p:cNvPr id="23" name="Freeform 5">
              <a:extLst>
                <a:ext uri="{FF2B5EF4-FFF2-40B4-BE49-F238E27FC236}">
                  <a16:creationId xmlns:a16="http://schemas.microsoft.com/office/drawing/2014/main" id="{2CF1C0AB-2340-43C1-BA25-042D1257445A}"/>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6">
              <a:extLst>
                <a:ext uri="{FF2B5EF4-FFF2-40B4-BE49-F238E27FC236}">
                  <a16:creationId xmlns:a16="http://schemas.microsoft.com/office/drawing/2014/main" id="{BF98D281-DE49-4E93-B406-2BD8838AE412}"/>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7">
              <a:extLst>
                <a:ext uri="{FF2B5EF4-FFF2-40B4-BE49-F238E27FC236}">
                  <a16:creationId xmlns:a16="http://schemas.microsoft.com/office/drawing/2014/main" id="{96BF50F2-0F4D-4E09-91A9-7168DF2C52CA}"/>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8">
              <a:extLst>
                <a:ext uri="{FF2B5EF4-FFF2-40B4-BE49-F238E27FC236}">
                  <a16:creationId xmlns:a16="http://schemas.microsoft.com/office/drawing/2014/main" id="{D73F4D8E-E8EB-44B1-9D1B-50EB8D93F694}"/>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9">
              <a:extLst>
                <a:ext uri="{FF2B5EF4-FFF2-40B4-BE49-F238E27FC236}">
                  <a16:creationId xmlns:a16="http://schemas.microsoft.com/office/drawing/2014/main" id="{2997CEF5-AF3F-4824-B002-420B2ABD90D3}"/>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0">
              <a:extLst>
                <a:ext uri="{FF2B5EF4-FFF2-40B4-BE49-F238E27FC236}">
                  <a16:creationId xmlns:a16="http://schemas.microsoft.com/office/drawing/2014/main" id="{7D747C3B-8656-4D8A-B48E-243D5FF3D422}"/>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1">
              <a:extLst>
                <a:ext uri="{FF2B5EF4-FFF2-40B4-BE49-F238E27FC236}">
                  <a16:creationId xmlns:a16="http://schemas.microsoft.com/office/drawing/2014/main" id="{DF60A912-7DDF-4D79-85CA-DF822EEA9961}"/>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4" name="Rechthoek 13">
            <a:extLst>
              <a:ext uri="{FF2B5EF4-FFF2-40B4-BE49-F238E27FC236}">
                <a16:creationId xmlns:a16="http://schemas.microsoft.com/office/drawing/2014/main" id="{C5203CEB-4AE2-470B-9D88-1FC55D2A891A}"/>
              </a:ext>
            </a:extLst>
          </p:cNvPr>
          <p:cNvSpPr/>
          <p:nvPr userDrawn="1"/>
        </p:nvSpPr>
        <p:spPr>
          <a:xfrm>
            <a:off x="11330202" y="6259335"/>
            <a:ext cx="861798" cy="276999"/>
          </a:xfrm>
          <a:prstGeom prst="rect">
            <a:avLst/>
          </a:prstGeom>
        </p:spPr>
        <p:txBody>
          <a:bodyPr wrap="square">
            <a:spAutoFit/>
          </a:bodyPr>
          <a:lstStyle/>
          <a:p>
            <a:pPr algn="ctr" fontAlgn="auto">
              <a:spcBef>
                <a:spcPts val="0"/>
              </a:spcBef>
              <a:spcAft>
                <a:spcPts val="0"/>
              </a:spcAft>
              <a:defRPr/>
            </a:pPr>
            <a:fld id="{478F02DA-AB65-4DE3-8C32-C1DFFF12922F}" type="slidenum">
              <a:rPr lang="en-US" sz="1200" b="0" noProof="0" smtClean="0">
                <a:solidFill>
                  <a:schemeClr val="bg1"/>
                </a:solidFill>
                <a:cs typeface="Arial" pitchFamily="34" charset="0"/>
              </a:rPr>
              <a:pPr algn="ctr" fontAlgn="auto">
                <a:spcBef>
                  <a:spcPts val="0"/>
                </a:spcBef>
                <a:spcAft>
                  <a:spcPts val="0"/>
                </a:spcAft>
                <a:defRPr/>
              </a:pPr>
              <a:t>‹#›</a:t>
            </a:fld>
            <a:endParaRPr lang="en-US" sz="1200" b="0" noProof="0">
              <a:solidFill>
                <a:schemeClr val="bg1"/>
              </a:solidFill>
              <a:cs typeface="Arial" pitchFamily="34" charset="0"/>
            </a:endParaRPr>
          </a:p>
        </p:txBody>
      </p:sp>
      <p:sp>
        <p:nvSpPr>
          <p:cNvPr id="17" name="Rectangle 3">
            <a:extLst>
              <a:ext uri="{FF2B5EF4-FFF2-40B4-BE49-F238E27FC236}">
                <a16:creationId xmlns:a16="http://schemas.microsoft.com/office/drawing/2014/main" id="{5EA75EB1-61A0-4441-894D-6C34DF8EEFE1}"/>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203390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s + image">
    <p:spTree>
      <p:nvGrpSpPr>
        <p:cNvPr id="1" name=""/>
        <p:cNvGrpSpPr/>
        <p:nvPr/>
      </p:nvGrpSpPr>
      <p:grpSpPr>
        <a:xfrm>
          <a:off x="0" y="0"/>
          <a:ext cx="0" cy="0"/>
          <a:chOff x="0" y="0"/>
          <a:chExt cx="0" cy="0"/>
        </a:xfrm>
      </p:grpSpPr>
      <p:sp>
        <p:nvSpPr>
          <p:cNvPr id="23" name="Tijdelijke aanduiding voor afbeelding 22">
            <a:extLst>
              <a:ext uri="{FF2B5EF4-FFF2-40B4-BE49-F238E27FC236}">
                <a16:creationId xmlns:a16="http://schemas.microsoft.com/office/drawing/2014/main" id="{72B591FD-0FC9-4B7C-BAEA-51AD04D0CA7E}"/>
              </a:ext>
            </a:extLst>
          </p:cNvPr>
          <p:cNvSpPr>
            <a:spLocks noGrp="1"/>
          </p:cNvSpPr>
          <p:nvPr>
            <p:ph type="pic" sz="quarter" idx="12" hasCustomPrompt="1"/>
          </p:nvPr>
        </p:nvSpPr>
        <p:spPr>
          <a:xfrm>
            <a:off x="6114448" y="-21971"/>
            <a:ext cx="6087079" cy="6885758"/>
          </a:xfrm>
          <a:custGeom>
            <a:avLst/>
            <a:gdLst>
              <a:gd name="connsiteX0" fmla="*/ 4561470 w 6087079"/>
              <a:gd name="connsiteY0" fmla="*/ 6511621 h 6885758"/>
              <a:gd name="connsiteX1" fmla="*/ 4566576 w 6087079"/>
              <a:gd name="connsiteY1" fmla="*/ 6524933 h 6885758"/>
              <a:gd name="connsiteX2" fmla="*/ 4921085 w 6087079"/>
              <a:gd name="connsiteY2" fmla="*/ 6524933 h 6885758"/>
              <a:gd name="connsiteX3" fmla="*/ 4921085 w 6087079"/>
              <a:gd name="connsiteY3" fmla="*/ 6511621 h 6885758"/>
              <a:gd name="connsiteX4" fmla="*/ 4493268 w 6087079"/>
              <a:gd name="connsiteY4" fmla="*/ 6378133 h 6885758"/>
              <a:gd name="connsiteX5" fmla="*/ 4474667 w 6087079"/>
              <a:gd name="connsiteY5" fmla="*/ 6436671 h 6885758"/>
              <a:gd name="connsiteX6" fmla="*/ 4512416 w 6087079"/>
              <a:gd name="connsiteY6" fmla="*/ 6437400 h 6885758"/>
              <a:gd name="connsiteX7" fmla="*/ 4818781 w 6087079"/>
              <a:gd name="connsiteY7" fmla="*/ 6365550 h 6885758"/>
              <a:gd name="connsiteX8" fmla="*/ 4827716 w 6087079"/>
              <a:gd name="connsiteY8" fmla="*/ 6367009 h 6885758"/>
              <a:gd name="connsiteX9" fmla="*/ 4835740 w 6087079"/>
              <a:gd name="connsiteY9" fmla="*/ 6369927 h 6885758"/>
              <a:gd name="connsiteX10" fmla="*/ 4841758 w 6087079"/>
              <a:gd name="connsiteY10" fmla="*/ 6374486 h 6885758"/>
              <a:gd name="connsiteX11" fmla="*/ 4847594 w 6087079"/>
              <a:gd name="connsiteY11" fmla="*/ 6380322 h 6885758"/>
              <a:gd name="connsiteX12" fmla="*/ 4852153 w 6087079"/>
              <a:gd name="connsiteY12" fmla="*/ 6387798 h 6885758"/>
              <a:gd name="connsiteX13" fmla="*/ 4855070 w 6087079"/>
              <a:gd name="connsiteY13" fmla="*/ 6395275 h 6885758"/>
              <a:gd name="connsiteX14" fmla="*/ 4856529 w 6087079"/>
              <a:gd name="connsiteY14" fmla="*/ 6404028 h 6885758"/>
              <a:gd name="connsiteX15" fmla="*/ 4857259 w 6087079"/>
              <a:gd name="connsiteY15" fmla="*/ 6412964 h 6885758"/>
              <a:gd name="connsiteX16" fmla="*/ 4856529 w 6087079"/>
              <a:gd name="connsiteY16" fmla="*/ 6421900 h 6885758"/>
              <a:gd name="connsiteX17" fmla="*/ 4855070 w 6087079"/>
              <a:gd name="connsiteY17" fmla="*/ 6430106 h 6885758"/>
              <a:gd name="connsiteX18" fmla="*/ 4852153 w 6087079"/>
              <a:gd name="connsiteY18" fmla="*/ 6437401 h 6885758"/>
              <a:gd name="connsiteX19" fmla="*/ 4847594 w 6087079"/>
              <a:gd name="connsiteY19" fmla="*/ 6444148 h 6885758"/>
              <a:gd name="connsiteX20" fmla="*/ 4842487 w 6087079"/>
              <a:gd name="connsiteY20" fmla="*/ 6450166 h 6885758"/>
              <a:gd name="connsiteX21" fmla="*/ 4835740 w 6087079"/>
              <a:gd name="connsiteY21" fmla="*/ 6454543 h 6885758"/>
              <a:gd name="connsiteX22" fmla="*/ 4827716 w 6087079"/>
              <a:gd name="connsiteY22" fmla="*/ 6457460 h 6885758"/>
              <a:gd name="connsiteX23" fmla="*/ 4818781 w 6087079"/>
              <a:gd name="connsiteY23" fmla="*/ 6458190 h 6885758"/>
              <a:gd name="connsiteX24" fmla="*/ 4814951 w 6087079"/>
              <a:gd name="connsiteY24" fmla="*/ 6458190 h 6885758"/>
              <a:gd name="connsiteX25" fmla="*/ 4812033 w 6087079"/>
              <a:gd name="connsiteY25" fmla="*/ 6457460 h 6885758"/>
              <a:gd name="connsiteX26" fmla="*/ 4809115 w 6087079"/>
              <a:gd name="connsiteY26" fmla="*/ 6456731 h 6885758"/>
              <a:gd name="connsiteX27" fmla="*/ 4806198 w 6087079"/>
              <a:gd name="connsiteY27" fmla="*/ 6456001 h 6885758"/>
              <a:gd name="connsiteX28" fmla="*/ 4803097 w 6087079"/>
              <a:gd name="connsiteY28" fmla="*/ 6454543 h 6885758"/>
              <a:gd name="connsiteX29" fmla="*/ 4800180 w 6087079"/>
              <a:gd name="connsiteY29" fmla="*/ 6452354 h 6885758"/>
              <a:gd name="connsiteX30" fmla="*/ 4797991 w 6087079"/>
              <a:gd name="connsiteY30" fmla="*/ 6450895 h 6885758"/>
              <a:gd name="connsiteX31" fmla="*/ 4795074 w 6087079"/>
              <a:gd name="connsiteY31" fmla="*/ 6448525 h 6885758"/>
              <a:gd name="connsiteX32" fmla="*/ 4791973 w 6087079"/>
              <a:gd name="connsiteY32" fmla="*/ 6445607 h 6885758"/>
              <a:gd name="connsiteX33" fmla="*/ 4789785 w 6087079"/>
              <a:gd name="connsiteY33" fmla="*/ 6441230 h 6885758"/>
              <a:gd name="connsiteX34" fmla="*/ 4787597 w 6087079"/>
              <a:gd name="connsiteY34" fmla="*/ 6437401 h 6885758"/>
              <a:gd name="connsiteX35" fmla="*/ 4786138 w 6087079"/>
              <a:gd name="connsiteY35" fmla="*/ 6433024 h 6885758"/>
              <a:gd name="connsiteX36" fmla="*/ 4784679 w 6087079"/>
              <a:gd name="connsiteY36" fmla="*/ 6428647 h 6885758"/>
              <a:gd name="connsiteX37" fmla="*/ 4783220 w 6087079"/>
              <a:gd name="connsiteY37" fmla="*/ 6424088 h 6885758"/>
              <a:gd name="connsiteX38" fmla="*/ 4783220 w 6087079"/>
              <a:gd name="connsiteY38" fmla="*/ 6418982 h 6885758"/>
              <a:gd name="connsiteX39" fmla="*/ 4782308 w 6087079"/>
              <a:gd name="connsiteY39" fmla="*/ 6413694 h 6885758"/>
              <a:gd name="connsiteX40" fmla="*/ 4783220 w 6087079"/>
              <a:gd name="connsiteY40" fmla="*/ 6404940 h 6885758"/>
              <a:gd name="connsiteX41" fmla="*/ 4784679 w 6087079"/>
              <a:gd name="connsiteY41" fmla="*/ 6396734 h 6885758"/>
              <a:gd name="connsiteX42" fmla="*/ 4786867 w 6087079"/>
              <a:gd name="connsiteY42" fmla="*/ 6388528 h 6885758"/>
              <a:gd name="connsiteX43" fmla="*/ 4790515 w 6087079"/>
              <a:gd name="connsiteY43" fmla="*/ 6381051 h 6885758"/>
              <a:gd name="connsiteX44" fmla="*/ 4795803 w 6087079"/>
              <a:gd name="connsiteY44" fmla="*/ 6374486 h 6885758"/>
              <a:gd name="connsiteX45" fmla="*/ 4802368 w 6087079"/>
              <a:gd name="connsiteY45" fmla="*/ 6369927 h 6885758"/>
              <a:gd name="connsiteX46" fmla="*/ 4809845 w 6087079"/>
              <a:gd name="connsiteY46" fmla="*/ 6367009 h 6885758"/>
              <a:gd name="connsiteX47" fmla="*/ 4898107 w 6087079"/>
              <a:gd name="connsiteY47" fmla="*/ 6347861 h 6885758"/>
              <a:gd name="connsiteX48" fmla="*/ 4898107 w 6087079"/>
              <a:gd name="connsiteY48" fmla="*/ 6478249 h 6885758"/>
              <a:gd name="connsiteX49" fmla="*/ 4921814 w 6087079"/>
              <a:gd name="connsiteY49" fmla="*/ 6478249 h 6885758"/>
              <a:gd name="connsiteX50" fmla="*/ 4921814 w 6087079"/>
              <a:gd name="connsiteY50" fmla="*/ 6389987 h 6885758"/>
              <a:gd name="connsiteX51" fmla="*/ 4977434 w 6087079"/>
              <a:gd name="connsiteY51" fmla="*/ 6478249 h 6885758"/>
              <a:gd name="connsiteX52" fmla="*/ 5001141 w 6087079"/>
              <a:gd name="connsiteY52" fmla="*/ 6478249 h 6885758"/>
              <a:gd name="connsiteX53" fmla="*/ 5001141 w 6087079"/>
              <a:gd name="connsiteY53" fmla="*/ 6347861 h 6885758"/>
              <a:gd name="connsiteX54" fmla="*/ 4977434 w 6087079"/>
              <a:gd name="connsiteY54" fmla="*/ 6347861 h 6885758"/>
              <a:gd name="connsiteX55" fmla="*/ 4977434 w 6087079"/>
              <a:gd name="connsiteY55" fmla="*/ 6434483 h 6885758"/>
              <a:gd name="connsiteX56" fmla="*/ 4921814 w 6087079"/>
              <a:gd name="connsiteY56" fmla="*/ 6347861 h 6885758"/>
              <a:gd name="connsiteX57" fmla="*/ 4528828 w 6087079"/>
              <a:gd name="connsiteY57" fmla="*/ 6347861 h 6885758"/>
              <a:gd name="connsiteX58" fmla="*/ 4528828 w 6087079"/>
              <a:gd name="connsiteY58" fmla="*/ 6408587 h 6885758"/>
              <a:gd name="connsiteX59" fmla="*/ 4551805 w 6087079"/>
              <a:gd name="connsiteY59" fmla="*/ 6478978 h 6885758"/>
              <a:gd name="connsiteX60" fmla="*/ 4625114 w 6087079"/>
              <a:gd name="connsiteY60" fmla="*/ 6478978 h 6885758"/>
              <a:gd name="connsiteX61" fmla="*/ 4625114 w 6087079"/>
              <a:gd name="connsiteY61" fmla="*/ 6456001 h 6885758"/>
              <a:gd name="connsiteX62" fmla="*/ 4551805 w 6087079"/>
              <a:gd name="connsiteY62" fmla="*/ 6456001 h 6885758"/>
              <a:gd name="connsiteX63" fmla="*/ 4551805 w 6087079"/>
              <a:gd name="connsiteY63" fmla="*/ 6419711 h 6885758"/>
              <a:gd name="connsiteX64" fmla="*/ 4603596 w 6087079"/>
              <a:gd name="connsiteY64" fmla="*/ 6419711 h 6885758"/>
              <a:gd name="connsiteX65" fmla="*/ 4603596 w 6087079"/>
              <a:gd name="connsiteY65" fmla="*/ 6397463 h 6885758"/>
              <a:gd name="connsiteX66" fmla="*/ 4551805 w 6087079"/>
              <a:gd name="connsiteY66" fmla="*/ 6397463 h 6885758"/>
              <a:gd name="connsiteX67" fmla="*/ 4551805 w 6087079"/>
              <a:gd name="connsiteY67" fmla="*/ 6369197 h 6885758"/>
              <a:gd name="connsiteX68" fmla="*/ 4620737 w 6087079"/>
              <a:gd name="connsiteY68" fmla="*/ 6369197 h 6885758"/>
              <a:gd name="connsiteX69" fmla="*/ 4620737 w 6087079"/>
              <a:gd name="connsiteY69" fmla="*/ 6347861 h 6885758"/>
              <a:gd name="connsiteX70" fmla="*/ 4688210 w 6087079"/>
              <a:gd name="connsiteY70" fmla="*/ 6344031 h 6885758"/>
              <a:gd name="connsiteX71" fmla="*/ 4677086 w 6087079"/>
              <a:gd name="connsiteY71" fmla="*/ 6345490 h 6885758"/>
              <a:gd name="connsiteX72" fmla="*/ 4666692 w 6087079"/>
              <a:gd name="connsiteY72" fmla="*/ 6348590 h 6885758"/>
              <a:gd name="connsiteX73" fmla="*/ 4656297 w 6087079"/>
              <a:gd name="connsiteY73" fmla="*/ 6353696 h 6885758"/>
              <a:gd name="connsiteX74" fmla="*/ 4646632 w 6087079"/>
              <a:gd name="connsiteY74" fmla="*/ 6360444 h 6885758"/>
              <a:gd name="connsiteX75" fmla="*/ 4638608 w 6087079"/>
              <a:gd name="connsiteY75" fmla="*/ 6370838 h 6885758"/>
              <a:gd name="connsiteX76" fmla="*/ 4631861 w 6087079"/>
              <a:gd name="connsiteY76" fmla="*/ 6382692 h 6885758"/>
              <a:gd name="connsiteX77" fmla="*/ 4628214 w 6087079"/>
              <a:gd name="connsiteY77" fmla="*/ 6397463 h 6885758"/>
              <a:gd name="connsiteX78" fmla="*/ 4626755 w 6087079"/>
              <a:gd name="connsiteY78" fmla="*/ 6414423 h 6885758"/>
              <a:gd name="connsiteX79" fmla="*/ 4628214 w 6087079"/>
              <a:gd name="connsiteY79" fmla="*/ 6431565 h 6885758"/>
              <a:gd name="connsiteX80" fmla="*/ 4632591 w 6087079"/>
              <a:gd name="connsiteY80" fmla="*/ 6446336 h 6885758"/>
              <a:gd name="connsiteX81" fmla="*/ 4639338 w 6087079"/>
              <a:gd name="connsiteY81" fmla="*/ 6457460 h 6885758"/>
              <a:gd name="connsiteX82" fmla="*/ 4647362 w 6087079"/>
              <a:gd name="connsiteY82" fmla="*/ 6467125 h 6885758"/>
              <a:gd name="connsiteX83" fmla="*/ 4657027 w 6087079"/>
              <a:gd name="connsiteY83" fmla="*/ 6473872 h 6885758"/>
              <a:gd name="connsiteX84" fmla="*/ 4666692 w 6087079"/>
              <a:gd name="connsiteY84" fmla="*/ 6478249 h 6885758"/>
              <a:gd name="connsiteX85" fmla="*/ 4677816 w 6087079"/>
              <a:gd name="connsiteY85" fmla="*/ 6481167 h 6885758"/>
              <a:gd name="connsiteX86" fmla="*/ 4688210 w 6087079"/>
              <a:gd name="connsiteY86" fmla="*/ 6481896 h 6885758"/>
              <a:gd name="connsiteX87" fmla="*/ 4697146 w 6087079"/>
              <a:gd name="connsiteY87" fmla="*/ 6481167 h 6885758"/>
              <a:gd name="connsiteX88" fmla="*/ 4704623 w 6087079"/>
              <a:gd name="connsiteY88" fmla="*/ 6479708 h 6885758"/>
              <a:gd name="connsiteX89" fmla="*/ 4710458 w 6087079"/>
              <a:gd name="connsiteY89" fmla="*/ 6477520 h 6885758"/>
              <a:gd name="connsiteX90" fmla="*/ 4714835 w 6087079"/>
              <a:gd name="connsiteY90" fmla="*/ 6474602 h 6885758"/>
              <a:gd name="connsiteX91" fmla="*/ 4717935 w 6087079"/>
              <a:gd name="connsiteY91" fmla="*/ 6471502 h 6885758"/>
              <a:gd name="connsiteX92" fmla="*/ 4720853 w 6087079"/>
              <a:gd name="connsiteY92" fmla="*/ 6469313 h 6885758"/>
              <a:gd name="connsiteX93" fmla="*/ 4721582 w 6087079"/>
              <a:gd name="connsiteY93" fmla="*/ 6467854 h 6885758"/>
              <a:gd name="connsiteX94" fmla="*/ 4721582 w 6087079"/>
              <a:gd name="connsiteY94" fmla="*/ 6478978 h 6885758"/>
              <a:gd name="connsiteX95" fmla="*/ 4742371 w 6087079"/>
              <a:gd name="connsiteY95" fmla="*/ 6478978 h 6885758"/>
              <a:gd name="connsiteX96" fmla="*/ 4742371 w 6087079"/>
              <a:gd name="connsiteY96" fmla="*/ 6407128 h 6885758"/>
              <a:gd name="connsiteX97" fmla="*/ 4688940 w 6087079"/>
              <a:gd name="connsiteY97" fmla="*/ 6407128 h 6885758"/>
              <a:gd name="connsiteX98" fmla="*/ 4688940 w 6087079"/>
              <a:gd name="connsiteY98" fmla="*/ 6429376 h 6885758"/>
              <a:gd name="connsiteX99" fmla="*/ 4720853 w 6087079"/>
              <a:gd name="connsiteY99" fmla="*/ 6429376 h 6885758"/>
              <a:gd name="connsiteX100" fmla="*/ 4720123 w 6087079"/>
              <a:gd name="connsiteY100" fmla="*/ 6435212 h 6885758"/>
              <a:gd name="connsiteX101" fmla="*/ 4718664 w 6087079"/>
              <a:gd name="connsiteY101" fmla="*/ 6440500 h 6885758"/>
              <a:gd name="connsiteX102" fmla="*/ 4715746 w 6087079"/>
              <a:gd name="connsiteY102" fmla="*/ 6445606 h 6885758"/>
              <a:gd name="connsiteX103" fmla="*/ 4711917 w 6087079"/>
              <a:gd name="connsiteY103" fmla="*/ 6450165 h 6885758"/>
              <a:gd name="connsiteX104" fmla="*/ 4707540 w 6087079"/>
              <a:gd name="connsiteY104" fmla="*/ 6453813 h 6885758"/>
              <a:gd name="connsiteX105" fmla="*/ 4702252 w 6087079"/>
              <a:gd name="connsiteY105" fmla="*/ 6456001 h 6885758"/>
              <a:gd name="connsiteX106" fmla="*/ 4695687 w 6087079"/>
              <a:gd name="connsiteY106" fmla="*/ 6458189 h 6885758"/>
              <a:gd name="connsiteX107" fmla="*/ 4688940 w 6087079"/>
              <a:gd name="connsiteY107" fmla="*/ 6458919 h 6885758"/>
              <a:gd name="connsiteX108" fmla="*/ 4681463 w 6087079"/>
              <a:gd name="connsiteY108" fmla="*/ 6458189 h 6885758"/>
              <a:gd name="connsiteX109" fmla="*/ 4674898 w 6087079"/>
              <a:gd name="connsiteY109" fmla="*/ 6456001 h 6885758"/>
              <a:gd name="connsiteX110" fmla="*/ 4668880 w 6087079"/>
              <a:gd name="connsiteY110" fmla="*/ 6453083 h 6885758"/>
              <a:gd name="connsiteX111" fmla="*/ 4663045 w 6087079"/>
              <a:gd name="connsiteY111" fmla="*/ 6447795 h 6885758"/>
              <a:gd name="connsiteX112" fmla="*/ 4658486 w 6087079"/>
              <a:gd name="connsiteY112" fmla="*/ 6441959 h 6885758"/>
              <a:gd name="connsiteX113" fmla="*/ 4654838 w 6087079"/>
              <a:gd name="connsiteY113" fmla="*/ 6434482 h 6885758"/>
              <a:gd name="connsiteX114" fmla="*/ 4652650 w 6087079"/>
              <a:gd name="connsiteY114" fmla="*/ 6424817 h 6885758"/>
              <a:gd name="connsiteX115" fmla="*/ 4651921 w 6087079"/>
              <a:gd name="connsiteY115" fmla="*/ 6414423 h 6885758"/>
              <a:gd name="connsiteX116" fmla="*/ 4652650 w 6087079"/>
              <a:gd name="connsiteY116" fmla="*/ 6404028 h 6885758"/>
              <a:gd name="connsiteX117" fmla="*/ 4654109 w 6087079"/>
              <a:gd name="connsiteY117" fmla="*/ 6394545 h 6885758"/>
              <a:gd name="connsiteX118" fmla="*/ 4657027 w 6087079"/>
              <a:gd name="connsiteY118" fmla="*/ 6386339 h 6885758"/>
              <a:gd name="connsiteX119" fmla="*/ 4661586 w 6087079"/>
              <a:gd name="connsiteY119" fmla="*/ 6379592 h 6885758"/>
              <a:gd name="connsiteX120" fmla="*/ 4666692 w 6087079"/>
              <a:gd name="connsiteY120" fmla="*/ 6374486 h 6885758"/>
              <a:gd name="connsiteX121" fmla="*/ 4673439 w 6087079"/>
              <a:gd name="connsiteY121" fmla="*/ 6369927 h 6885758"/>
              <a:gd name="connsiteX122" fmla="*/ 4680733 w 6087079"/>
              <a:gd name="connsiteY122" fmla="*/ 6367009 h 6885758"/>
              <a:gd name="connsiteX123" fmla="*/ 4688940 w 6087079"/>
              <a:gd name="connsiteY123" fmla="*/ 6367009 h 6885758"/>
              <a:gd name="connsiteX124" fmla="*/ 4697146 w 6087079"/>
              <a:gd name="connsiteY124" fmla="*/ 6367738 h 6885758"/>
              <a:gd name="connsiteX125" fmla="*/ 4703711 w 6087079"/>
              <a:gd name="connsiteY125" fmla="*/ 6370838 h 6885758"/>
              <a:gd name="connsiteX126" fmla="*/ 4708999 w 6087079"/>
              <a:gd name="connsiteY126" fmla="*/ 6374486 h 6885758"/>
              <a:gd name="connsiteX127" fmla="*/ 4713376 w 6087079"/>
              <a:gd name="connsiteY127" fmla="*/ 6378862 h 6885758"/>
              <a:gd name="connsiteX128" fmla="*/ 4717205 w 6087079"/>
              <a:gd name="connsiteY128" fmla="*/ 6383421 h 6885758"/>
              <a:gd name="connsiteX129" fmla="*/ 4718664 w 6087079"/>
              <a:gd name="connsiteY129" fmla="*/ 6387068 h 6885758"/>
              <a:gd name="connsiteX130" fmla="*/ 4720123 w 6087079"/>
              <a:gd name="connsiteY130" fmla="*/ 6389986 h 6885758"/>
              <a:gd name="connsiteX131" fmla="*/ 4720853 w 6087079"/>
              <a:gd name="connsiteY131" fmla="*/ 6391445 h 6885758"/>
              <a:gd name="connsiteX132" fmla="*/ 4741642 w 6087079"/>
              <a:gd name="connsiteY132" fmla="*/ 6380321 h 6885758"/>
              <a:gd name="connsiteX133" fmla="*/ 4738724 w 6087079"/>
              <a:gd name="connsiteY133" fmla="*/ 6373027 h 6885758"/>
              <a:gd name="connsiteX134" fmla="*/ 4734165 w 6087079"/>
              <a:gd name="connsiteY134" fmla="*/ 6366279 h 6885758"/>
              <a:gd name="connsiteX135" fmla="*/ 4728329 w 6087079"/>
              <a:gd name="connsiteY135" fmla="*/ 6360444 h 6885758"/>
              <a:gd name="connsiteX136" fmla="*/ 4721582 w 6087079"/>
              <a:gd name="connsiteY136" fmla="*/ 6354426 h 6885758"/>
              <a:gd name="connsiteX137" fmla="*/ 4714105 w 6087079"/>
              <a:gd name="connsiteY137" fmla="*/ 6350779 h 6885758"/>
              <a:gd name="connsiteX138" fmla="*/ 4706081 w 6087079"/>
              <a:gd name="connsiteY138" fmla="*/ 6346949 h 6885758"/>
              <a:gd name="connsiteX139" fmla="*/ 4697146 w 6087079"/>
              <a:gd name="connsiteY139" fmla="*/ 6344761 h 6885758"/>
              <a:gd name="connsiteX140" fmla="*/ 4819510 w 6087079"/>
              <a:gd name="connsiteY140" fmla="*/ 6343302 h 6885758"/>
              <a:gd name="connsiteX141" fmla="*/ 4807657 w 6087079"/>
              <a:gd name="connsiteY141" fmla="*/ 6344032 h 6885758"/>
              <a:gd name="connsiteX142" fmla="*/ 4795803 w 6087079"/>
              <a:gd name="connsiteY142" fmla="*/ 6347861 h 6885758"/>
              <a:gd name="connsiteX143" fmla="*/ 4785408 w 6087079"/>
              <a:gd name="connsiteY143" fmla="*/ 6352967 h 6885758"/>
              <a:gd name="connsiteX144" fmla="*/ 4775743 w 6087079"/>
              <a:gd name="connsiteY144" fmla="*/ 6360444 h 6885758"/>
              <a:gd name="connsiteX145" fmla="*/ 4768267 w 6087079"/>
              <a:gd name="connsiteY145" fmla="*/ 6370839 h 6885758"/>
              <a:gd name="connsiteX146" fmla="*/ 4762431 w 6087079"/>
              <a:gd name="connsiteY146" fmla="*/ 6382692 h 6885758"/>
              <a:gd name="connsiteX147" fmla="*/ 4758601 w 6087079"/>
              <a:gd name="connsiteY147" fmla="*/ 6396734 h 6885758"/>
              <a:gd name="connsiteX148" fmla="*/ 4757872 w 6087079"/>
              <a:gd name="connsiteY148" fmla="*/ 6412964 h 6885758"/>
              <a:gd name="connsiteX149" fmla="*/ 4757872 w 6087079"/>
              <a:gd name="connsiteY149" fmla="*/ 6423359 h 6885758"/>
              <a:gd name="connsiteX150" fmla="*/ 4759331 w 6087079"/>
              <a:gd name="connsiteY150" fmla="*/ 6432294 h 6885758"/>
              <a:gd name="connsiteX151" fmla="*/ 4761702 w 6087079"/>
              <a:gd name="connsiteY151" fmla="*/ 6441230 h 6885758"/>
              <a:gd name="connsiteX152" fmla="*/ 4765349 w 6087079"/>
              <a:gd name="connsiteY152" fmla="*/ 6448525 h 6885758"/>
              <a:gd name="connsiteX153" fmla="*/ 4768996 w 6087079"/>
              <a:gd name="connsiteY153" fmla="*/ 6455272 h 6885758"/>
              <a:gd name="connsiteX154" fmla="*/ 4774284 w 6087079"/>
              <a:gd name="connsiteY154" fmla="*/ 6462019 h 6885758"/>
              <a:gd name="connsiteX155" fmla="*/ 4779391 w 6087079"/>
              <a:gd name="connsiteY155" fmla="*/ 6467125 h 6885758"/>
              <a:gd name="connsiteX156" fmla="*/ 4785408 w 6087079"/>
              <a:gd name="connsiteY156" fmla="*/ 6471502 h 6885758"/>
              <a:gd name="connsiteX157" fmla="*/ 4789056 w 6087079"/>
              <a:gd name="connsiteY157" fmla="*/ 6473873 h 6885758"/>
              <a:gd name="connsiteX158" fmla="*/ 4792703 w 6087079"/>
              <a:gd name="connsiteY158" fmla="*/ 6475332 h 6885758"/>
              <a:gd name="connsiteX159" fmla="*/ 4797262 w 6087079"/>
              <a:gd name="connsiteY159" fmla="*/ 6477520 h 6885758"/>
              <a:gd name="connsiteX160" fmla="*/ 4801639 w 6087079"/>
              <a:gd name="connsiteY160" fmla="*/ 6478979 h 6885758"/>
              <a:gd name="connsiteX161" fmla="*/ 4806198 w 6087079"/>
              <a:gd name="connsiteY161" fmla="*/ 6479708 h 6885758"/>
              <a:gd name="connsiteX162" fmla="*/ 4810574 w 6087079"/>
              <a:gd name="connsiteY162" fmla="*/ 6480438 h 6885758"/>
              <a:gd name="connsiteX163" fmla="*/ 4814951 w 6087079"/>
              <a:gd name="connsiteY163" fmla="*/ 6481167 h 6885758"/>
              <a:gd name="connsiteX164" fmla="*/ 4819510 w 6087079"/>
              <a:gd name="connsiteY164" fmla="*/ 6481167 h 6885758"/>
              <a:gd name="connsiteX165" fmla="*/ 4832822 w 6087079"/>
              <a:gd name="connsiteY165" fmla="*/ 6479708 h 6885758"/>
              <a:gd name="connsiteX166" fmla="*/ 4845405 w 6087079"/>
              <a:gd name="connsiteY166" fmla="*/ 6476061 h 6885758"/>
              <a:gd name="connsiteX167" fmla="*/ 4855800 w 6087079"/>
              <a:gd name="connsiteY167" fmla="*/ 6470043 h 6885758"/>
              <a:gd name="connsiteX168" fmla="*/ 4864735 w 6087079"/>
              <a:gd name="connsiteY168" fmla="*/ 6462019 h 6885758"/>
              <a:gd name="connsiteX169" fmla="*/ 4872030 w 6087079"/>
              <a:gd name="connsiteY169" fmla="*/ 6452354 h 6885758"/>
              <a:gd name="connsiteX170" fmla="*/ 4878048 w 6087079"/>
              <a:gd name="connsiteY170" fmla="*/ 6441230 h 6885758"/>
              <a:gd name="connsiteX171" fmla="*/ 4880966 w 6087079"/>
              <a:gd name="connsiteY171" fmla="*/ 6427918 h 6885758"/>
              <a:gd name="connsiteX172" fmla="*/ 4881695 w 6087079"/>
              <a:gd name="connsiteY172" fmla="*/ 6412964 h 6885758"/>
              <a:gd name="connsiteX173" fmla="*/ 4880236 w 6087079"/>
              <a:gd name="connsiteY173" fmla="*/ 6396005 h 6885758"/>
              <a:gd name="connsiteX174" fmla="*/ 4875859 w 6087079"/>
              <a:gd name="connsiteY174" fmla="*/ 6381051 h 6885758"/>
              <a:gd name="connsiteX175" fmla="*/ 4869842 w 6087079"/>
              <a:gd name="connsiteY175" fmla="*/ 6369198 h 6885758"/>
              <a:gd name="connsiteX176" fmla="*/ 4860906 w 6087079"/>
              <a:gd name="connsiteY176" fmla="*/ 6359715 h 6885758"/>
              <a:gd name="connsiteX177" fmla="*/ 4852153 w 6087079"/>
              <a:gd name="connsiteY177" fmla="*/ 6352238 h 6885758"/>
              <a:gd name="connsiteX178" fmla="*/ 4841029 w 6087079"/>
              <a:gd name="connsiteY178" fmla="*/ 6346949 h 6885758"/>
              <a:gd name="connsiteX179" fmla="*/ 4829905 w 6087079"/>
              <a:gd name="connsiteY179" fmla="*/ 6344032 h 6885758"/>
              <a:gd name="connsiteX180" fmla="*/ 4494726 w 6087079"/>
              <a:gd name="connsiteY180" fmla="*/ 6308471 h 6885758"/>
              <a:gd name="connsiteX181" fmla="*/ 4307807 w 6087079"/>
              <a:gd name="connsiteY181" fmla="*/ 6369927 h 6885758"/>
              <a:gd name="connsiteX182" fmla="*/ 4369445 w 6087079"/>
              <a:gd name="connsiteY182" fmla="*/ 6558305 h 6885758"/>
              <a:gd name="connsiteX183" fmla="*/ 4533934 w 6087079"/>
              <a:gd name="connsiteY183" fmla="*/ 6504144 h 6885758"/>
              <a:gd name="connsiteX184" fmla="*/ 4519892 w 6087079"/>
              <a:gd name="connsiteY184" fmla="*/ 6458919 h 6885758"/>
              <a:gd name="connsiteX185" fmla="*/ 4467920 w 6087079"/>
              <a:gd name="connsiteY185" fmla="*/ 6458919 h 6885758"/>
              <a:gd name="connsiteX186" fmla="*/ 4462084 w 6087079"/>
              <a:gd name="connsiteY186" fmla="*/ 6479708 h 6885758"/>
              <a:gd name="connsiteX187" fmla="*/ 4435277 w 6087079"/>
              <a:gd name="connsiteY187" fmla="*/ 6479708 h 6885758"/>
              <a:gd name="connsiteX188" fmla="*/ 4479773 w 6087079"/>
              <a:gd name="connsiteY188" fmla="*/ 6346220 h 6885758"/>
              <a:gd name="connsiteX189" fmla="*/ 4507309 w 6087079"/>
              <a:gd name="connsiteY189" fmla="*/ 6346220 h 6885758"/>
              <a:gd name="connsiteX190" fmla="*/ 2353342 w 6087079"/>
              <a:gd name="connsiteY190" fmla="*/ 0 h 6885758"/>
              <a:gd name="connsiteX191" fmla="*/ 6077554 w 6087079"/>
              <a:gd name="connsiteY191" fmla="*/ 10395 h 6885758"/>
              <a:gd name="connsiteX192" fmla="*/ 6087079 w 6087079"/>
              <a:gd name="connsiteY192" fmla="*/ 4007761 h 6885758"/>
              <a:gd name="connsiteX193" fmla="*/ 5101422 w 6087079"/>
              <a:gd name="connsiteY193" fmla="*/ 6885758 h 6885758"/>
              <a:gd name="connsiteX194" fmla="*/ 0 w 6087079"/>
              <a:gd name="connsiteY194" fmla="*/ 6879986 h 68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6087079" h="6885758">
                <a:moveTo>
                  <a:pt x="4561470" y="6511621"/>
                </a:moveTo>
                <a:lnTo>
                  <a:pt x="4566576" y="6524933"/>
                </a:lnTo>
                <a:lnTo>
                  <a:pt x="4921085" y="6524933"/>
                </a:lnTo>
                <a:lnTo>
                  <a:pt x="4921085" y="6511621"/>
                </a:lnTo>
                <a:close/>
                <a:moveTo>
                  <a:pt x="4493268" y="6378133"/>
                </a:moveTo>
                <a:lnTo>
                  <a:pt x="4474667" y="6436671"/>
                </a:lnTo>
                <a:lnTo>
                  <a:pt x="4512416" y="6437400"/>
                </a:lnTo>
                <a:close/>
                <a:moveTo>
                  <a:pt x="4818781" y="6365550"/>
                </a:moveTo>
                <a:lnTo>
                  <a:pt x="4827716" y="6367009"/>
                </a:lnTo>
                <a:lnTo>
                  <a:pt x="4835740" y="6369927"/>
                </a:lnTo>
                <a:lnTo>
                  <a:pt x="4841758" y="6374486"/>
                </a:lnTo>
                <a:lnTo>
                  <a:pt x="4847594" y="6380322"/>
                </a:lnTo>
                <a:lnTo>
                  <a:pt x="4852153" y="6387798"/>
                </a:lnTo>
                <a:lnTo>
                  <a:pt x="4855070" y="6395275"/>
                </a:lnTo>
                <a:lnTo>
                  <a:pt x="4856529" y="6404028"/>
                </a:lnTo>
                <a:lnTo>
                  <a:pt x="4857259" y="6412964"/>
                </a:lnTo>
                <a:lnTo>
                  <a:pt x="4856529" y="6421900"/>
                </a:lnTo>
                <a:lnTo>
                  <a:pt x="4855070" y="6430106"/>
                </a:lnTo>
                <a:lnTo>
                  <a:pt x="4852153" y="6437401"/>
                </a:lnTo>
                <a:lnTo>
                  <a:pt x="4847594" y="6444148"/>
                </a:lnTo>
                <a:lnTo>
                  <a:pt x="4842487" y="6450166"/>
                </a:lnTo>
                <a:lnTo>
                  <a:pt x="4835740" y="6454543"/>
                </a:lnTo>
                <a:lnTo>
                  <a:pt x="4827716" y="6457460"/>
                </a:lnTo>
                <a:lnTo>
                  <a:pt x="4818781" y="6458190"/>
                </a:lnTo>
                <a:lnTo>
                  <a:pt x="4814951" y="6458190"/>
                </a:lnTo>
                <a:lnTo>
                  <a:pt x="4812033" y="6457460"/>
                </a:lnTo>
                <a:lnTo>
                  <a:pt x="4809115" y="6456731"/>
                </a:lnTo>
                <a:lnTo>
                  <a:pt x="4806198" y="6456001"/>
                </a:lnTo>
                <a:lnTo>
                  <a:pt x="4803097" y="6454543"/>
                </a:lnTo>
                <a:lnTo>
                  <a:pt x="4800180" y="6452354"/>
                </a:lnTo>
                <a:lnTo>
                  <a:pt x="4797991" y="6450895"/>
                </a:lnTo>
                <a:lnTo>
                  <a:pt x="4795074" y="6448525"/>
                </a:lnTo>
                <a:lnTo>
                  <a:pt x="4791973" y="6445607"/>
                </a:lnTo>
                <a:lnTo>
                  <a:pt x="4789785" y="6441230"/>
                </a:lnTo>
                <a:lnTo>
                  <a:pt x="4787597" y="6437401"/>
                </a:lnTo>
                <a:lnTo>
                  <a:pt x="4786138" y="6433024"/>
                </a:lnTo>
                <a:lnTo>
                  <a:pt x="4784679" y="6428647"/>
                </a:lnTo>
                <a:lnTo>
                  <a:pt x="4783220" y="6424088"/>
                </a:lnTo>
                <a:lnTo>
                  <a:pt x="4783220" y="6418982"/>
                </a:lnTo>
                <a:lnTo>
                  <a:pt x="4782308" y="6413694"/>
                </a:lnTo>
                <a:lnTo>
                  <a:pt x="4783220" y="6404940"/>
                </a:lnTo>
                <a:lnTo>
                  <a:pt x="4784679" y="6396734"/>
                </a:lnTo>
                <a:lnTo>
                  <a:pt x="4786867" y="6388528"/>
                </a:lnTo>
                <a:lnTo>
                  <a:pt x="4790515" y="6381051"/>
                </a:lnTo>
                <a:lnTo>
                  <a:pt x="4795803" y="6374486"/>
                </a:lnTo>
                <a:lnTo>
                  <a:pt x="4802368" y="6369927"/>
                </a:lnTo>
                <a:lnTo>
                  <a:pt x="4809845" y="6367009"/>
                </a:lnTo>
                <a:close/>
                <a:moveTo>
                  <a:pt x="4898107" y="6347861"/>
                </a:moveTo>
                <a:lnTo>
                  <a:pt x="4898107" y="6478249"/>
                </a:lnTo>
                <a:lnTo>
                  <a:pt x="4921814" y="6478249"/>
                </a:lnTo>
                <a:lnTo>
                  <a:pt x="4921814" y="6389987"/>
                </a:lnTo>
                <a:lnTo>
                  <a:pt x="4977434" y="6478249"/>
                </a:lnTo>
                <a:lnTo>
                  <a:pt x="5001141" y="6478249"/>
                </a:lnTo>
                <a:lnTo>
                  <a:pt x="5001141" y="6347861"/>
                </a:lnTo>
                <a:lnTo>
                  <a:pt x="4977434" y="6347861"/>
                </a:lnTo>
                <a:lnTo>
                  <a:pt x="4977434" y="6434483"/>
                </a:lnTo>
                <a:lnTo>
                  <a:pt x="4921814" y="6347861"/>
                </a:lnTo>
                <a:close/>
                <a:moveTo>
                  <a:pt x="4528828" y="6347861"/>
                </a:moveTo>
                <a:lnTo>
                  <a:pt x="4528828" y="6408587"/>
                </a:lnTo>
                <a:lnTo>
                  <a:pt x="4551805" y="6478978"/>
                </a:lnTo>
                <a:lnTo>
                  <a:pt x="4625114" y="6478978"/>
                </a:lnTo>
                <a:lnTo>
                  <a:pt x="4625114" y="6456001"/>
                </a:lnTo>
                <a:lnTo>
                  <a:pt x="4551805" y="6456001"/>
                </a:lnTo>
                <a:lnTo>
                  <a:pt x="4551805" y="6419711"/>
                </a:lnTo>
                <a:lnTo>
                  <a:pt x="4603596" y="6419711"/>
                </a:lnTo>
                <a:lnTo>
                  <a:pt x="4603596" y="6397463"/>
                </a:lnTo>
                <a:lnTo>
                  <a:pt x="4551805" y="6397463"/>
                </a:lnTo>
                <a:lnTo>
                  <a:pt x="4551805" y="6369197"/>
                </a:lnTo>
                <a:lnTo>
                  <a:pt x="4620737" y="6369197"/>
                </a:lnTo>
                <a:lnTo>
                  <a:pt x="4620737" y="6347861"/>
                </a:lnTo>
                <a:close/>
                <a:moveTo>
                  <a:pt x="4688210" y="6344031"/>
                </a:moveTo>
                <a:lnTo>
                  <a:pt x="4677086" y="6345490"/>
                </a:lnTo>
                <a:lnTo>
                  <a:pt x="4666692" y="6348590"/>
                </a:lnTo>
                <a:lnTo>
                  <a:pt x="4656297" y="6353696"/>
                </a:lnTo>
                <a:lnTo>
                  <a:pt x="4646632" y="6360444"/>
                </a:lnTo>
                <a:lnTo>
                  <a:pt x="4638608" y="6370838"/>
                </a:lnTo>
                <a:lnTo>
                  <a:pt x="4631861" y="6382692"/>
                </a:lnTo>
                <a:lnTo>
                  <a:pt x="4628214" y="6397463"/>
                </a:lnTo>
                <a:lnTo>
                  <a:pt x="4626755" y="6414423"/>
                </a:lnTo>
                <a:lnTo>
                  <a:pt x="4628214" y="6431565"/>
                </a:lnTo>
                <a:lnTo>
                  <a:pt x="4632591" y="6446336"/>
                </a:lnTo>
                <a:lnTo>
                  <a:pt x="4639338" y="6457460"/>
                </a:lnTo>
                <a:lnTo>
                  <a:pt x="4647362" y="6467125"/>
                </a:lnTo>
                <a:lnTo>
                  <a:pt x="4657027" y="6473872"/>
                </a:lnTo>
                <a:lnTo>
                  <a:pt x="4666692" y="6478249"/>
                </a:lnTo>
                <a:lnTo>
                  <a:pt x="4677816" y="6481167"/>
                </a:lnTo>
                <a:lnTo>
                  <a:pt x="4688210" y="6481896"/>
                </a:lnTo>
                <a:lnTo>
                  <a:pt x="4697146" y="6481167"/>
                </a:lnTo>
                <a:lnTo>
                  <a:pt x="4704623" y="6479708"/>
                </a:lnTo>
                <a:lnTo>
                  <a:pt x="4710458" y="6477520"/>
                </a:lnTo>
                <a:lnTo>
                  <a:pt x="4714835" y="6474602"/>
                </a:lnTo>
                <a:lnTo>
                  <a:pt x="4717935" y="6471502"/>
                </a:lnTo>
                <a:lnTo>
                  <a:pt x="4720853" y="6469313"/>
                </a:lnTo>
                <a:lnTo>
                  <a:pt x="4721582" y="6467854"/>
                </a:lnTo>
                <a:lnTo>
                  <a:pt x="4721582" y="6478978"/>
                </a:lnTo>
                <a:lnTo>
                  <a:pt x="4742371" y="6478978"/>
                </a:lnTo>
                <a:lnTo>
                  <a:pt x="4742371" y="6407128"/>
                </a:lnTo>
                <a:lnTo>
                  <a:pt x="4688940" y="6407128"/>
                </a:lnTo>
                <a:lnTo>
                  <a:pt x="4688940" y="6429376"/>
                </a:lnTo>
                <a:lnTo>
                  <a:pt x="4720853" y="6429376"/>
                </a:lnTo>
                <a:lnTo>
                  <a:pt x="4720123" y="6435212"/>
                </a:lnTo>
                <a:lnTo>
                  <a:pt x="4718664" y="6440500"/>
                </a:lnTo>
                <a:lnTo>
                  <a:pt x="4715746" y="6445606"/>
                </a:lnTo>
                <a:lnTo>
                  <a:pt x="4711917" y="6450165"/>
                </a:lnTo>
                <a:lnTo>
                  <a:pt x="4707540" y="6453813"/>
                </a:lnTo>
                <a:lnTo>
                  <a:pt x="4702252" y="6456001"/>
                </a:lnTo>
                <a:lnTo>
                  <a:pt x="4695687" y="6458189"/>
                </a:lnTo>
                <a:lnTo>
                  <a:pt x="4688940" y="6458919"/>
                </a:lnTo>
                <a:lnTo>
                  <a:pt x="4681463" y="6458189"/>
                </a:lnTo>
                <a:lnTo>
                  <a:pt x="4674898" y="6456001"/>
                </a:lnTo>
                <a:lnTo>
                  <a:pt x="4668880" y="6453083"/>
                </a:lnTo>
                <a:lnTo>
                  <a:pt x="4663045" y="6447795"/>
                </a:lnTo>
                <a:lnTo>
                  <a:pt x="4658486" y="6441959"/>
                </a:lnTo>
                <a:lnTo>
                  <a:pt x="4654838" y="6434482"/>
                </a:lnTo>
                <a:lnTo>
                  <a:pt x="4652650" y="6424817"/>
                </a:lnTo>
                <a:lnTo>
                  <a:pt x="4651921" y="6414423"/>
                </a:lnTo>
                <a:lnTo>
                  <a:pt x="4652650" y="6404028"/>
                </a:lnTo>
                <a:lnTo>
                  <a:pt x="4654109" y="6394545"/>
                </a:lnTo>
                <a:lnTo>
                  <a:pt x="4657027" y="6386339"/>
                </a:lnTo>
                <a:lnTo>
                  <a:pt x="4661586" y="6379592"/>
                </a:lnTo>
                <a:lnTo>
                  <a:pt x="4666692" y="6374486"/>
                </a:lnTo>
                <a:lnTo>
                  <a:pt x="4673439" y="6369927"/>
                </a:lnTo>
                <a:lnTo>
                  <a:pt x="4680733" y="6367009"/>
                </a:lnTo>
                <a:lnTo>
                  <a:pt x="4688940" y="6367009"/>
                </a:lnTo>
                <a:lnTo>
                  <a:pt x="4697146" y="6367738"/>
                </a:lnTo>
                <a:lnTo>
                  <a:pt x="4703711" y="6370838"/>
                </a:lnTo>
                <a:lnTo>
                  <a:pt x="4708999" y="6374486"/>
                </a:lnTo>
                <a:lnTo>
                  <a:pt x="4713376" y="6378862"/>
                </a:lnTo>
                <a:lnTo>
                  <a:pt x="4717205" y="6383421"/>
                </a:lnTo>
                <a:lnTo>
                  <a:pt x="4718664" y="6387068"/>
                </a:lnTo>
                <a:lnTo>
                  <a:pt x="4720123" y="6389986"/>
                </a:lnTo>
                <a:lnTo>
                  <a:pt x="4720853" y="6391445"/>
                </a:lnTo>
                <a:lnTo>
                  <a:pt x="4741642" y="6380321"/>
                </a:lnTo>
                <a:lnTo>
                  <a:pt x="4738724" y="6373027"/>
                </a:lnTo>
                <a:lnTo>
                  <a:pt x="4734165" y="6366279"/>
                </a:lnTo>
                <a:lnTo>
                  <a:pt x="4728329" y="6360444"/>
                </a:lnTo>
                <a:lnTo>
                  <a:pt x="4721582" y="6354426"/>
                </a:lnTo>
                <a:lnTo>
                  <a:pt x="4714105" y="6350779"/>
                </a:lnTo>
                <a:lnTo>
                  <a:pt x="4706081" y="6346949"/>
                </a:lnTo>
                <a:lnTo>
                  <a:pt x="4697146" y="6344761"/>
                </a:lnTo>
                <a:close/>
                <a:moveTo>
                  <a:pt x="4819510" y="6343302"/>
                </a:moveTo>
                <a:lnTo>
                  <a:pt x="4807657" y="6344032"/>
                </a:lnTo>
                <a:lnTo>
                  <a:pt x="4795803" y="6347861"/>
                </a:lnTo>
                <a:lnTo>
                  <a:pt x="4785408" y="6352967"/>
                </a:lnTo>
                <a:lnTo>
                  <a:pt x="4775743" y="6360444"/>
                </a:lnTo>
                <a:lnTo>
                  <a:pt x="4768267" y="6370839"/>
                </a:lnTo>
                <a:lnTo>
                  <a:pt x="4762431" y="6382692"/>
                </a:lnTo>
                <a:lnTo>
                  <a:pt x="4758601" y="6396734"/>
                </a:lnTo>
                <a:lnTo>
                  <a:pt x="4757872" y="6412964"/>
                </a:lnTo>
                <a:lnTo>
                  <a:pt x="4757872" y="6423359"/>
                </a:lnTo>
                <a:lnTo>
                  <a:pt x="4759331" y="6432294"/>
                </a:lnTo>
                <a:lnTo>
                  <a:pt x="4761702" y="6441230"/>
                </a:lnTo>
                <a:lnTo>
                  <a:pt x="4765349" y="6448525"/>
                </a:lnTo>
                <a:lnTo>
                  <a:pt x="4768996" y="6455272"/>
                </a:lnTo>
                <a:lnTo>
                  <a:pt x="4774284" y="6462019"/>
                </a:lnTo>
                <a:lnTo>
                  <a:pt x="4779391" y="6467125"/>
                </a:lnTo>
                <a:lnTo>
                  <a:pt x="4785408" y="6471502"/>
                </a:lnTo>
                <a:lnTo>
                  <a:pt x="4789056" y="6473873"/>
                </a:lnTo>
                <a:lnTo>
                  <a:pt x="4792703" y="6475332"/>
                </a:lnTo>
                <a:lnTo>
                  <a:pt x="4797262" y="6477520"/>
                </a:lnTo>
                <a:lnTo>
                  <a:pt x="4801639" y="6478979"/>
                </a:lnTo>
                <a:lnTo>
                  <a:pt x="4806198" y="6479708"/>
                </a:lnTo>
                <a:lnTo>
                  <a:pt x="4810574" y="6480438"/>
                </a:lnTo>
                <a:lnTo>
                  <a:pt x="4814951" y="6481167"/>
                </a:lnTo>
                <a:lnTo>
                  <a:pt x="4819510" y="6481167"/>
                </a:lnTo>
                <a:lnTo>
                  <a:pt x="4832822" y="6479708"/>
                </a:lnTo>
                <a:lnTo>
                  <a:pt x="4845405" y="6476061"/>
                </a:lnTo>
                <a:lnTo>
                  <a:pt x="4855800" y="6470043"/>
                </a:lnTo>
                <a:lnTo>
                  <a:pt x="4864735" y="6462019"/>
                </a:lnTo>
                <a:lnTo>
                  <a:pt x="4872030" y="6452354"/>
                </a:lnTo>
                <a:lnTo>
                  <a:pt x="4878048" y="6441230"/>
                </a:lnTo>
                <a:lnTo>
                  <a:pt x="4880966" y="6427918"/>
                </a:lnTo>
                <a:lnTo>
                  <a:pt x="4881695" y="6412964"/>
                </a:lnTo>
                <a:lnTo>
                  <a:pt x="4880236" y="6396005"/>
                </a:lnTo>
                <a:lnTo>
                  <a:pt x="4875859" y="6381051"/>
                </a:lnTo>
                <a:lnTo>
                  <a:pt x="4869842" y="6369198"/>
                </a:lnTo>
                <a:lnTo>
                  <a:pt x="4860906" y="6359715"/>
                </a:lnTo>
                <a:lnTo>
                  <a:pt x="4852153" y="6352238"/>
                </a:lnTo>
                <a:lnTo>
                  <a:pt x="4841029" y="6346949"/>
                </a:lnTo>
                <a:lnTo>
                  <a:pt x="4829905" y="6344032"/>
                </a:lnTo>
                <a:close/>
                <a:moveTo>
                  <a:pt x="4494726" y="6308471"/>
                </a:moveTo>
                <a:lnTo>
                  <a:pt x="4307807" y="6369927"/>
                </a:lnTo>
                <a:lnTo>
                  <a:pt x="4369445" y="6558305"/>
                </a:lnTo>
                <a:lnTo>
                  <a:pt x="4533934" y="6504144"/>
                </a:lnTo>
                <a:lnTo>
                  <a:pt x="4519892" y="6458919"/>
                </a:lnTo>
                <a:lnTo>
                  <a:pt x="4467920" y="6458919"/>
                </a:lnTo>
                <a:lnTo>
                  <a:pt x="4462084" y="6479708"/>
                </a:lnTo>
                <a:lnTo>
                  <a:pt x="4435277" y="6479708"/>
                </a:lnTo>
                <a:lnTo>
                  <a:pt x="4479773" y="6346220"/>
                </a:lnTo>
                <a:lnTo>
                  <a:pt x="4507309" y="6346220"/>
                </a:lnTo>
                <a:close/>
                <a:moveTo>
                  <a:pt x="2353342" y="0"/>
                </a:moveTo>
                <a:lnTo>
                  <a:pt x="6077554" y="10395"/>
                </a:lnTo>
                <a:lnTo>
                  <a:pt x="6087079" y="4007761"/>
                </a:lnTo>
                <a:lnTo>
                  <a:pt x="5101422" y="6885758"/>
                </a:lnTo>
                <a:lnTo>
                  <a:pt x="0" y="6879986"/>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a:lvl1pPr>
          </a:lstStyle>
          <a:p>
            <a:pPr marL="228600" lvl="0" indent="-228600" algn="ctr"/>
            <a:r>
              <a:rPr lang="en-US" noProof="0"/>
              <a:t>Click icon to insert an image</a:t>
            </a:r>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7143071"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5511603"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6955681"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6735762"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3723821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7502678"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pic>
        <p:nvPicPr>
          <p:cNvPr id="8" name="Picture 7" descr="Android.png">
            <a:extLst>
              <a:ext uri="{FF2B5EF4-FFF2-40B4-BE49-F238E27FC236}">
                <a16:creationId xmlns:a16="http://schemas.microsoft.com/office/drawing/2014/main" id="{697FABA5-4118-4203-BA93-DBCD7FC450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5" name="Picture Placeholder 4">
            <a:extLst>
              <a:ext uri="{FF2B5EF4-FFF2-40B4-BE49-F238E27FC236}">
                <a16:creationId xmlns:a16="http://schemas.microsoft.com/office/drawing/2014/main" id="{10B00AF0-3BFA-4AC7-AB36-69D01C90D683}"/>
              </a:ext>
            </a:extLst>
          </p:cNvPr>
          <p:cNvSpPr>
            <a:spLocks noGrp="1"/>
          </p:cNvSpPr>
          <p:nvPr>
            <p:ph type="pic" sz="quarter" idx="14" hasCustomPrompt="1"/>
          </p:nvPr>
        </p:nvSpPr>
        <p:spPr>
          <a:xfrm>
            <a:off x="8747760" y="2174240"/>
            <a:ext cx="1955800" cy="3281679"/>
          </a:xfrm>
          <a:prstGeom prst="rect">
            <a:avLst/>
          </a:prstGeom>
          <a:pattFill prst="dkUpDiag">
            <a:fgClr>
              <a:schemeClr val="bg1">
                <a:lumMod val="75000"/>
              </a:schemeClr>
            </a:fgClr>
            <a:bgClr>
              <a:schemeClr val="bg1">
                <a:lumMod val="95000"/>
              </a:schemeClr>
            </a:bgClr>
          </a:pattFill>
        </p:spPr>
        <p:txBody>
          <a:bodyPr tIns="180000"/>
          <a:lstStyle>
            <a:lvl1pPr>
              <a:defRPr lang="nl-NL" sz="1600"/>
            </a:lvl1pPr>
          </a:lstStyle>
          <a:p>
            <a:pPr marL="0" lvl="0" indent="0" algn="ctr">
              <a:buNone/>
            </a:pPr>
            <a:r>
              <a:rPr lang="en-US" noProof="0"/>
              <a:t>Click icon to insert an image</a:t>
            </a:r>
          </a:p>
        </p:txBody>
      </p:sp>
    </p:spTree>
    <p:extLst>
      <p:ext uri="{BB962C8B-B14F-4D97-AF65-F5344CB8AC3E}">
        <p14:creationId xmlns:p14="http://schemas.microsoft.com/office/powerpoint/2010/main" val="400417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9" name="Picture 27" descr="ipad.png">
            <a:extLst>
              <a:ext uri="{FF2B5EF4-FFF2-40B4-BE49-F238E27FC236}">
                <a16:creationId xmlns:a16="http://schemas.microsoft.com/office/drawing/2014/main" id="{40E220D6-FD15-44C4-AA9B-F78ACC70C4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12880" y="2087067"/>
            <a:ext cx="4915097" cy="3567164"/>
          </a:xfrm>
          <a:prstGeom prst="rect">
            <a:avLst/>
          </a:prstGeom>
        </p:spPr>
      </p:pic>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a:p>
            <a:pPr lvl="1"/>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5399682"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
        <p:nvSpPr>
          <p:cNvPr id="5" name="Picture Placeholder 4">
            <a:extLst>
              <a:ext uri="{FF2B5EF4-FFF2-40B4-BE49-F238E27FC236}">
                <a16:creationId xmlns:a16="http://schemas.microsoft.com/office/drawing/2014/main" id="{10B00AF0-3BFA-4AC7-AB36-69D01C90D683}"/>
              </a:ext>
            </a:extLst>
          </p:cNvPr>
          <p:cNvSpPr>
            <a:spLocks noGrp="1"/>
          </p:cNvSpPr>
          <p:nvPr>
            <p:ph type="pic" sz="quarter" idx="14" hasCustomPrompt="1"/>
          </p:nvPr>
        </p:nvSpPr>
        <p:spPr>
          <a:xfrm>
            <a:off x="6633210" y="2286000"/>
            <a:ext cx="4069080" cy="3093719"/>
          </a:xfrm>
          <a:prstGeom prst="rect">
            <a:avLst/>
          </a:prstGeom>
          <a:pattFill prst="dkUpDiag">
            <a:fgClr>
              <a:schemeClr val="bg1">
                <a:lumMod val="75000"/>
              </a:schemeClr>
            </a:fgClr>
            <a:bgClr>
              <a:schemeClr val="bg1">
                <a:lumMod val="95000"/>
              </a:schemeClr>
            </a:bgClr>
          </a:pattFill>
        </p:spPr>
        <p:txBody>
          <a:bodyPr tIns="180000"/>
          <a:lstStyle>
            <a:lvl1pPr>
              <a:defRPr lang="nl-NL" sz="1600"/>
            </a:lvl1pPr>
          </a:lstStyle>
          <a:p>
            <a:pPr marL="0" lvl="0" indent="0" algn="ctr">
              <a:buNone/>
            </a:pPr>
            <a:r>
              <a:rPr lang="en-US" noProof="0"/>
              <a:t>Click icon to insert an image</a:t>
            </a:r>
          </a:p>
        </p:txBody>
      </p:sp>
    </p:spTree>
    <p:extLst>
      <p:ext uri="{BB962C8B-B14F-4D97-AF65-F5344CB8AC3E}">
        <p14:creationId xmlns:p14="http://schemas.microsoft.com/office/powerpoint/2010/main" val="197019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aptop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3277318" y="1898249"/>
            <a:ext cx="5718742" cy="3755982"/>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grpSp>
      <p:sp>
        <p:nvSpPr>
          <p:cNvPr id="9" name="Picture Placeholder 8">
            <a:extLst>
              <a:ext uri="{FF2B5EF4-FFF2-40B4-BE49-F238E27FC236}">
                <a16:creationId xmlns:a16="http://schemas.microsoft.com/office/drawing/2014/main" id="{F8E80370-8790-4863-AB9C-02FC64D074B3}"/>
              </a:ext>
            </a:extLst>
          </p:cNvPr>
          <p:cNvSpPr>
            <a:spLocks noGrp="1"/>
          </p:cNvSpPr>
          <p:nvPr>
            <p:ph type="pic" sz="quarter" idx="12" hasCustomPrompt="1"/>
          </p:nvPr>
        </p:nvSpPr>
        <p:spPr>
          <a:xfrm>
            <a:off x="4017963" y="2287588"/>
            <a:ext cx="4191000" cy="2595562"/>
          </a:xfrm>
          <a:prstGeom prst="rect">
            <a:avLst/>
          </a:prstGeom>
          <a:pattFill prst="dkUpDiag">
            <a:fgClr>
              <a:schemeClr val="bg1">
                <a:lumMod val="75000"/>
              </a:schemeClr>
            </a:fgClr>
            <a:bgClr>
              <a:schemeClr val="bg1">
                <a:lumMod val="95000"/>
              </a:schemeClr>
            </a:bgClr>
          </a:pattFill>
        </p:spPr>
        <p:txBody>
          <a:bodyPr tIns="180000"/>
          <a:lstStyle>
            <a:lvl1pPr marL="0" indent="0" algn="ctr">
              <a:buNone/>
              <a:defRPr sz="1600"/>
            </a:lvl1pPr>
          </a:lstStyle>
          <a:p>
            <a:r>
              <a:rPr lang="en-US" noProof="0"/>
              <a:t>Click icon to insert an image</a:t>
            </a:r>
          </a:p>
        </p:txBody>
      </p:sp>
    </p:spTree>
    <p:extLst>
      <p:ext uri="{BB962C8B-B14F-4D97-AF65-F5344CB8AC3E}">
        <p14:creationId xmlns:p14="http://schemas.microsoft.com/office/powerpoint/2010/main" val="106833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aptop vide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3277318" y="1898249"/>
            <a:ext cx="5718742" cy="3755982"/>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grpSp>
      <p:sp>
        <p:nvSpPr>
          <p:cNvPr id="10" name="Media Placeholder 9">
            <a:extLst>
              <a:ext uri="{FF2B5EF4-FFF2-40B4-BE49-F238E27FC236}">
                <a16:creationId xmlns:a16="http://schemas.microsoft.com/office/drawing/2014/main" id="{A6C3A0F0-27BB-4883-B60B-CFCD69CCC8D5}"/>
              </a:ext>
            </a:extLst>
          </p:cNvPr>
          <p:cNvSpPr>
            <a:spLocks noGrp="1"/>
          </p:cNvSpPr>
          <p:nvPr>
            <p:ph type="media" sz="quarter" idx="12" hasCustomPrompt="1"/>
          </p:nvPr>
        </p:nvSpPr>
        <p:spPr>
          <a:xfrm>
            <a:off x="4017963" y="2287588"/>
            <a:ext cx="4191000" cy="2595562"/>
          </a:xfrm>
          <a:prstGeom prst="rect">
            <a:avLst/>
          </a:prstGeom>
          <a:pattFill prst="dkUpDiag">
            <a:fgClr>
              <a:schemeClr val="bg1">
                <a:lumMod val="75000"/>
              </a:schemeClr>
            </a:fgClr>
            <a:bgClr>
              <a:schemeClr val="bg1">
                <a:lumMod val="95000"/>
              </a:schemeClr>
            </a:bgClr>
          </a:pattFill>
        </p:spPr>
        <p:txBody>
          <a:bodyPr tIns="18000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Click icon to insert media</a:t>
            </a:r>
          </a:p>
        </p:txBody>
      </p:sp>
    </p:spTree>
    <p:extLst>
      <p:ext uri="{BB962C8B-B14F-4D97-AF65-F5344CB8AC3E}">
        <p14:creationId xmlns:p14="http://schemas.microsoft.com/office/powerpoint/2010/main" val="832182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pSp>
        <p:nvGrpSpPr>
          <p:cNvPr id="8" name="Group 33">
            <a:extLst>
              <a:ext uri="{FF2B5EF4-FFF2-40B4-BE49-F238E27FC236}">
                <a16:creationId xmlns:a16="http://schemas.microsoft.com/office/drawing/2014/main" id="{0F111399-0853-4003-B801-EEE0A470D4D4}"/>
              </a:ext>
            </a:extLst>
          </p:cNvPr>
          <p:cNvGrpSpPr/>
          <p:nvPr userDrawn="1"/>
        </p:nvGrpSpPr>
        <p:grpSpPr>
          <a:xfrm>
            <a:off x="1338368" y="1900547"/>
            <a:ext cx="9605085" cy="4132027"/>
            <a:chOff x="1289907" y="1209727"/>
            <a:chExt cx="9605085" cy="4132027"/>
          </a:xfrm>
        </p:grpSpPr>
        <p:sp>
          <p:nvSpPr>
            <p:cNvPr id="9" name="Rectangle 35">
              <a:extLst>
                <a:ext uri="{FF2B5EF4-FFF2-40B4-BE49-F238E27FC236}">
                  <a16:creationId xmlns:a16="http://schemas.microsoft.com/office/drawing/2014/main" id="{9F0202DC-D15A-461B-B46A-8C32477B30E1}"/>
                </a:ext>
              </a:extLst>
            </p:cNvPr>
            <p:cNvSpPr/>
            <p:nvPr/>
          </p:nvSpPr>
          <p:spPr>
            <a:xfrm>
              <a:off x="6143002" y="1209727"/>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Rectangle 42">
              <a:extLst>
                <a:ext uri="{FF2B5EF4-FFF2-40B4-BE49-F238E27FC236}">
                  <a16:creationId xmlns:a16="http://schemas.microsoft.com/office/drawing/2014/main" id="{E29D36D8-FC89-4FD1-8DB6-2DF884D771EC}"/>
                </a:ext>
              </a:extLst>
            </p:cNvPr>
            <p:cNvSpPr/>
            <p:nvPr/>
          </p:nvSpPr>
          <p:spPr>
            <a:xfrm>
              <a:off x="1289907" y="1209727"/>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Rectangle 43">
              <a:extLst>
                <a:ext uri="{FF2B5EF4-FFF2-40B4-BE49-F238E27FC236}">
                  <a16:creationId xmlns:a16="http://schemas.microsoft.com/office/drawing/2014/main" id="{B2A292D7-806F-40A6-8A45-E82055912C74}"/>
                </a:ext>
              </a:extLst>
            </p:cNvPr>
            <p:cNvSpPr/>
            <p:nvPr/>
          </p:nvSpPr>
          <p:spPr>
            <a:xfrm>
              <a:off x="6143002" y="3321670"/>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2" name="Rectangle 44">
              <a:extLst>
                <a:ext uri="{FF2B5EF4-FFF2-40B4-BE49-F238E27FC236}">
                  <a16:creationId xmlns:a16="http://schemas.microsoft.com/office/drawing/2014/main" id="{002B7D63-A551-4F0C-8495-F05187FF87C4}"/>
                </a:ext>
              </a:extLst>
            </p:cNvPr>
            <p:cNvSpPr/>
            <p:nvPr/>
          </p:nvSpPr>
          <p:spPr>
            <a:xfrm>
              <a:off x="1289907" y="3321670"/>
              <a:ext cx="4751990" cy="20200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1400176" y="1962150"/>
            <a:ext cx="3631463" cy="1866900"/>
          </a:xfrm>
          <a:prstGeom prst="rect">
            <a:avLst/>
          </a:prstGeom>
        </p:spPr>
        <p:txBody>
          <a:bodyPr lIns="0" tIns="0" rIns="0" bIns="0"/>
          <a:lstStyle>
            <a:lvl1pPr marL="266567" indent="-266567">
              <a:buClr>
                <a:schemeClr val="accent1"/>
              </a:buClr>
              <a:defRPr sz="1799">
                <a:solidFill>
                  <a:schemeClr val="tx1"/>
                </a:solidFill>
              </a:defRPr>
            </a:lvl1pPr>
            <a:lvl2pPr marL="625162" indent="-266567">
              <a:buClr>
                <a:schemeClr val="accent1"/>
              </a:buClr>
              <a:buFont typeface="Calibri" panose="020F0502020204030204" pitchFamily="34" charset="0"/>
              <a:buChar char="-"/>
              <a:defRPr sz="1599">
                <a:solidFill>
                  <a:schemeClr val="tx1">
                    <a:lumMod val="50000"/>
                    <a:lumOff val="50000"/>
                  </a:schemeClr>
                </a:solidFill>
              </a:defRPr>
            </a:lvl2pPr>
            <a:lvl3pPr marL="890143" indent="-264980">
              <a:buClr>
                <a:schemeClr val="accent1"/>
              </a:buClr>
              <a:buFont typeface="Wingdings" panose="05000000000000000000" pitchFamily="2" charset="2"/>
              <a:buChar char="§"/>
              <a:defRPr sz="1399">
                <a:solidFill>
                  <a:schemeClr val="tx1"/>
                </a:solidFill>
              </a:defRPr>
            </a:lvl3pPr>
          </a:lstStyle>
          <a:p>
            <a:pPr lvl="0"/>
            <a:r>
              <a:rPr lang="nl-NL" noProof="0"/>
              <a:t>Aanpassen tekst</a:t>
            </a:r>
          </a:p>
          <a:p>
            <a:pPr lvl="1"/>
            <a:r>
              <a:rPr lang="nl-NL" noProof="0"/>
              <a:t>Tweede level</a:t>
            </a:r>
          </a:p>
          <a:p>
            <a:pPr lvl="2"/>
            <a:r>
              <a:rPr lang="nl-NL" noProof="0"/>
              <a:t>Derde level</a:t>
            </a:r>
          </a:p>
        </p:txBody>
      </p:sp>
      <p:sp>
        <p:nvSpPr>
          <p:cNvPr id="13" name="Freeform 26">
            <a:extLst>
              <a:ext uri="{FF2B5EF4-FFF2-40B4-BE49-F238E27FC236}">
                <a16:creationId xmlns:a16="http://schemas.microsoft.com/office/drawing/2014/main" id="{98C254CC-74B9-40A5-9891-B6101C2F993E}"/>
              </a:ext>
            </a:extLst>
          </p:cNvPr>
          <p:cNvSpPr/>
          <p:nvPr userDrawn="1"/>
        </p:nvSpPr>
        <p:spPr>
          <a:xfrm>
            <a:off x="4656730" y="2485354"/>
            <a:ext cx="1385168" cy="1389348"/>
          </a:xfrm>
          <a:custGeom>
            <a:avLst/>
            <a:gdLst>
              <a:gd name="connsiteX0" fmla="*/ 1385168 w 1385168"/>
              <a:gd name="connsiteY0" fmla="*/ 0 h 1389348"/>
              <a:gd name="connsiteX1" fmla="*/ 1385168 w 1385168"/>
              <a:gd name="connsiteY1" fmla="*/ 1389348 h 1389348"/>
              <a:gd name="connsiteX2" fmla="*/ 0 w 1385168"/>
              <a:gd name="connsiteY2" fmla="*/ 1389348 h 1389348"/>
              <a:gd name="connsiteX3" fmla="*/ 2484 w 1385168"/>
              <a:gd name="connsiteY3" fmla="*/ 1363430 h 1389348"/>
              <a:gd name="connsiteX4" fmla="*/ 105777 w 1385168"/>
              <a:gd name="connsiteY4" fmla="*/ 1169282 h 1389348"/>
              <a:gd name="connsiteX5" fmla="*/ 1169725 w 1385168"/>
              <a:gd name="connsiteY5" fmla="*/ 105334 h 1389348"/>
              <a:gd name="connsiteX6" fmla="*/ 1363873 w 1385168"/>
              <a:gd name="connsiteY6" fmla="*/ 2041 h 1389348"/>
              <a:gd name="connsiteX0" fmla="*/ 1385168 w 1476608"/>
              <a:gd name="connsiteY0" fmla="*/ 1389348 h 1480788"/>
              <a:gd name="connsiteX1" fmla="*/ 0 w 1476608"/>
              <a:gd name="connsiteY1" fmla="*/ 1389348 h 1480788"/>
              <a:gd name="connsiteX2" fmla="*/ 2484 w 1476608"/>
              <a:gd name="connsiteY2" fmla="*/ 1363430 h 1480788"/>
              <a:gd name="connsiteX3" fmla="*/ 105777 w 1476608"/>
              <a:gd name="connsiteY3" fmla="*/ 1169282 h 1480788"/>
              <a:gd name="connsiteX4" fmla="*/ 1169725 w 1476608"/>
              <a:gd name="connsiteY4" fmla="*/ 105334 h 1480788"/>
              <a:gd name="connsiteX5" fmla="*/ 1363873 w 1476608"/>
              <a:gd name="connsiteY5" fmla="*/ 2041 h 1480788"/>
              <a:gd name="connsiteX6" fmla="*/ 1385168 w 1476608"/>
              <a:gd name="connsiteY6" fmla="*/ 0 h 1480788"/>
              <a:gd name="connsiteX7" fmla="*/ 1476608 w 1476608"/>
              <a:gd name="connsiteY7" fmla="*/ 1480788 h 1480788"/>
              <a:gd name="connsiteX0" fmla="*/ 1385168 w 1385168"/>
              <a:gd name="connsiteY0" fmla="*/ 1389348 h 1389348"/>
              <a:gd name="connsiteX1" fmla="*/ 0 w 1385168"/>
              <a:gd name="connsiteY1" fmla="*/ 1389348 h 1389348"/>
              <a:gd name="connsiteX2" fmla="*/ 2484 w 1385168"/>
              <a:gd name="connsiteY2" fmla="*/ 1363430 h 1389348"/>
              <a:gd name="connsiteX3" fmla="*/ 105777 w 1385168"/>
              <a:gd name="connsiteY3" fmla="*/ 1169282 h 1389348"/>
              <a:gd name="connsiteX4" fmla="*/ 1169725 w 1385168"/>
              <a:gd name="connsiteY4" fmla="*/ 105334 h 1389348"/>
              <a:gd name="connsiteX5" fmla="*/ 1363873 w 1385168"/>
              <a:gd name="connsiteY5" fmla="*/ 2041 h 1389348"/>
              <a:gd name="connsiteX6" fmla="*/ 1385168 w 1385168"/>
              <a:gd name="connsiteY6" fmla="*/ 0 h 1389348"/>
              <a:gd name="connsiteX0" fmla="*/ 0 w 1385168"/>
              <a:gd name="connsiteY0" fmla="*/ 1389348 h 1389348"/>
              <a:gd name="connsiteX1" fmla="*/ 2484 w 1385168"/>
              <a:gd name="connsiteY1" fmla="*/ 1363430 h 1389348"/>
              <a:gd name="connsiteX2" fmla="*/ 105777 w 1385168"/>
              <a:gd name="connsiteY2" fmla="*/ 1169282 h 1389348"/>
              <a:gd name="connsiteX3" fmla="*/ 1169725 w 1385168"/>
              <a:gd name="connsiteY3" fmla="*/ 105334 h 1389348"/>
              <a:gd name="connsiteX4" fmla="*/ 1363873 w 1385168"/>
              <a:gd name="connsiteY4" fmla="*/ 2041 h 1389348"/>
              <a:gd name="connsiteX5" fmla="*/ 1385168 w 1385168"/>
              <a:gd name="connsiteY5" fmla="*/ 0 h 138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5168" h="1389348">
                <a:moveTo>
                  <a:pt x="0" y="1389348"/>
                </a:moveTo>
                <a:lnTo>
                  <a:pt x="2484" y="1363430"/>
                </a:lnTo>
                <a:cubicBezTo>
                  <a:pt x="16256" y="1292296"/>
                  <a:pt x="50687" y="1224371"/>
                  <a:pt x="105777" y="1169282"/>
                </a:cubicBezTo>
                <a:lnTo>
                  <a:pt x="1169725" y="105334"/>
                </a:lnTo>
                <a:cubicBezTo>
                  <a:pt x="1224815" y="50244"/>
                  <a:pt x="1292740" y="15814"/>
                  <a:pt x="1363873" y="2041"/>
                </a:cubicBezTo>
                <a:lnTo>
                  <a:pt x="1385168"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Freeform 13">
            <a:extLst>
              <a:ext uri="{FF2B5EF4-FFF2-40B4-BE49-F238E27FC236}">
                <a16:creationId xmlns:a16="http://schemas.microsoft.com/office/drawing/2014/main" id="{B69BB58D-0B1D-49CF-AC59-FABFB91E2B11}"/>
              </a:ext>
            </a:extLst>
          </p:cNvPr>
          <p:cNvSpPr/>
          <p:nvPr userDrawn="1"/>
        </p:nvSpPr>
        <p:spPr>
          <a:xfrm>
            <a:off x="4937156" y="2761248"/>
            <a:ext cx="1104742" cy="1113457"/>
          </a:xfrm>
          <a:custGeom>
            <a:avLst/>
            <a:gdLst>
              <a:gd name="connsiteX0" fmla="*/ 1104742 w 1104742"/>
              <a:gd name="connsiteY0" fmla="*/ 0 h 1113457"/>
              <a:gd name="connsiteX1" fmla="*/ 1104742 w 1104742"/>
              <a:gd name="connsiteY1" fmla="*/ 1113457 h 1113457"/>
              <a:gd name="connsiteX2" fmla="*/ 0 w 1104742"/>
              <a:gd name="connsiteY2" fmla="*/ 1113457 h 1113457"/>
              <a:gd name="connsiteX3" fmla="*/ 13331 w 1104742"/>
              <a:gd name="connsiteY3" fmla="*/ 1044950 h 1113457"/>
              <a:gd name="connsiteX4" fmla="*/ 80134 w 1104742"/>
              <a:gd name="connsiteY4" fmla="*/ 944349 h 1113457"/>
              <a:gd name="connsiteX5" fmla="*/ 940257 w 1104742"/>
              <a:gd name="connsiteY5" fmla="*/ 84226 h 1113457"/>
              <a:gd name="connsiteX6" fmla="*/ 1097211 w 1104742"/>
              <a:gd name="connsiteY6" fmla="*/ 722 h 111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4742" h="1113457">
                <a:moveTo>
                  <a:pt x="1104742" y="0"/>
                </a:moveTo>
                <a:lnTo>
                  <a:pt x="1104742" y="1113457"/>
                </a:lnTo>
                <a:lnTo>
                  <a:pt x="0" y="1113457"/>
                </a:lnTo>
                <a:lnTo>
                  <a:pt x="13331" y="1044950"/>
                </a:lnTo>
                <a:cubicBezTo>
                  <a:pt x="28176" y="1008342"/>
                  <a:pt x="50444" y="974040"/>
                  <a:pt x="80134" y="944349"/>
                </a:cubicBezTo>
                <a:lnTo>
                  <a:pt x="940257" y="84226"/>
                </a:lnTo>
                <a:cubicBezTo>
                  <a:pt x="984793" y="39691"/>
                  <a:pt x="1039705" y="11856"/>
                  <a:pt x="1097211" y="72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5" name="Freeform 15">
            <a:extLst>
              <a:ext uri="{FF2B5EF4-FFF2-40B4-BE49-F238E27FC236}">
                <a16:creationId xmlns:a16="http://schemas.microsoft.com/office/drawing/2014/main" id="{36A11DBA-8340-488E-9332-C90AAF45B3EB}"/>
              </a:ext>
            </a:extLst>
          </p:cNvPr>
          <p:cNvSpPr>
            <a:spLocks noChangeAspect="1"/>
          </p:cNvSpPr>
          <p:nvPr userDrawn="1"/>
        </p:nvSpPr>
        <p:spPr>
          <a:xfrm rot="18900000">
            <a:off x="6017211" y="2789844"/>
            <a:ext cx="844084" cy="1568503"/>
          </a:xfrm>
          <a:custGeom>
            <a:avLst/>
            <a:gdLst>
              <a:gd name="connsiteX0" fmla="*/ 787333 w 844084"/>
              <a:gd name="connsiteY0" fmla="*/ 0 h 1568503"/>
              <a:gd name="connsiteX1" fmla="*/ 792147 w 844084"/>
              <a:gd name="connsiteY1" fmla="*/ 5835 h 1568503"/>
              <a:gd name="connsiteX2" fmla="*/ 844084 w 844084"/>
              <a:gd name="connsiteY2" fmla="*/ 175864 h 1568503"/>
              <a:gd name="connsiteX3" fmla="*/ 844084 w 844084"/>
              <a:gd name="connsiteY3" fmla="*/ 1392262 h 1568503"/>
              <a:gd name="connsiteX4" fmla="*/ 820186 w 844084"/>
              <a:gd name="connsiteY4" fmla="*/ 1510635 h 1568503"/>
              <a:gd name="connsiteX5" fmla="*/ 781170 w 844084"/>
              <a:gd name="connsiteY5" fmla="*/ 1568503 h 1568503"/>
              <a:gd name="connsiteX6" fmla="*/ 0 w 844084"/>
              <a:gd name="connsiteY6" fmla="*/ 787333 h 1568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84" h="1568503">
                <a:moveTo>
                  <a:pt x="787333" y="0"/>
                </a:moveTo>
                <a:lnTo>
                  <a:pt x="792147" y="5835"/>
                </a:lnTo>
                <a:cubicBezTo>
                  <a:pt x="824938" y="54371"/>
                  <a:pt x="844084" y="112881"/>
                  <a:pt x="844084" y="175864"/>
                </a:cubicBezTo>
                <a:lnTo>
                  <a:pt x="844084" y="1392262"/>
                </a:lnTo>
                <a:cubicBezTo>
                  <a:pt x="844084" y="1434251"/>
                  <a:pt x="835575" y="1474252"/>
                  <a:pt x="820186" y="1510635"/>
                </a:cubicBezTo>
                <a:lnTo>
                  <a:pt x="781170" y="1568503"/>
                </a:lnTo>
                <a:lnTo>
                  <a:pt x="0" y="78733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6" name="Freeform 17">
            <a:extLst>
              <a:ext uri="{FF2B5EF4-FFF2-40B4-BE49-F238E27FC236}">
                <a16:creationId xmlns:a16="http://schemas.microsoft.com/office/drawing/2014/main" id="{299C1602-1934-42DC-A4B4-34AB2EDE311A}"/>
              </a:ext>
            </a:extLst>
          </p:cNvPr>
          <p:cNvSpPr>
            <a:spLocks noChangeAspect="1"/>
          </p:cNvSpPr>
          <p:nvPr userDrawn="1"/>
        </p:nvSpPr>
        <p:spPr>
          <a:xfrm rot="18900000">
            <a:off x="5655001" y="3845130"/>
            <a:ext cx="1568502" cy="844083"/>
          </a:xfrm>
          <a:custGeom>
            <a:avLst/>
            <a:gdLst>
              <a:gd name="connsiteX0" fmla="*/ 787332 w 1568502"/>
              <a:gd name="connsiteY0" fmla="*/ 0 h 844083"/>
              <a:gd name="connsiteX1" fmla="*/ 1568502 w 1568502"/>
              <a:gd name="connsiteY1" fmla="*/ 781170 h 844083"/>
              <a:gd name="connsiteX2" fmla="*/ 1510635 w 1568502"/>
              <a:gd name="connsiteY2" fmla="*/ 820185 h 844083"/>
              <a:gd name="connsiteX3" fmla="*/ 1392262 w 1568502"/>
              <a:gd name="connsiteY3" fmla="*/ 844083 h 844083"/>
              <a:gd name="connsiteX4" fmla="*/ 175864 w 1568502"/>
              <a:gd name="connsiteY4" fmla="*/ 844083 h 844083"/>
              <a:gd name="connsiteX5" fmla="*/ 5835 w 1568502"/>
              <a:gd name="connsiteY5" fmla="*/ 792146 h 844083"/>
              <a:gd name="connsiteX6" fmla="*/ 0 w 1568502"/>
              <a:gd name="connsiteY6" fmla="*/ 787332 h 8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502" h="844083">
                <a:moveTo>
                  <a:pt x="787332" y="0"/>
                </a:moveTo>
                <a:lnTo>
                  <a:pt x="1568502" y="781170"/>
                </a:lnTo>
                <a:lnTo>
                  <a:pt x="1510635" y="820185"/>
                </a:lnTo>
                <a:cubicBezTo>
                  <a:pt x="1474252" y="835574"/>
                  <a:pt x="1434251" y="844083"/>
                  <a:pt x="1392262" y="844083"/>
                </a:cubicBezTo>
                <a:lnTo>
                  <a:pt x="175864" y="844083"/>
                </a:lnTo>
                <a:cubicBezTo>
                  <a:pt x="112881" y="844083"/>
                  <a:pt x="54371" y="824937"/>
                  <a:pt x="5835" y="792146"/>
                </a:cubicBezTo>
                <a:lnTo>
                  <a:pt x="0" y="78733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noProof="0"/>
          </a:p>
        </p:txBody>
      </p:sp>
      <p:sp>
        <p:nvSpPr>
          <p:cNvPr id="17" name="Freeform 19">
            <a:extLst>
              <a:ext uri="{FF2B5EF4-FFF2-40B4-BE49-F238E27FC236}">
                <a16:creationId xmlns:a16="http://schemas.microsoft.com/office/drawing/2014/main" id="{95C505BA-60C7-4516-A2F3-F6C352F531C3}"/>
              </a:ext>
            </a:extLst>
          </p:cNvPr>
          <p:cNvSpPr>
            <a:spLocks noChangeAspect="1"/>
          </p:cNvSpPr>
          <p:nvPr userDrawn="1"/>
        </p:nvSpPr>
        <p:spPr>
          <a:xfrm rot="18900000">
            <a:off x="5323605" y="3482917"/>
            <a:ext cx="844084" cy="1568502"/>
          </a:xfrm>
          <a:custGeom>
            <a:avLst/>
            <a:gdLst>
              <a:gd name="connsiteX0" fmla="*/ 62914 w 844084"/>
              <a:gd name="connsiteY0" fmla="*/ 0 h 1568502"/>
              <a:gd name="connsiteX1" fmla="*/ 844084 w 844084"/>
              <a:gd name="connsiteY1" fmla="*/ 781170 h 1568502"/>
              <a:gd name="connsiteX2" fmla="*/ 56752 w 844084"/>
              <a:gd name="connsiteY2" fmla="*/ 1568502 h 1568502"/>
              <a:gd name="connsiteX3" fmla="*/ 51937 w 844084"/>
              <a:gd name="connsiteY3" fmla="*/ 1562666 h 1568502"/>
              <a:gd name="connsiteX4" fmla="*/ 0 w 844084"/>
              <a:gd name="connsiteY4" fmla="*/ 1392637 h 1568502"/>
              <a:gd name="connsiteX5" fmla="*/ 0 w 844084"/>
              <a:gd name="connsiteY5" fmla="*/ 176239 h 1568502"/>
              <a:gd name="connsiteX6" fmla="*/ 23898 w 844084"/>
              <a:gd name="connsiteY6" fmla="*/ 57867 h 156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084" h="1568502">
                <a:moveTo>
                  <a:pt x="62914" y="0"/>
                </a:moveTo>
                <a:lnTo>
                  <a:pt x="844084" y="781170"/>
                </a:lnTo>
                <a:lnTo>
                  <a:pt x="56752" y="1568502"/>
                </a:lnTo>
                <a:lnTo>
                  <a:pt x="51937" y="1562666"/>
                </a:lnTo>
                <a:cubicBezTo>
                  <a:pt x="19147" y="1514131"/>
                  <a:pt x="0" y="1455620"/>
                  <a:pt x="0" y="1392637"/>
                </a:cubicBezTo>
                <a:lnTo>
                  <a:pt x="0" y="176239"/>
                </a:lnTo>
                <a:cubicBezTo>
                  <a:pt x="0" y="134250"/>
                  <a:pt x="8510" y="94250"/>
                  <a:pt x="23898" y="57867"/>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8" name="Freeform 28">
            <a:extLst>
              <a:ext uri="{FF2B5EF4-FFF2-40B4-BE49-F238E27FC236}">
                <a16:creationId xmlns:a16="http://schemas.microsoft.com/office/drawing/2014/main" id="{EE052943-05BC-4408-9668-3D70A72B4EF7}"/>
              </a:ext>
            </a:extLst>
          </p:cNvPr>
          <p:cNvSpPr>
            <a:spLocks noChangeAspect="1"/>
          </p:cNvSpPr>
          <p:nvPr userDrawn="1"/>
        </p:nvSpPr>
        <p:spPr>
          <a:xfrm rot="18900000">
            <a:off x="5281379" y="3707825"/>
            <a:ext cx="80814" cy="1961879"/>
          </a:xfrm>
          <a:custGeom>
            <a:avLst/>
            <a:gdLst>
              <a:gd name="connsiteX0" fmla="*/ 80814 w 1060276"/>
              <a:gd name="connsiteY0" fmla="*/ 0 h 1961879"/>
              <a:gd name="connsiteX1" fmla="*/ 1060276 w 1060276"/>
              <a:gd name="connsiteY1" fmla="*/ 979462 h 1961879"/>
              <a:gd name="connsiteX2" fmla="*/ 77859 w 1060276"/>
              <a:gd name="connsiteY2" fmla="*/ 1961879 h 1961879"/>
              <a:gd name="connsiteX3" fmla="*/ 64245 w 1060276"/>
              <a:gd name="connsiteY3" fmla="*/ 1945377 h 1961879"/>
              <a:gd name="connsiteX4" fmla="*/ 0 w 1060276"/>
              <a:gd name="connsiteY4" fmla="*/ 1735055 h 1961879"/>
              <a:gd name="connsiteX5" fmla="*/ 0 w 1060276"/>
              <a:gd name="connsiteY5" fmla="*/ 230405 h 1961879"/>
              <a:gd name="connsiteX6" fmla="*/ 64245 w 1060276"/>
              <a:gd name="connsiteY6" fmla="*/ 20083 h 1961879"/>
              <a:gd name="connsiteX0" fmla="*/ 1060276 w 1151716"/>
              <a:gd name="connsiteY0" fmla="*/ 979462 h 1961879"/>
              <a:gd name="connsiteX1" fmla="*/ 77859 w 1151716"/>
              <a:gd name="connsiteY1" fmla="*/ 1961879 h 1961879"/>
              <a:gd name="connsiteX2" fmla="*/ 64245 w 1151716"/>
              <a:gd name="connsiteY2" fmla="*/ 1945377 h 1961879"/>
              <a:gd name="connsiteX3" fmla="*/ 0 w 1151716"/>
              <a:gd name="connsiteY3" fmla="*/ 1735055 h 1961879"/>
              <a:gd name="connsiteX4" fmla="*/ 0 w 1151716"/>
              <a:gd name="connsiteY4" fmla="*/ 230405 h 1961879"/>
              <a:gd name="connsiteX5" fmla="*/ 64245 w 1151716"/>
              <a:gd name="connsiteY5" fmla="*/ 20083 h 1961879"/>
              <a:gd name="connsiteX6" fmla="*/ 80814 w 1151716"/>
              <a:gd name="connsiteY6" fmla="*/ 0 h 1961879"/>
              <a:gd name="connsiteX7" fmla="*/ 1151716 w 1151716"/>
              <a:gd name="connsiteY7" fmla="*/ 1070902 h 1961879"/>
              <a:gd name="connsiteX0" fmla="*/ 77859 w 1151716"/>
              <a:gd name="connsiteY0" fmla="*/ 1961879 h 1961879"/>
              <a:gd name="connsiteX1" fmla="*/ 64245 w 1151716"/>
              <a:gd name="connsiteY1" fmla="*/ 1945377 h 1961879"/>
              <a:gd name="connsiteX2" fmla="*/ 0 w 1151716"/>
              <a:gd name="connsiteY2" fmla="*/ 1735055 h 1961879"/>
              <a:gd name="connsiteX3" fmla="*/ 0 w 1151716"/>
              <a:gd name="connsiteY3" fmla="*/ 230405 h 1961879"/>
              <a:gd name="connsiteX4" fmla="*/ 64245 w 1151716"/>
              <a:gd name="connsiteY4" fmla="*/ 20083 h 1961879"/>
              <a:gd name="connsiteX5" fmla="*/ 80814 w 1151716"/>
              <a:gd name="connsiteY5" fmla="*/ 0 h 1961879"/>
              <a:gd name="connsiteX6" fmla="*/ 1151716 w 1151716"/>
              <a:gd name="connsiteY6" fmla="*/ 1070902 h 1961879"/>
              <a:gd name="connsiteX0" fmla="*/ 77859 w 80814"/>
              <a:gd name="connsiteY0" fmla="*/ 1961879 h 1961879"/>
              <a:gd name="connsiteX1" fmla="*/ 64245 w 80814"/>
              <a:gd name="connsiteY1" fmla="*/ 1945377 h 1961879"/>
              <a:gd name="connsiteX2" fmla="*/ 0 w 80814"/>
              <a:gd name="connsiteY2" fmla="*/ 1735055 h 1961879"/>
              <a:gd name="connsiteX3" fmla="*/ 0 w 80814"/>
              <a:gd name="connsiteY3" fmla="*/ 230405 h 1961879"/>
              <a:gd name="connsiteX4" fmla="*/ 64245 w 80814"/>
              <a:gd name="connsiteY4" fmla="*/ 20083 h 1961879"/>
              <a:gd name="connsiteX5" fmla="*/ 80814 w 80814"/>
              <a:gd name="connsiteY5" fmla="*/ 0 h 196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814" h="1961879">
                <a:moveTo>
                  <a:pt x="77859" y="1961879"/>
                </a:moveTo>
                <a:lnTo>
                  <a:pt x="64245" y="1945377"/>
                </a:lnTo>
                <a:cubicBezTo>
                  <a:pt x="23684" y="1885340"/>
                  <a:pt x="0" y="1812964"/>
                  <a:pt x="0" y="1735055"/>
                </a:cubicBezTo>
                <a:lnTo>
                  <a:pt x="0" y="230405"/>
                </a:lnTo>
                <a:cubicBezTo>
                  <a:pt x="0" y="152497"/>
                  <a:pt x="23684" y="80120"/>
                  <a:pt x="64245" y="20083"/>
                </a:cubicBezTo>
                <a:lnTo>
                  <a:pt x="80814" y="0"/>
                </a:lnTo>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9" name="Freeform 30">
            <a:extLst>
              <a:ext uri="{FF2B5EF4-FFF2-40B4-BE49-F238E27FC236}">
                <a16:creationId xmlns:a16="http://schemas.microsoft.com/office/drawing/2014/main" id="{5A032A09-67A8-4E51-82B8-6101FBF08EB2}"/>
              </a:ext>
            </a:extLst>
          </p:cNvPr>
          <p:cNvSpPr>
            <a:spLocks noChangeAspect="1"/>
          </p:cNvSpPr>
          <p:nvPr userDrawn="1"/>
        </p:nvSpPr>
        <p:spPr>
          <a:xfrm rot="18900000">
            <a:off x="5882174" y="4648357"/>
            <a:ext cx="1961878" cy="80814"/>
          </a:xfrm>
          <a:custGeom>
            <a:avLst/>
            <a:gdLst>
              <a:gd name="connsiteX0" fmla="*/ 982417 w 1961878"/>
              <a:gd name="connsiteY0" fmla="*/ 0 h 1060275"/>
              <a:gd name="connsiteX1" fmla="*/ 1961878 w 1961878"/>
              <a:gd name="connsiteY1" fmla="*/ 979461 h 1060275"/>
              <a:gd name="connsiteX2" fmla="*/ 1941795 w 1961878"/>
              <a:gd name="connsiteY2" fmla="*/ 996031 h 1060275"/>
              <a:gd name="connsiteX3" fmla="*/ 1731473 w 1961878"/>
              <a:gd name="connsiteY3" fmla="*/ 1060275 h 1060275"/>
              <a:gd name="connsiteX4" fmla="*/ 226823 w 1961878"/>
              <a:gd name="connsiteY4" fmla="*/ 1060275 h 1060275"/>
              <a:gd name="connsiteX5" fmla="*/ 16501 w 1961878"/>
              <a:gd name="connsiteY5" fmla="*/ 996031 h 1060275"/>
              <a:gd name="connsiteX6" fmla="*/ 0 w 1961878"/>
              <a:gd name="connsiteY6" fmla="*/ 982417 h 1060275"/>
              <a:gd name="connsiteX0" fmla="*/ 982417 w 1961878"/>
              <a:gd name="connsiteY0" fmla="*/ 0 h 1060275"/>
              <a:gd name="connsiteX1" fmla="*/ 1961878 w 1961878"/>
              <a:gd name="connsiteY1" fmla="*/ 979461 h 1060275"/>
              <a:gd name="connsiteX2" fmla="*/ 1941795 w 1961878"/>
              <a:gd name="connsiteY2" fmla="*/ 996031 h 1060275"/>
              <a:gd name="connsiteX3" fmla="*/ 1731473 w 1961878"/>
              <a:gd name="connsiteY3" fmla="*/ 1060275 h 1060275"/>
              <a:gd name="connsiteX4" fmla="*/ 226823 w 1961878"/>
              <a:gd name="connsiteY4" fmla="*/ 1060275 h 1060275"/>
              <a:gd name="connsiteX5" fmla="*/ 16501 w 1961878"/>
              <a:gd name="connsiteY5" fmla="*/ 996031 h 1060275"/>
              <a:gd name="connsiteX6" fmla="*/ 0 w 1961878"/>
              <a:gd name="connsiteY6" fmla="*/ 982417 h 1060275"/>
              <a:gd name="connsiteX7" fmla="*/ 1073857 w 1961878"/>
              <a:gd name="connsiteY7" fmla="*/ 91440 h 1060275"/>
              <a:gd name="connsiteX0" fmla="*/ 1961878 w 1961878"/>
              <a:gd name="connsiteY0" fmla="*/ 888021 h 968835"/>
              <a:gd name="connsiteX1" fmla="*/ 1941795 w 1961878"/>
              <a:gd name="connsiteY1" fmla="*/ 904591 h 968835"/>
              <a:gd name="connsiteX2" fmla="*/ 1731473 w 1961878"/>
              <a:gd name="connsiteY2" fmla="*/ 968835 h 968835"/>
              <a:gd name="connsiteX3" fmla="*/ 226823 w 1961878"/>
              <a:gd name="connsiteY3" fmla="*/ 968835 h 968835"/>
              <a:gd name="connsiteX4" fmla="*/ 16501 w 1961878"/>
              <a:gd name="connsiteY4" fmla="*/ 904591 h 968835"/>
              <a:gd name="connsiteX5" fmla="*/ 0 w 1961878"/>
              <a:gd name="connsiteY5" fmla="*/ 890977 h 968835"/>
              <a:gd name="connsiteX6" fmla="*/ 1073857 w 1961878"/>
              <a:gd name="connsiteY6" fmla="*/ 0 h 968835"/>
              <a:gd name="connsiteX0" fmla="*/ 1961878 w 1961878"/>
              <a:gd name="connsiteY0" fmla="*/ 0 h 80814"/>
              <a:gd name="connsiteX1" fmla="*/ 1941795 w 1961878"/>
              <a:gd name="connsiteY1" fmla="*/ 16570 h 80814"/>
              <a:gd name="connsiteX2" fmla="*/ 1731473 w 1961878"/>
              <a:gd name="connsiteY2" fmla="*/ 80814 h 80814"/>
              <a:gd name="connsiteX3" fmla="*/ 226823 w 1961878"/>
              <a:gd name="connsiteY3" fmla="*/ 80814 h 80814"/>
              <a:gd name="connsiteX4" fmla="*/ 16501 w 1961878"/>
              <a:gd name="connsiteY4" fmla="*/ 16570 h 80814"/>
              <a:gd name="connsiteX5" fmla="*/ 0 w 1961878"/>
              <a:gd name="connsiteY5" fmla="*/ 2956 h 8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1878" h="80814">
                <a:moveTo>
                  <a:pt x="1961878" y="0"/>
                </a:moveTo>
                <a:lnTo>
                  <a:pt x="1941795" y="16570"/>
                </a:lnTo>
                <a:cubicBezTo>
                  <a:pt x="1881758" y="57131"/>
                  <a:pt x="1809381" y="80814"/>
                  <a:pt x="1731473" y="80814"/>
                </a:cubicBezTo>
                <a:lnTo>
                  <a:pt x="226823" y="80814"/>
                </a:lnTo>
                <a:cubicBezTo>
                  <a:pt x="148915" y="80814"/>
                  <a:pt x="76539" y="57130"/>
                  <a:pt x="16501" y="16570"/>
                </a:cubicBezTo>
                <a:lnTo>
                  <a:pt x="0" y="2956"/>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sp>
        <p:nvSpPr>
          <p:cNvPr id="20" name="Freeform 32">
            <a:extLst>
              <a:ext uri="{FF2B5EF4-FFF2-40B4-BE49-F238E27FC236}">
                <a16:creationId xmlns:a16="http://schemas.microsoft.com/office/drawing/2014/main" id="{BC94C936-AB5F-4BFD-97FD-13CB694666C7}"/>
              </a:ext>
            </a:extLst>
          </p:cNvPr>
          <p:cNvSpPr>
            <a:spLocks noChangeAspect="1"/>
          </p:cNvSpPr>
          <p:nvPr userDrawn="1"/>
        </p:nvSpPr>
        <p:spPr>
          <a:xfrm rot="18900000">
            <a:off x="6822706" y="2171564"/>
            <a:ext cx="80814" cy="1961879"/>
          </a:xfrm>
          <a:custGeom>
            <a:avLst/>
            <a:gdLst>
              <a:gd name="connsiteX0" fmla="*/ 982417 w 1060276"/>
              <a:gd name="connsiteY0" fmla="*/ 0 h 1961879"/>
              <a:gd name="connsiteX1" fmla="*/ 996031 w 1060276"/>
              <a:gd name="connsiteY1" fmla="*/ 16501 h 1961879"/>
              <a:gd name="connsiteX2" fmla="*/ 1060276 w 1060276"/>
              <a:gd name="connsiteY2" fmla="*/ 226823 h 1961879"/>
              <a:gd name="connsiteX3" fmla="*/ 1060276 w 1060276"/>
              <a:gd name="connsiteY3" fmla="*/ 1731473 h 1961879"/>
              <a:gd name="connsiteX4" fmla="*/ 996032 w 1060276"/>
              <a:gd name="connsiteY4" fmla="*/ 1941795 h 1961879"/>
              <a:gd name="connsiteX5" fmla="*/ 979462 w 1060276"/>
              <a:gd name="connsiteY5" fmla="*/ 1961879 h 1961879"/>
              <a:gd name="connsiteX6" fmla="*/ 0 w 1060276"/>
              <a:gd name="connsiteY6" fmla="*/ 982418 h 1961879"/>
              <a:gd name="connsiteX0" fmla="*/ 0 w 1060276"/>
              <a:gd name="connsiteY0" fmla="*/ 982418 h 1961879"/>
              <a:gd name="connsiteX1" fmla="*/ 982417 w 1060276"/>
              <a:gd name="connsiteY1" fmla="*/ 0 h 1961879"/>
              <a:gd name="connsiteX2" fmla="*/ 996031 w 1060276"/>
              <a:gd name="connsiteY2" fmla="*/ 16501 h 1961879"/>
              <a:gd name="connsiteX3" fmla="*/ 1060276 w 1060276"/>
              <a:gd name="connsiteY3" fmla="*/ 226823 h 1961879"/>
              <a:gd name="connsiteX4" fmla="*/ 1060276 w 1060276"/>
              <a:gd name="connsiteY4" fmla="*/ 1731473 h 1961879"/>
              <a:gd name="connsiteX5" fmla="*/ 996032 w 1060276"/>
              <a:gd name="connsiteY5" fmla="*/ 1941795 h 1961879"/>
              <a:gd name="connsiteX6" fmla="*/ 979462 w 1060276"/>
              <a:gd name="connsiteY6" fmla="*/ 1961879 h 1961879"/>
              <a:gd name="connsiteX7" fmla="*/ 91440 w 1060276"/>
              <a:gd name="connsiteY7" fmla="*/ 1073858 h 1961879"/>
              <a:gd name="connsiteX0" fmla="*/ 890977 w 968836"/>
              <a:gd name="connsiteY0" fmla="*/ 0 h 1961879"/>
              <a:gd name="connsiteX1" fmla="*/ 904591 w 968836"/>
              <a:gd name="connsiteY1" fmla="*/ 16501 h 1961879"/>
              <a:gd name="connsiteX2" fmla="*/ 968836 w 968836"/>
              <a:gd name="connsiteY2" fmla="*/ 226823 h 1961879"/>
              <a:gd name="connsiteX3" fmla="*/ 968836 w 968836"/>
              <a:gd name="connsiteY3" fmla="*/ 1731473 h 1961879"/>
              <a:gd name="connsiteX4" fmla="*/ 904592 w 968836"/>
              <a:gd name="connsiteY4" fmla="*/ 1941795 h 1961879"/>
              <a:gd name="connsiteX5" fmla="*/ 888022 w 968836"/>
              <a:gd name="connsiteY5" fmla="*/ 1961879 h 1961879"/>
              <a:gd name="connsiteX6" fmla="*/ 0 w 968836"/>
              <a:gd name="connsiteY6" fmla="*/ 1073858 h 1961879"/>
              <a:gd name="connsiteX0" fmla="*/ 2955 w 80814"/>
              <a:gd name="connsiteY0" fmla="*/ 0 h 1961879"/>
              <a:gd name="connsiteX1" fmla="*/ 16569 w 80814"/>
              <a:gd name="connsiteY1" fmla="*/ 16501 h 1961879"/>
              <a:gd name="connsiteX2" fmla="*/ 80814 w 80814"/>
              <a:gd name="connsiteY2" fmla="*/ 226823 h 1961879"/>
              <a:gd name="connsiteX3" fmla="*/ 80814 w 80814"/>
              <a:gd name="connsiteY3" fmla="*/ 1731473 h 1961879"/>
              <a:gd name="connsiteX4" fmla="*/ 16570 w 80814"/>
              <a:gd name="connsiteY4" fmla="*/ 1941795 h 1961879"/>
              <a:gd name="connsiteX5" fmla="*/ 0 w 80814"/>
              <a:gd name="connsiteY5" fmla="*/ 1961879 h 196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814" h="1961879">
                <a:moveTo>
                  <a:pt x="2955" y="0"/>
                </a:moveTo>
                <a:lnTo>
                  <a:pt x="16569" y="16501"/>
                </a:lnTo>
                <a:cubicBezTo>
                  <a:pt x="57130" y="76539"/>
                  <a:pt x="80814" y="148915"/>
                  <a:pt x="80814" y="226823"/>
                </a:cubicBezTo>
                <a:lnTo>
                  <a:pt x="80814" y="1731473"/>
                </a:lnTo>
                <a:cubicBezTo>
                  <a:pt x="80814" y="1809381"/>
                  <a:pt x="57131" y="1881758"/>
                  <a:pt x="16570" y="1941795"/>
                </a:cubicBezTo>
                <a:lnTo>
                  <a:pt x="0" y="1961879"/>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9" name="Tijdelijke aanduiding voor tekst 11">
            <a:extLst>
              <a:ext uri="{FF2B5EF4-FFF2-40B4-BE49-F238E27FC236}">
                <a16:creationId xmlns:a16="http://schemas.microsoft.com/office/drawing/2014/main" id="{237F6B36-262D-4304-8620-95CE914E91E8}"/>
              </a:ext>
            </a:extLst>
          </p:cNvPr>
          <p:cNvSpPr>
            <a:spLocks noGrp="1"/>
          </p:cNvSpPr>
          <p:nvPr>
            <p:ph type="body" sz="quarter" idx="14" hasCustomPrompt="1"/>
          </p:nvPr>
        </p:nvSpPr>
        <p:spPr>
          <a:xfrm>
            <a:off x="1400176" y="4080633"/>
            <a:ext cx="3631462" cy="1866900"/>
          </a:xfrm>
          <a:prstGeom prst="rect">
            <a:avLst/>
          </a:prstGeom>
        </p:spPr>
        <p:txBody>
          <a:bodyPr lIns="0" tIns="0" rIns="0" bIns="0"/>
          <a:lstStyle>
            <a:lvl1pPr marL="266567" indent="-266567">
              <a:buClr>
                <a:schemeClr val="accent1"/>
              </a:buClr>
              <a:defRPr sz="1799">
                <a:solidFill>
                  <a:schemeClr val="tx1"/>
                </a:solidFill>
              </a:defRPr>
            </a:lvl1pPr>
            <a:lvl2pPr marL="625162" indent="-266567">
              <a:buClr>
                <a:schemeClr val="accent1"/>
              </a:buClr>
              <a:buFont typeface="Calibri" panose="020F0502020204030204" pitchFamily="34" charset="0"/>
              <a:buChar char="-"/>
              <a:defRPr sz="1599">
                <a:solidFill>
                  <a:schemeClr val="tx1">
                    <a:lumMod val="50000"/>
                    <a:lumOff val="50000"/>
                  </a:schemeClr>
                </a:solidFill>
              </a:defRPr>
            </a:lvl2pPr>
            <a:lvl3pPr marL="890143" indent="-264980">
              <a:buClr>
                <a:schemeClr val="accent1"/>
              </a:buClr>
              <a:buFont typeface="Wingdings" panose="05000000000000000000" pitchFamily="2" charset="2"/>
              <a:buChar char="§"/>
              <a:defRPr sz="1399">
                <a:solidFill>
                  <a:schemeClr val="tx1"/>
                </a:solidFill>
              </a:defRPr>
            </a:lvl3pPr>
          </a:lstStyle>
          <a:p>
            <a:pPr lvl="0"/>
            <a:r>
              <a:rPr lang="nl-NL" noProof="0"/>
              <a:t>Aanpassen tekst</a:t>
            </a:r>
          </a:p>
          <a:p>
            <a:pPr lvl="1"/>
            <a:r>
              <a:rPr lang="nl-NL" noProof="0"/>
              <a:t>Tweede level</a:t>
            </a:r>
          </a:p>
          <a:p>
            <a:pPr lvl="2"/>
            <a:r>
              <a:rPr lang="nl-NL" noProof="0"/>
              <a:t>Derde level</a:t>
            </a:r>
          </a:p>
        </p:txBody>
      </p:sp>
      <p:sp>
        <p:nvSpPr>
          <p:cNvPr id="30" name="Tijdelijke aanduiding voor tekst 11">
            <a:extLst>
              <a:ext uri="{FF2B5EF4-FFF2-40B4-BE49-F238E27FC236}">
                <a16:creationId xmlns:a16="http://schemas.microsoft.com/office/drawing/2014/main" id="{9B3353CF-18B6-4732-9FC2-7BCABCA2AF74}"/>
              </a:ext>
            </a:extLst>
          </p:cNvPr>
          <p:cNvSpPr>
            <a:spLocks noGrp="1"/>
          </p:cNvSpPr>
          <p:nvPr>
            <p:ph type="body" sz="quarter" idx="15" hasCustomPrompt="1"/>
          </p:nvPr>
        </p:nvSpPr>
        <p:spPr>
          <a:xfrm>
            <a:off x="7575791" y="1962150"/>
            <a:ext cx="3216036" cy="1866900"/>
          </a:xfrm>
          <a:prstGeom prst="rect">
            <a:avLst/>
          </a:prstGeom>
        </p:spPr>
        <p:txBody>
          <a:bodyPr lIns="0" tIns="0" rIns="0" bIns="0"/>
          <a:lstStyle>
            <a:lvl1pPr marL="266567" indent="-266567">
              <a:buClr>
                <a:schemeClr val="accent1"/>
              </a:buClr>
              <a:defRPr sz="1799">
                <a:solidFill>
                  <a:schemeClr val="tx1"/>
                </a:solidFill>
              </a:defRPr>
            </a:lvl1pPr>
            <a:lvl2pPr marL="625162" indent="-266567">
              <a:buClr>
                <a:schemeClr val="accent1"/>
              </a:buClr>
              <a:buFont typeface="Calibri" panose="020F0502020204030204" pitchFamily="34" charset="0"/>
              <a:buChar char="-"/>
              <a:defRPr sz="1599">
                <a:solidFill>
                  <a:schemeClr val="tx1">
                    <a:lumMod val="50000"/>
                    <a:lumOff val="50000"/>
                  </a:schemeClr>
                </a:solidFill>
              </a:defRPr>
            </a:lvl2pPr>
            <a:lvl3pPr marL="890143" indent="-264980">
              <a:buClr>
                <a:schemeClr val="accent1"/>
              </a:buClr>
              <a:buFont typeface="Wingdings" panose="05000000000000000000" pitchFamily="2" charset="2"/>
              <a:buChar char="§"/>
              <a:defRPr sz="1399">
                <a:solidFill>
                  <a:schemeClr val="tx1"/>
                </a:solidFill>
              </a:defRPr>
            </a:lvl3pPr>
          </a:lstStyle>
          <a:p>
            <a:pPr lvl="0"/>
            <a:r>
              <a:rPr lang="nl-NL" noProof="0"/>
              <a:t>Aanpassen tekst</a:t>
            </a:r>
          </a:p>
          <a:p>
            <a:pPr lvl="1"/>
            <a:r>
              <a:rPr lang="nl-NL" noProof="0"/>
              <a:t>Tweede level</a:t>
            </a:r>
          </a:p>
          <a:p>
            <a:pPr lvl="2"/>
            <a:r>
              <a:rPr lang="nl-NL" noProof="0"/>
              <a:t>Derde level</a:t>
            </a:r>
          </a:p>
        </p:txBody>
      </p:sp>
      <p:sp>
        <p:nvSpPr>
          <p:cNvPr id="31" name="Tijdelijke aanduiding voor tekst 11">
            <a:extLst>
              <a:ext uri="{FF2B5EF4-FFF2-40B4-BE49-F238E27FC236}">
                <a16:creationId xmlns:a16="http://schemas.microsoft.com/office/drawing/2014/main" id="{29191A71-D738-4511-9190-DA2629706DA8}"/>
              </a:ext>
            </a:extLst>
          </p:cNvPr>
          <p:cNvSpPr>
            <a:spLocks noGrp="1"/>
          </p:cNvSpPr>
          <p:nvPr>
            <p:ph type="body" sz="quarter" idx="16" hasCustomPrompt="1"/>
          </p:nvPr>
        </p:nvSpPr>
        <p:spPr>
          <a:xfrm>
            <a:off x="7575791" y="4080633"/>
            <a:ext cx="3216036" cy="1866900"/>
          </a:xfrm>
          <a:prstGeom prst="rect">
            <a:avLst/>
          </a:prstGeom>
        </p:spPr>
        <p:txBody>
          <a:bodyPr lIns="0" tIns="0" rIns="0" bIns="0"/>
          <a:lstStyle>
            <a:lvl1pPr marL="266567" indent="-266567">
              <a:buClr>
                <a:schemeClr val="accent1"/>
              </a:buClr>
              <a:defRPr sz="1799">
                <a:solidFill>
                  <a:schemeClr val="tx1"/>
                </a:solidFill>
              </a:defRPr>
            </a:lvl1pPr>
            <a:lvl2pPr marL="625162" indent="-266567">
              <a:buClr>
                <a:schemeClr val="accent1"/>
              </a:buClr>
              <a:buFont typeface="Calibri" panose="020F0502020204030204" pitchFamily="34" charset="0"/>
              <a:buChar char="-"/>
              <a:defRPr sz="1599">
                <a:solidFill>
                  <a:schemeClr val="tx1">
                    <a:lumMod val="50000"/>
                    <a:lumOff val="50000"/>
                  </a:schemeClr>
                </a:solidFill>
              </a:defRPr>
            </a:lvl2pPr>
            <a:lvl3pPr marL="890143" indent="-264980">
              <a:buClr>
                <a:schemeClr val="accent1"/>
              </a:buClr>
              <a:buFont typeface="Wingdings" panose="05000000000000000000" pitchFamily="2" charset="2"/>
              <a:buChar char="§"/>
              <a:defRPr sz="1399">
                <a:solidFill>
                  <a:schemeClr val="tx1"/>
                </a:solidFill>
              </a:defRPr>
            </a:lvl3pPr>
          </a:lstStyle>
          <a:p>
            <a:pPr lvl="0"/>
            <a:r>
              <a:rPr lang="nl-NL" noProof="0"/>
              <a:t>Aanpassen tekst</a:t>
            </a:r>
          </a:p>
          <a:p>
            <a:pPr lvl="1"/>
            <a:r>
              <a:rPr lang="nl-NL" noProof="0"/>
              <a:t>Tweede level</a:t>
            </a:r>
          </a:p>
          <a:p>
            <a:pPr lvl="2"/>
            <a:r>
              <a:rPr lang="nl-NL" noProof="0"/>
              <a:t>Derde level</a:t>
            </a:r>
          </a:p>
        </p:txBody>
      </p:sp>
      <p:sp>
        <p:nvSpPr>
          <p:cNvPr id="5" name="Tijdelijke aanduiding voor tekst 4">
            <a:extLst>
              <a:ext uri="{FF2B5EF4-FFF2-40B4-BE49-F238E27FC236}">
                <a16:creationId xmlns:a16="http://schemas.microsoft.com/office/drawing/2014/main" id="{0ACADCD3-098C-45DE-9F13-7A32B841EC7F}"/>
              </a:ext>
            </a:extLst>
          </p:cNvPr>
          <p:cNvSpPr>
            <a:spLocks noGrp="1"/>
          </p:cNvSpPr>
          <p:nvPr>
            <p:ph type="body" sz="quarter" idx="17" hasCustomPrompt="1"/>
          </p:nvPr>
        </p:nvSpPr>
        <p:spPr>
          <a:xfrm>
            <a:off x="5343525" y="3429000"/>
            <a:ext cx="646113" cy="292100"/>
          </a:xfrm>
          <a:prstGeom prst="rect">
            <a:avLst/>
          </a:prstGeom>
        </p:spPr>
        <p:txBody>
          <a:bodyPr/>
          <a:lstStyle>
            <a:lvl1pPr marL="0" indent="0" algn="ctr">
              <a:buNone/>
              <a:defRPr sz="1399">
                <a:solidFill>
                  <a:schemeClr val="bg1"/>
                </a:solidFill>
              </a:defRPr>
            </a:lvl1pPr>
            <a:lvl2pPr marL="456971" indent="0">
              <a:buNone/>
              <a:defRPr>
                <a:solidFill>
                  <a:schemeClr val="bg1"/>
                </a:solidFill>
              </a:defRPr>
            </a:lvl2pPr>
            <a:lvl3pPr marL="913943" indent="0">
              <a:buNone/>
              <a:defRPr>
                <a:solidFill>
                  <a:schemeClr val="bg1"/>
                </a:solidFill>
              </a:defRPr>
            </a:lvl3pPr>
            <a:lvl4pPr marL="1370914" indent="0">
              <a:buNone/>
              <a:defRPr>
                <a:solidFill>
                  <a:schemeClr val="bg1"/>
                </a:solidFill>
              </a:defRPr>
            </a:lvl4pPr>
            <a:lvl5pPr marL="1827886" indent="0">
              <a:buNone/>
              <a:defRPr>
                <a:solidFill>
                  <a:schemeClr val="bg1"/>
                </a:solidFill>
              </a:defRPr>
            </a:lvl5pPr>
          </a:lstStyle>
          <a:p>
            <a:pPr lvl="0"/>
            <a:r>
              <a:rPr lang="nl-NL" noProof="0"/>
              <a:t>Tekst
</a:t>
            </a:r>
          </a:p>
        </p:txBody>
      </p:sp>
      <p:sp>
        <p:nvSpPr>
          <p:cNvPr id="32" name="Tijdelijke aanduiding voor tekst 4">
            <a:extLst>
              <a:ext uri="{FF2B5EF4-FFF2-40B4-BE49-F238E27FC236}">
                <a16:creationId xmlns:a16="http://schemas.microsoft.com/office/drawing/2014/main" id="{95FB77A0-6438-4527-9242-A03F3A0D6FFD}"/>
              </a:ext>
            </a:extLst>
          </p:cNvPr>
          <p:cNvSpPr>
            <a:spLocks noGrp="1"/>
          </p:cNvSpPr>
          <p:nvPr>
            <p:ph type="body" sz="quarter" idx="18" hasCustomPrompt="1"/>
          </p:nvPr>
        </p:nvSpPr>
        <p:spPr>
          <a:xfrm>
            <a:off x="6228810" y="3429000"/>
            <a:ext cx="646113" cy="292100"/>
          </a:xfrm>
          <a:prstGeom prst="rect">
            <a:avLst/>
          </a:prstGeom>
        </p:spPr>
        <p:txBody>
          <a:bodyPr/>
          <a:lstStyle>
            <a:lvl1pPr marL="0" indent="0" algn="ctr">
              <a:buNone/>
              <a:defRPr sz="1399">
                <a:solidFill>
                  <a:schemeClr val="bg1"/>
                </a:solidFill>
              </a:defRPr>
            </a:lvl1pPr>
            <a:lvl2pPr marL="456971" indent="0">
              <a:buNone/>
              <a:defRPr>
                <a:solidFill>
                  <a:schemeClr val="bg1"/>
                </a:solidFill>
              </a:defRPr>
            </a:lvl2pPr>
            <a:lvl3pPr marL="913943" indent="0">
              <a:buNone/>
              <a:defRPr>
                <a:solidFill>
                  <a:schemeClr val="bg1"/>
                </a:solidFill>
              </a:defRPr>
            </a:lvl3pPr>
            <a:lvl4pPr marL="1370914" indent="0">
              <a:buNone/>
              <a:defRPr>
                <a:solidFill>
                  <a:schemeClr val="bg1"/>
                </a:solidFill>
              </a:defRPr>
            </a:lvl4pPr>
            <a:lvl5pPr marL="1827886" indent="0">
              <a:buNone/>
              <a:defRPr>
                <a:solidFill>
                  <a:schemeClr val="bg1"/>
                </a:solidFill>
              </a:defRPr>
            </a:lvl5pPr>
          </a:lstStyle>
          <a:p>
            <a:pPr lvl="0"/>
            <a:r>
              <a:rPr lang="nl-NL" noProof="0"/>
              <a:t>tekst</a:t>
            </a:r>
          </a:p>
        </p:txBody>
      </p:sp>
      <p:sp>
        <p:nvSpPr>
          <p:cNvPr id="33" name="Tijdelijke aanduiding voor tekst 4">
            <a:extLst>
              <a:ext uri="{FF2B5EF4-FFF2-40B4-BE49-F238E27FC236}">
                <a16:creationId xmlns:a16="http://schemas.microsoft.com/office/drawing/2014/main" id="{C23C21B9-452B-47AF-972C-70148CCA2C9C}"/>
              </a:ext>
            </a:extLst>
          </p:cNvPr>
          <p:cNvSpPr>
            <a:spLocks noGrp="1"/>
          </p:cNvSpPr>
          <p:nvPr>
            <p:ph type="body" sz="quarter" idx="19" hasCustomPrompt="1"/>
          </p:nvPr>
        </p:nvSpPr>
        <p:spPr>
          <a:xfrm>
            <a:off x="5343525" y="4039456"/>
            <a:ext cx="646113" cy="292100"/>
          </a:xfrm>
          <a:prstGeom prst="rect">
            <a:avLst/>
          </a:prstGeom>
        </p:spPr>
        <p:txBody>
          <a:bodyPr/>
          <a:lstStyle>
            <a:lvl1pPr marL="0" indent="0" algn="ctr">
              <a:buNone/>
              <a:defRPr sz="1399">
                <a:solidFill>
                  <a:schemeClr val="bg1"/>
                </a:solidFill>
              </a:defRPr>
            </a:lvl1pPr>
            <a:lvl2pPr marL="456971" indent="0">
              <a:buNone/>
              <a:defRPr>
                <a:solidFill>
                  <a:schemeClr val="bg1"/>
                </a:solidFill>
              </a:defRPr>
            </a:lvl2pPr>
            <a:lvl3pPr marL="913943" indent="0">
              <a:buNone/>
              <a:defRPr>
                <a:solidFill>
                  <a:schemeClr val="bg1"/>
                </a:solidFill>
              </a:defRPr>
            </a:lvl3pPr>
            <a:lvl4pPr marL="1370914" indent="0">
              <a:buNone/>
              <a:defRPr>
                <a:solidFill>
                  <a:schemeClr val="bg1"/>
                </a:solidFill>
              </a:defRPr>
            </a:lvl4pPr>
            <a:lvl5pPr marL="1827886" indent="0">
              <a:buNone/>
              <a:defRPr>
                <a:solidFill>
                  <a:schemeClr val="bg1"/>
                </a:solidFill>
              </a:defRPr>
            </a:lvl5pPr>
          </a:lstStyle>
          <a:p>
            <a:pPr lvl="0"/>
            <a:r>
              <a:rPr lang="nl-NL" noProof="0"/>
              <a:t>tekst</a:t>
            </a:r>
          </a:p>
        </p:txBody>
      </p:sp>
      <p:sp>
        <p:nvSpPr>
          <p:cNvPr id="34" name="Tijdelijke aanduiding voor tekst 4">
            <a:extLst>
              <a:ext uri="{FF2B5EF4-FFF2-40B4-BE49-F238E27FC236}">
                <a16:creationId xmlns:a16="http://schemas.microsoft.com/office/drawing/2014/main" id="{F0DD2AEF-768F-4569-A000-6F18A6682AAF}"/>
              </a:ext>
            </a:extLst>
          </p:cNvPr>
          <p:cNvSpPr>
            <a:spLocks noGrp="1"/>
          </p:cNvSpPr>
          <p:nvPr>
            <p:ph type="body" sz="quarter" idx="20" hasCustomPrompt="1"/>
          </p:nvPr>
        </p:nvSpPr>
        <p:spPr>
          <a:xfrm>
            <a:off x="6228810" y="4039456"/>
            <a:ext cx="646113" cy="292100"/>
          </a:xfrm>
          <a:prstGeom prst="rect">
            <a:avLst/>
          </a:prstGeom>
        </p:spPr>
        <p:txBody>
          <a:bodyPr/>
          <a:lstStyle>
            <a:lvl1pPr marL="0" indent="0" algn="ctr">
              <a:buNone/>
              <a:defRPr sz="1399">
                <a:solidFill>
                  <a:schemeClr val="bg1"/>
                </a:solidFill>
              </a:defRPr>
            </a:lvl1pPr>
            <a:lvl2pPr marL="456971" indent="0">
              <a:buNone/>
              <a:defRPr>
                <a:solidFill>
                  <a:schemeClr val="bg1"/>
                </a:solidFill>
              </a:defRPr>
            </a:lvl2pPr>
            <a:lvl3pPr marL="913943" indent="0">
              <a:buNone/>
              <a:defRPr>
                <a:solidFill>
                  <a:schemeClr val="bg1"/>
                </a:solidFill>
              </a:defRPr>
            </a:lvl3pPr>
            <a:lvl4pPr marL="1370914" indent="0">
              <a:buNone/>
              <a:defRPr>
                <a:solidFill>
                  <a:schemeClr val="bg1"/>
                </a:solidFill>
              </a:defRPr>
            </a:lvl4pPr>
            <a:lvl5pPr marL="1827886" indent="0">
              <a:buNone/>
              <a:defRPr>
                <a:solidFill>
                  <a:schemeClr val="bg1"/>
                </a:solidFill>
              </a:defRPr>
            </a:lvl5pPr>
          </a:lstStyle>
          <a:p>
            <a:pPr lvl="0"/>
            <a:r>
              <a:rPr lang="nl-NL" noProof="0"/>
              <a:t>tekst</a:t>
            </a:r>
          </a:p>
        </p:txBody>
      </p:sp>
    </p:spTree>
    <p:extLst>
      <p:ext uri="{BB962C8B-B14F-4D97-AF65-F5344CB8AC3E}">
        <p14:creationId xmlns:p14="http://schemas.microsoft.com/office/powerpoint/2010/main" val="2373557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aptop XL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2174335" y="1452622"/>
            <a:ext cx="7843329" cy="5151378"/>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grpSp>
      <p:sp>
        <p:nvSpPr>
          <p:cNvPr id="9" name="Picture Placeholder 8">
            <a:extLst>
              <a:ext uri="{FF2B5EF4-FFF2-40B4-BE49-F238E27FC236}">
                <a16:creationId xmlns:a16="http://schemas.microsoft.com/office/drawing/2014/main" id="{F8E80370-8790-4863-AB9C-02FC64D074B3}"/>
              </a:ext>
            </a:extLst>
          </p:cNvPr>
          <p:cNvSpPr>
            <a:spLocks noGrp="1"/>
          </p:cNvSpPr>
          <p:nvPr>
            <p:ph type="pic" sz="quarter" idx="12" hasCustomPrompt="1"/>
          </p:nvPr>
        </p:nvSpPr>
        <p:spPr>
          <a:xfrm>
            <a:off x="3184586" y="1986646"/>
            <a:ext cx="5751070" cy="3569202"/>
          </a:xfrm>
          <a:prstGeom prst="rect">
            <a:avLst/>
          </a:prstGeom>
          <a:pattFill prst="dkUpDiag">
            <a:fgClr>
              <a:schemeClr val="bg1">
                <a:lumMod val="75000"/>
              </a:schemeClr>
            </a:fgClr>
            <a:bgClr>
              <a:schemeClr val="bg1">
                <a:lumMod val="95000"/>
              </a:schemeClr>
            </a:bgClr>
          </a:pattFill>
        </p:spPr>
        <p:txBody>
          <a:bodyPr tIns="180000"/>
          <a:lstStyle>
            <a:lvl1pPr marL="0" indent="0" algn="ctr">
              <a:buNone/>
              <a:defRPr sz="1600"/>
            </a:lvl1pPr>
          </a:lstStyle>
          <a:p>
            <a:r>
              <a:rPr lang="en-US" noProof="0"/>
              <a:t>Click icon to insert an image</a:t>
            </a:r>
          </a:p>
        </p:txBody>
      </p:sp>
    </p:spTree>
    <p:extLst>
      <p:ext uri="{BB962C8B-B14F-4D97-AF65-F5344CB8AC3E}">
        <p14:creationId xmlns:p14="http://schemas.microsoft.com/office/powerpoint/2010/main" val="136273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aptop XL vide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noProof="0"/>
              <a:t>Click to edit </a:t>
            </a:r>
            <a:br>
              <a:rPr lang="en-US" noProof="0"/>
            </a:br>
            <a:r>
              <a:rPr lang="en-US" noProof="0"/>
              <a:t>Master title style</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noProof="0"/>
              <a:t>Place footnotes in this area</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noProof="0"/>
              <a:t>Click to edit sub title style</a:t>
            </a:r>
          </a:p>
        </p:txBody>
      </p:sp>
      <p:grpSp>
        <p:nvGrpSpPr>
          <p:cNvPr id="5" name="Group 34">
            <a:extLst>
              <a:ext uri="{FF2B5EF4-FFF2-40B4-BE49-F238E27FC236}">
                <a16:creationId xmlns:a16="http://schemas.microsoft.com/office/drawing/2014/main" id="{0CD61E2B-657B-4C58-A29E-1D65300884D2}"/>
              </a:ext>
            </a:extLst>
          </p:cNvPr>
          <p:cNvGrpSpPr/>
          <p:nvPr userDrawn="1"/>
        </p:nvGrpSpPr>
        <p:grpSpPr>
          <a:xfrm>
            <a:off x="2174335" y="1452622"/>
            <a:ext cx="7843329" cy="5151378"/>
            <a:chOff x="2323609" y="1005294"/>
            <a:chExt cx="4515737" cy="2966252"/>
          </a:xfrm>
        </p:grpSpPr>
        <p:pic>
          <p:nvPicPr>
            <p:cNvPr id="7" name="Picture 35">
              <a:extLst>
                <a:ext uri="{FF2B5EF4-FFF2-40B4-BE49-F238E27FC236}">
                  <a16:creationId xmlns:a16="http://schemas.microsoft.com/office/drawing/2014/main" id="{CDDB184A-3902-4265-953D-528D00636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0561" b="13107"/>
            <a:stretch/>
          </p:blipFill>
          <p:spPr>
            <a:xfrm>
              <a:off x="2323609" y="1005294"/>
              <a:ext cx="4515737" cy="2966252"/>
            </a:xfrm>
            <a:prstGeom prst="rect">
              <a:avLst/>
            </a:prstGeom>
          </p:spPr>
        </p:pic>
        <p:sp>
          <p:nvSpPr>
            <p:cNvPr id="8" name="Rectangle 36">
              <a:extLst>
                <a:ext uri="{FF2B5EF4-FFF2-40B4-BE49-F238E27FC236}">
                  <a16:creationId xmlns:a16="http://schemas.microsoft.com/office/drawing/2014/main" id="{85F9F213-C14F-4A8F-A72D-C71274AC8BFC}"/>
                </a:ext>
              </a:extLst>
            </p:cNvPr>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grpSp>
      <p:sp>
        <p:nvSpPr>
          <p:cNvPr id="10" name="Media Placeholder 9">
            <a:extLst>
              <a:ext uri="{FF2B5EF4-FFF2-40B4-BE49-F238E27FC236}">
                <a16:creationId xmlns:a16="http://schemas.microsoft.com/office/drawing/2014/main" id="{19DB4B01-EB8D-4060-A3E9-7E3E8B6AFED0}"/>
              </a:ext>
            </a:extLst>
          </p:cNvPr>
          <p:cNvSpPr>
            <a:spLocks noGrp="1"/>
          </p:cNvSpPr>
          <p:nvPr>
            <p:ph type="media" sz="quarter" idx="12" hasCustomPrompt="1"/>
          </p:nvPr>
        </p:nvSpPr>
        <p:spPr>
          <a:xfrm>
            <a:off x="3189288" y="1987550"/>
            <a:ext cx="5749925" cy="3559175"/>
          </a:xfrm>
          <a:prstGeom prst="rect">
            <a:avLst/>
          </a:prstGeom>
          <a:pattFill prst="dkUpDiag">
            <a:fgClr>
              <a:schemeClr val="bg1">
                <a:lumMod val="75000"/>
              </a:schemeClr>
            </a:fgClr>
            <a:bgClr>
              <a:schemeClr val="bg1">
                <a:lumMod val="95000"/>
              </a:schemeClr>
            </a:bgClr>
          </a:pattFill>
        </p:spPr>
        <p:txBody>
          <a:bodyPr tIns="18000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Click icon to insert media</a:t>
            </a:r>
          </a:p>
        </p:txBody>
      </p:sp>
    </p:spTree>
    <p:extLst>
      <p:ext uri="{BB962C8B-B14F-4D97-AF65-F5344CB8AC3E}">
        <p14:creationId xmlns:p14="http://schemas.microsoft.com/office/powerpoint/2010/main" val="671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Photo frame full">
    <p:spTree>
      <p:nvGrpSpPr>
        <p:cNvPr id="1" name=""/>
        <p:cNvGrpSpPr/>
        <p:nvPr/>
      </p:nvGrpSpPr>
      <p:grpSpPr>
        <a:xfrm>
          <a:off x="0" y="0"/>
          <a:ext cx="0" cy="0"/>
          <a:chOff x="0" y="0"/>
          <a:chExt cx="0" cy="0"/>
        </a:xfrm>
      </p:grpSpPr>
      <p:sp>
        <p:nvSpPr>
          <p:cNvPr id="18" name="Rectangle 3">
            <a:extLst>
              <a:ext uri="{FF2B5EF4-FFF2-40B4-BE49-F238E27FC236}">
                <a16:creationId xmlns:a16="http://schemas.microsoft.com/office/drawing/2014/main" id="{BA86B133-8EA2-4BCA-9047-7964C012F2D3}"/>
              </a:ext>
            </a:extLst>
          </p:cNvPr>
          <p:cNvSpPr/>
          <p:nvPr userDrawn="1"/>
        </p:nvSpPr>
        <p:spPr>
          <a:xfrm rot="10800000">
            <a:off x="-12761" y="-11579"/>
            <a:ext cx="2293503" cy="6880685"/>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6" name="Group 45">
            <a:extLst>
              <a:ext uri="{FF2B5EF4-FFF2-40B4-BE49-F238E27FC236}">
                <a16:creationId xmlns:a16="http://schemas.microsoft.com/office/drawing/2014/main" id="{D52F4F2B-D6E4-49FD-A49C-C066BB1C819A}"/>
              </a:ext>
            </a:extLst>
          </p:cNvPr>
          <p:cNvGrpSpPr/>
          <p:nvPr userDrawn="1"/>
        </p:nvGrpSpPr>
        <p:grpSpPr>
          <a:xfrm>
            <a:off x="375970" y="509428"/>
            <a:ext cx="1269708" cy="457523"/>
            <a:chOff x="3078163" y="2341563"/>
            <a:chExt cx="6035676" cy="2174875"/>
          </a:xfrm>
        </p:grpSpPr>
        <p:sp>
          <p:nvSpPr>
            <p:cNvPr id="47" name="Freeform 5">
              <a:extLst>
                <a:ext uri="{FF2B5EF4-FFF2-40B4-BE49-F238E27FC236}">
                  <a16:creationId xmlns:a16="http://schemas.microsoft.com/office/drawing/2014/main" id="{CC873411-21FD-495E-B469-63EE401DFB8D}"/>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48" name="Freeform 6">
              <a:extLst>
                <a:ext uri="{FF2B5EF4-FFF2-40B4-BE49-F238E27FC236}">
                  <a16:creationId xmlns:a16="http://schemas.microsoft.com/office/drawing/2014/main" id="{C37F28F2-3A6B-4A2D-BB07-336F952F95BC}"/>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49" name="Freeform 7">
              <a:extLst>
                <a:ext uri="{FF2B5EF4-FFF2-40B4-BE49-F238E27FC236}">
                  <a16:creationId xmlns:a16="http://schemas.microsoft.com/office/drawing/2014/main" id="{F6C91EE9-45B1-4CA7-B9FF-2B382E9BA059}"/>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50" name="Freeform 8">
              <a:extLst>
                <a:ext uri="{FF2B5EF4-FFF2-40B4-BE49-F238E27FC236}">
                  <a16:creationId xmlns:a16="http://schemas.microsoft.com/office/drawing/2014/main" id="{8FB6BFED-CA50-4767-90E7-F7F31F6E872C}"/>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51" name="Freeform 9">
              <a:extLst>
                <a:ext uri="{FF2B5EF4-FFF2-40B4-BE49-F238E27FC236}">
                  <a16:creationId xmlns:a16="http://schemas.microsoft.com/office/drawing/2014/main" id="{1CCB9127-4DB0-4E41-9BAE-0917376F7AA8}"/>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52" name="Freeform 10">
              <a:extLst>
                <a:ext uri="{FF2B5EF4-FFF2-40B4-BE49-F238E27FC236}">
                  <a16:creationId xmlns:a16="http://schemas.microsoft.com/office/drawing/2014/main" id="{54C9E3C8-5976-4789-B0A2-88D59AF83147}"/>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53" name="Freeform 11">
              <a:extLst>
                <a:ext uri="{FF2B5EF4-FFF2-40B4-BE49-F238E27FC236}">
                  <a16:creationId xmlns:a16="http://schemas.microsoft.com/office/drawing/2014/main" id="{D20CC8FB-6D1D-428F-A33D-C001800D262E}"/>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5" name="Tijdelijke aanduiding voor afbeelding 14">
            <a:extLst>
              <a:ext uri="{FF2B5EF4-FFF2-40B4-BE49-F238E27FC236}">
                <a16:creationId xmlns:a16="http://schemas.microsoft.com/office/drawing/2014/main" id="{B0BA5DFF-164C-4F33-9EF5-BBA2D30D6CB1}"/>
              </a:ext>
            </a:extLst>
          </p:cNvPr>
          <p:cNvSpPr>
            <a:spLocks noGrp="1"/>
          </p:cNvSpPr>
          <p:nvPr>
            <p:ph type="pic" sz="quarter" idx="12" hasCustomPrompt="1"/>
          </p:nvPr>
        </p:nvSpPr>
        <p:spPr>
          <a:xfrm>
            <a:off x="-9526" y="-11574"/>
            <a:ext cx="12201525" cy="6880686"/>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01525" h="6880686">
                <a:moveTo>
                  <a:pt x="2318085" y="0"/>
                </a:moveTo>
                <a:lnTo>
                  <a:pt x="12201525" y="463"/>
                </a:lnTo>
                <a:cubicBezTo>
                  <a:pt x="12200620" y="625408"/>
                  <a:pt x="12199714" y="1250354"/>
                  <a:pt x="12198810" y="1875299"/>
                </a:cubicBezTo>
                <a:lnTo>
                  <a:pt x="12201525" y="1875299"/>
                </a:lnTo>
                <a:lnTo>
                  <a:pt x="12201525" y="6344112"/>
                </a:lnTo>
                <a:lnTo>
                  <a:pt x="12199508" y="6344112"/>
                </a:lnTo>
                <a:cubicBezTo>
                  <a:pt x="12200181" y="6522970"/>
                  <a:pt x="12200852" y="6701828"/>
                  <a:pt x="12201525" y="6880686"/>
                </a:cubicBezTo>
                <a:lnTo>
                  <a:pt x="0" y="6880686"/>
                </a:lnTo>
                <a:lnTo>
                  <a:pt x="11673" y="6841306"/>
                </a:lnTo>
                <a:lnTo>
                  <a:pt x="1308276" y="2995309"/>
                </a:lnTo>
                <a:lnTo>
                  <a:pt x="1457809" y="2580257"/>
                </a:lnTo>
                <a:cubicBezTo>
                  <a:pt x="1662353" y="2006866"/>
                  <a:pt x="1860795" y="1433476"/>
                  <a:pt x="2040932" y="860085"/>
                </a:cubicBezTo>
                <a:lnTo>
                  <a:pt x="2134197" y="54545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dirty="0"/>
            </a:lvl1pPr>
          </a:lstStyle>
          <a:p>
            <a:pPr marL="228600" lvl="0" indent="-228600" algn="ctr"/>
            <a:r>
              <a:rPr lang="en-US" noProof="0"/>
              <a:t>Click icon to insert an image</a:t>
            </a:r>
          </a:p>
        </p:txBody>
      </p:sp>
    </p:spTree>
    <p:extLst>
      <p:ext uri="{BB962C8B-B14F-4D97-AF65-F5344CB8AC3E}">
        <p14:creationId xmlns:p14="http://schemas.microsoft.com/office/powerpoint/2010/main" val="2215550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2">
          <p15:clr>
            <a:srgbClr val="FBAE40"/>
          </p15:clr>
        </p15:guide>
        <p15:guide id="4" orient="horz" pos="4065">
          <p15:clr>
            <a:srgbClr val="FBAE40"/>
          </p15:clr>
        </p15:guide>
        <p15:guide id="5" pos="4404">
          <p15:clr>
            <a:srgbClr val="FBAE40"/>
          </p15:clr>
        </p15:guide>
        <p15:guide id="6" pos="123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sp>
        <p:nvSpPr>
          <p:cNvPr id="28" name="Vrije vorm: vorm 27">
            <a:extLst>
              <a:ext uri="{FF2B5EF4-FFF2-40B4-BE49-F238E27FC236}">
                <a16:creationId xmlns:a16="http://schemas.microsoft.com/office/drawing/2014/main" id="{A7DAE745-3021-445B-9937-0EEA4C1BC8A8}"/>
              </a:ext>
            </a:extLst>
          </p:cNvPr>
          <p:cNvSpPr/>
          <p:nvPr userDrawn="1"/>
        </p:nvSpPr>
        <p:spPr>
          <a:xfrm>
            <a:off x="5873442" y="2546429"/>
            <a:ext cx="6318556" cy="3293654"/>
          </a:xfrm>
          <a:custGeom>
            <a:avLst/>
            <a:gdLst>
              <a:gd name="connsiteX0" fmla="*/ 1106090 w 6318556"/>
              <a:gd name="connsiteY0" fmla="*/ 0 h 3293654"/>
              <a:gd name="connsiteX1" fmla="*/ 1126600 w 6318556"/>
              <a:gd name="connsiteY1" fmla="*/ 46 h 3293654"/>
              <a:gd name="connsiteX2" fmla="*/ 1126615 w 6318556"/>
              <a:gd name="connsiteY2" fmla="*/ 0 h 3293654"/>
              <a:gd name="connsiteX3" fmla="*/ 1126615 w 6318556"/>
              <a:gd name="connsiteY3" fmla="*/ 46 h 3293654"/>
              <a:gd name="connsiteX4" fmla="*/ 6318556 w 6318556"/>
              <a:gd name="connsiteY4" fmla="*/ 11652 h 3293654"/>
              <a:gd name="connsiteX5" fmla="*/ 6318556 w 6318556"/>
              <a:gd name="connsiteY5" fmla="*/ 3293654 h 3293654"/>
              <a:gd name="connsiteX6" fmla="*/ 0 w 6318556"/>
              <a:gd name="connsiteY6" fmla="*/ 3293654 h 3293654"/>
              <a:gd name="connsiteX7" fmla="*/ 955335 w 6318556"/>
              <a:gd name="connsiteY7" fmla="*/ 500738 h 3293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8556" h="3293654">
                <a:moveTo>
                  <a:pt x="1106090" y="0"/>
                </a:moveTo>
                <a:lnTo>
                  <a:pt x="1126600" y="46"/>
                </a:lnTo>
                <a:lnTo>
                  <a:pt x="1126615" y="0"/>
                </a:lnTo>
                <a:lnTo>
                  <a:pt x="1126615" y="46"/>
                </a:lnTo>
                <a:lnTo>
                  <a:pt x="6318556" y="11652"/>
                </a:lnTo>
                <a:lnTo>
                  <a:pt x="6318556" y="3293654"/>
                </a:lnTo>
                <a:lnTo>
                  <a:pt x="0" y="3293654"/>
                </a:lnTo>
                <a:lnTo>
                  <a:pt x="955335" y="5007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18" name="Rectangle 3">
            <a:extLst>
              <a:ext uri="{FF2B5EF4-FFF2-40B4-BE49-F238E27FC236}">
                <a16:creationId xmlns:a16="http://schemas.microsoft.com/office/drawing/2014/main" id="{BA86B133-8EA2-4BCA-9047-7964C012F2D3}"/>
              </a:ext>
            </a:extLst>
          </p:cNvPr>
          <p:cNvSpPr/>
          <p:nvPr userDrawn="1"/>
        </p:nvSpPr>
        <p:spPr>
          <a:xfrm rot="10800000">
            <a:off x="-9530" y="-11577"/>
            <a:ext cx="2311293" cy="6880686"/>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6979454" y="2995165"/>
            <a:ext cx="4862858" cy="2152893"/>
          </a:xfrm>
          <a:prstGeom prst="rect">
            <a:avLst/>
          </a:prstGeom>
        </p:spPr>
        <p:txBody>
          <a:bodyPr lIns="0" tIns="0" rIns="0" bIns="72000" anchor="b" anchorCtr="0"/>
          <a:lstStyle>
            <a:lvl1pPr>
              <a:defRPr sz="2800">
                <a:solidFill>
                  <a:schemeClr val="bg1"/>
                </a:solidFill>
              </a:defRPr>
            </a:lvl1pPr>
          </a:lstStyle>
          <a:p>
            <a:r>
              <a:rPr lang="en-US" noProof="0"/>
              <a:t>Click to edit </a:t>
            </a:r>
            <a:br>
              <a:rPr lang="en-US" noProof="0"/>
            </a:br>
            <a:r>
              <a:rPr lang="en-US" noProof="0"/>
              <a:t>Master title style</a:t>
            </a:r>
          </a:p>
        </p:txBody>
      </p:sp>
      <p:sp>
        <p:nvSpPr>
          <p:cNvPr id="26" name="Tijdelijke aanduiding voor afbeelding 25">
            <a:extLst>
              <a:ext uri="{FF2B5EF4-FFF2-40B4-BE49-F238E27FC236}">
                <a16:creationId xmlns:a16="http://schemas.microsoft.com/office/drawing/2014/main" id="{D2D835CF-AC8F-47B2-9687-324E766D8FE4}"/>
              </a:ext>
            </a:extLst>
          </p:cNvPr>
          <p:cNvSpPr>
            <a:spLocks noGrp="1"/>
          </p:cNvSpPr>
          <p:nvPr>
            <p:ph type="pic" sz="quarter" idx="12" hasCustomPrompt="1"/>
          </p:nvPr>
        </p:nvSpPr>
        <p:spPr>
          <a:xfrm>
            <a:off x="-9526" y="-11574"/>
            <a:ext cx="12201525" cy="6880686"/>
          </a:xfrm>
          <a:custGeom>
            <a:avLst/>
            <a:gdLst>
              <a:gd name="connsiteX0" fmla="*/ 6989058 w 12201525"/>
              <a:gd name="connsiteY0" fmla="*/ 2558003 h 6880686"/>
              <a:gd name="connsiteX1" fmla="*/ 6838303 w 12201525"/>
              <a:gd name="connsiteY1" fmla="*/ 3058741 h 6880686"/>
              <a:gd name="connsiteX2" fmla="*/ 5882968 w 12201525"/>
              <a:gd name="connsiteY2" fmla="*/ 5851657 h 6880686"/>
              <a:gd name="connsiteX3" fmla="*/ 12201524 w 12201525"/>
              <a:gd name="connsiteY3" fmla="*/ 5851657 h 6880686"/>
              <a:gd name="connsiteX4" fmla="*/ 12201524 w 12201525"/>
              <a:gd name="connsiteY4" fmla="*/ 2569655 h 6880686"/>
              <a:gd name="connsiteX5" fmla="*/ 7009583 w 12201525"/>
              <a:gd name="connsiteY5" fmla="*/ 2558049 h 6880686"/>
              <a:gd name="connsiteX6" fmla="*/ 7009583 w 12201525"/>
              <a:gd name="connsiteY6" fmla="*/ 2558003 h 6880686"/>
              <a:gd name="connsiteX7" fmla="*/ 7009568 w 12201525"/>
              <a:gd name="connsiteY7" fmla="*/ 2558049 h 6880686"/>
              <a:gd name="connsiteX8" fmla="*/ 2318085 w 12201525"/>
              <a:gd name="connsiteY8" fmla="*/ 0 h 6880686"/>
              <a:gd name="connsiteX9" fmla="*/ 12201525 w 12201525"/>
              <a:gd name="connsiteY9" fmla="*/ 463 h 6880686"/>
              <a:gd name="connsiteX10" fmla="*/ 12198810 w 12201525"/>
              <a:gd name="connsiteY10" fmla="*/ 1875299 h 6880686"/>
              <a:gd name="connsiteX11" fmla="*/ 12201525 w 12201525"/>
              <a:gd name="connsiteY11" fmla="*/ 1875299 h 6880686"/>
              <a:gd name="connsiteX12" fmla="*/ 12201525 w 12201525"/>
              <a:gd name="connsiteY12" fmla="*/ 6344112 h 6880686"/>
              <a:gd name="connsiteX13" fmla="*/ 12199508 w 12201525"/>
              <a:gd name="connsiteY13" fmla="*/ 6344112 h 6880686"/>
              <a:gd name="connsiteX14" fmla="*/ 12201525 w 12201525"/>
              <a:gd name="connsiteY14" fmla="*/ 6880686 h 6880686"/>
              <a:gd name="connsiteX15" fmla="*/ 0 w 12201525"/>
              <a:gd name="connsiteY15" fmla="*/ 6880686 h 6880686"/>
              <a:gd name="connsiteX16" fmla="*/ 11673 w 12201525"/>
              <a:gd name="connsiteY16" fmla="*/ 6841306 h 6880686"/>
              <a:gd name="connsiteX17" fmla="*/ 1308276 w 12201525"/>
              <a:gd name="connsiteY17" fmla="*/ 2995309 h 6880686"/>
              <a:gd name="connsiteX18" fmla="*/ 1457809 w 12201525"/>
              <a:gd name="connsiteY18" fmla="*/ 2580257 h 6880686"/>
              <a:gd name="connsiteX19" fmla="*/ 2040932 w 12201525"/>
              <a:gd name="connsiteY19" fmla="*/ 860085 h 6880686"/>
              <a:gd name="connsiteX20" fmla="*/ 2134197 w 12201525"/>
              <a:gd name="connsiteY20" fmla="*/ 545453 h 688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201525" h="6880686">
                <a:moveTo>
                  <a:pt x="6989058" y="2558003"/>
                </a:moveTo>
                <a:lnTo>
                  <a:pt x="6838303" y="3058741"/>
                </a:lnTo>
                <a:lnTo>
                  <a:pt x="5882968" y="5851657"/>
                </a:lnTo>
                <a:lnTo>
                  <a:pt x="12201524" y="5851657"/>
                </a:lnTo>
                <a:lnTo>
                  <a:pt x="12201524" y="2569655"/>
                </a:lnTo>
                <a:lnTo>
                  <a:pt x="7009583" y="2558049"/>
                </a:lnTo>
                <a:lnTo>
                  <a:pt x="7009583" y="2558003"/>
                </a:lnTo>
                <a:lnTo>
                  <a:pt x="7009568" y="2558049"/>
                </a:lnTo>
                <a:close/>
                <a:moveTo>
                  <a:pt x="2318085" y="0"/>
                </a:moveTo>
                <a:lnTo>
                  <a:pt x="12201525" y="463"/>
                </a:lnTo>
                <a:cubicBezTo>
                  <a:pt x="12200620" y="625408"/>
                  <a:pt x="12199714" y="1250354"/>
                  <a:pt x="12198810" y="1875299"/>
                </a:cubicBezTo>
                <a:lnTo>
                  <a:pt x="12201525" y="1875299"/>
                </a:lnTo>
                <a:lnTo>
                  <a:pt x="12201525" y="6344112"/>
                </a:lnTo>
                <a:lnTo>
                  <a:pt x="12199508" y="6344112"/>
                </a:lnTo>
                <a:cubicBezTo>
                  <a:pt x="12200181" y="6522970"/>
                  <a:pt x="12200852" y="6701828"/>
                  <a:pt x="12201525" y="6880686"/>
                </a:cubicBezTo>
                <a:lnTo>
                  <a:pt x="0" y="6880686"/>
                </a:lnTo>
                <a:lnTo>
                  <a:pt x="11673" y="6841306"/>
                </a:lnTo>
                <a:lnTo>
                  <a:pt x="1308276" y="2995309"/>
                </a:lnTo>
                <a:lnTo>
                  <a:pt x="1457809" y="2580257"/>
                </a:lnTo>
                <a:cubicBezTo>
                  <a:pt x="1662353" y="2006866"/>
                  <a:pt x="1860795" y="1433476"/>
                  <a:pt x="2040932" y="860085"/>
                </a:cubicBezTo>
                <a:lnTo>
                  <a:pt x="2134197" y="54545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None/>
              <a:defRPr lang="nl-NL" sz="1600" dirty="0"/>
            </a:lvl1pPr>
          </a:lstStyle>
          <a:p>
            <a:pPr marL="228600" lvl="0" indent="-228600" algn="ctr"/>
            <a:r>
              <a:rPr lang="en-US" noProof="0"/>
              <a:t>Click icon to insert an image</a:t>
            </a:r>
          </a:p>
        </p:txBody>
      </p:sp>
      <p:grpSp>
        <p:nvGrpSpPr>
          <p:cNvPr id="15" name="Group 14">
            <a:extLst>
              <a:ext uri="{FF2B5EF4-FFF2-40B4-BE49-F238E27FC236}">
                <a16:creationId xmlns:a16="http://schemas.microsoft.com/office/drawing/2014/main" id="{C0FAACAD-4552-CD4D-BDF0-611AEAED22F5}"/>
              </a:ext>
            </a:extLst>
          </p:cNvPr>
          <p:cNvGrpSpPr/>
          <p:nvPr userDrawn="1"/>
        </p:nvGrpSpPr>
        <p:grpSpPr>
          <a:xfrm>
            <a:off x="375970" y="509428"/>
            <a:ext cx="1269708" cy="457523"/>
            <a:chOff x="3078163" y="2341563"/>
            <a:chExt cx="6035676" cy="2174875"/>
          </a:xfrm>
        </p:grpSpPr>
        <p:sp>
          <p:nvSpPr>
            <p:cNvPr id="16" name="Freeform 5">
              <a:extLst>
                <a:ext uri="{FF2B5EF4-FFF2-40B4-BE49-F238E27FC236}">
                  <a16:creationId xmlns:a16="http://schemas.microsoft.com/office/drawing/2014/main" id="{C83A5D12-FAF6-504C-B2FD-C6E83D549131}"/>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7" name="Freeform 6">
              <a:extLst>
                <a:ext uri="{FF2B5EF4-FFF2-40B4-BE49-F238E27FC236}">
                  <a16:creationId xmlns:a16="http://schemas.microsoft.com/office/drawing/2014/main" id="{6E8BC0E6-FFF7-964A-A8F8-259E13B42E78}"/>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9" name="Freeform 7">
              <a:extLst>
                <a:ext uri="{FF2B5EF4-FFF2-40B4-BE49-F238E27FC236}">
                  <a16:creationId xmlns:a16="http://schemas.microsoft.com/office/drawing/2014/main" id="{114F31EA-8D74-B946-A277-58356FD95CB4}"/>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0" name="Freeform 8">
              <a:extLst>
                <a:ext uri="{FF2B5EF4-FFF2-40B4-BE49-F238E27FC236}">
                  <a16:creationId xmlns:a16="http://schemas.microsoft.com/office/drawing/2014/main" id="{BE90E716-DDAC-D744-B755-8020656C05B4}"/>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1" name="Freeform 9">
              <a:extLst>
                <a:ext uri="{FF2B5EF4-FFF2-40B4-BE49-F238E27FC236}">
                  <a16:creationId xmlns:a16="http://schemas.microsoft.com/office/drawing/2014/main" id="{BBEDE278-6817-6642-9CED-73B9B0EF7C22}"/>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Freeform 10">
              <a:extLst>
                <a:ext uri="{FF2B5EF4-FFF2-40B4-BE49-F238E27FC236}">
                  <a16:creationId xmlns:a16="http://schemas.microsoft.com/office/drawing/2014/main" id="{334752CE-ADF5-5C4D-8231-CC00983FD69C}"/>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11">
              <a:extLst>
                <a:ext uri="{FF2B5EF4-FFF2-40B4-BE49-F238E27FC236}">
                  <a16:creationId xmlns:a16="http://schemas.microsoft.com/office/drawing/2014/main" id="{F927F4F0-2CD3-A742-9CB0-20710EA6AA61}"/>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27" name="Vrije vorm: vorm 26">
            <a:extLst>
              <a:ext uri="{FF2B5EF4-FFF2-40B4-BE49-F238E27FC236}">
                <a16:creationId xmlns:a16="http://schemas.microsoft.com/office/drawing/2014/main" id="{E090E6A0-BBE1-434C-8C1D-CD317F3FF280}"/>
              </a:ext>
            </a:extLst>
          </p:cNvPr>
          <p:cNvSpPr/>
          <p:nvPr userDrawn="1"/>
        </p:nvSpPr>
        <p:spPr>
          <a:xfrm>
            <a:off x="5873442" y="5340453"/>
            <a:ext cx="6318556" cy="499631"/>
          </a:xfrm>
          <a:custGeom>
            <a:avLst/>
            <a:gdLst>
              <a:gd name="connsiteX0" fmla="*/ 170902 w 6318556"/>
              <a:gd name="connsiteY0" fmla="*/ 0 h 499631"/>
              <a:gd name="connsiteX1" fmla="*/ 6318556 w 6318556"/>
              <a:gd name="connsiteY1" fmla="*/ 0 h 499631"/>
              <a:gd name="connsiteX2" fmla="*/ 6318556 w 6318556"/>
              <a:gd name="connsiteY2" fmla="*/ 499631 h 499631"/>
              <a:gd name="connsiteX3" fmla="*/ 0 w 6318556"/>
              <a:gd name="connsiteY3" fmla="*/ 499631 h 499631"/>
            </a:gdLst>
            <a:ahLst/>
            <a:cxnLst>
              <a:cxn ang="0">
                <a:pos x="connsiteX0" y="connsiteY0"/>
              </a:cxn>
              <a:cxn ang="0">
                <a:pos x="connsiteX1" y="connsiteY1"/>
              </a:cxn>
              <a:cxn ang="0">
                <a:pos x="connsiteX2" y="connsiteY2"/>
              </a:cxn>
              <a:cxn ang="0">
                <a:pos x="connsiteX3" y="connsiteY3"/>
              </a:cxn>
            </a:cxnLst>
            <a:rect l="l" t="t" r="r" b="b"/>
            <a:pathLst>
              <a:path w="6318556" h="499631">
                <a:moveTo>
                  <a:pt x="170902" y="0"/>
                </a:moveTo>
                <a:lnTo>
                  <a:pt x="6318556" y="0"/>
                </a:lnTo>
                <a:lnTo>
                  <a:pt x="6318556" y="499631"/>
                </a:lnTo>
                <a:lnTo>
                  <a:pt x="0" y="49963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14" name="TextBox 13">
            <a:extLst>
              <a:ext uri="{FF2B5EF4-FFF2-40B4-BE49-F238E27FC236}">
                <a16:creationId xmlns:a16="http://schemas.microsoft.com/office/drawing/2014/main" id="{6CAC65C5-D382-4D46-8330-6C7F60B3857A}"/>
              </a:ext>
            </a:extLst>
          </p:cNvPr>
          <p:cNvSpPr txBox="1"/>
          <p:nvPr userDrawn="1"/>
        </p:nvSpPr>
        <p:spPr>
          <a:xfrm>
            <a:off x="7001550" y="5340452"/>
            <a:ext cx="5181214" cy="364908"/>
          </a:xfrm>
          <a:prstGeom prst="rect">
            <a:avLst/>
          </a:prstGeom>
          <a:noFill/>
        </p:spPr>
        <p:txBody>
          <a:bodyPr wrap="square" lIns="0" rIns="0" rtlCol="0">
            <a:spAutoFit/>
          </a:bodyPr>
          <a:lstStyle/>
          <a:p>
            <a:pPr>
              <a:lnSpc>
                <a:spcPts val="2500"/>
              </a:lnSpc>
            </a:pPr>
            <a:r>
              <a:rPr lang="en-US" sz="1000" b="1" i="1" noProof="0">
                <a:solidFill>
                  <a:schemeClr val="bg1"/>
                </a:solidFill>
                <a:latin typeface="Arial" panose="020B0604020202020204" pitchFamily="34" charset="0"/>
                <a:cs typeface="Arial" panose="020B0604020202020204" pitchFamily="34" charset="0"/>
              </a:rPr>
              <a:t>Helping people achieve a lifetime of financial security</a:t>
            </a:r>
          </a:p>
        </p:txBody>
      </p:sp>
    </p:spTree>
    <p:extLst>
      <p:ext uri="{BB962C8B-B14F-4D97-AF65-F5344CB8AC3E}">
        <p14:creationId xmlns:p14="http://schemas.microsoft.com/office/powerpoint/2010/main" val="316979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guide id="5" pos="4404">
          <p15:clr>
            <a:srgbClr val="FBAE40"/>
          </p15:clr>
        </p15:guide>
        <p15:guide id="6" pos="123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91015" y="1477881"/>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91015" y="18928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558081" y="1477881"/>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1291015" y="2868418"/>
            <a:ext cx="2759201" cy="37659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4" name="Tijdelijke aanduiding voor tekst 37"/>
          <p:cNvSpPr>
            <a:spLocks noGrp="1"/>
          </p:cNvSpPr>
          <p:nvPr>
            <p:ph type="body" sz="quarter" idx="39" hasCustomPrompt="1"/>
          </p:nvPr>
        </p:nvSpPr>
        <p:spPr>
          <a:xfrm>
            <a:off x="1291015" y="3255173"/>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5" name="Tijdelijke aanduiding voor tekst 71"/>
          <p:cNvSpPr>
            <a:spLocks noGrp="1"/>
          </p:cNvSpPr>
          <p:nvPr>
            <p:ph type="body" sz="quarter" idx="40" hasCustomPrompt="1"/>
          </p:nvPr>
        </p:nvSpPr>
        <p:spPr>
          <a:xfrm>
            <a:off x="558081" y="2868418"/>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1291015" y="4258955"/>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7" name="Tijdelijke aanduiding voor tekst 37"/>
          <p:cNvSpPr>
            <a:spLocks noGrp="1"/>
          </p:cNvSpPr>
          <p:nvPr>
            <p:ph type="body" sz="quarter" idx="42" hasCustomPrompt="1"/>
          </p:nvPr>
        </p:nvSpPr>
        <p:spPr>
          <a:xfrm>
            <a:off x="1291015" y="4646200"/>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8" name="Tijdelijke aanduiding voor tekst 71"/>
          <p:cNvSpPr>
            <a:spLocks noGrp="1"/>
          </p:cNvSpPr>
          <p:nvPr>
            <p:ph type="body" sz="quarter" idx="43" hasCustomPrompt="1"/>
          </p:nvPr>
        </p:nvSpPr>
        <p:spPr>
          <a:xfrm>
            <a:off x="558081" y="4258955"/>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9" name="Tijdelijke aanduiding voor tekst 35"/>
          <p:cNvSpPr>
            <a:spLocks noGrp="1"/>
          </p:cNvSpPr>
          <p:nvPr>
            <p:ph type="body" sz="quarter" idx="44" hasCustomPrompt="1"/>
          </p:nvPr>
        </p:nvSpPr>
        <p:spPr>
          <a:xfrm>
            <a:off x="5061465" y="1477881"/>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0" name="Tijdelijke aanduiding voor tekst 37"/>
          <p:cNvSpPr>
            <a:spLocks noGrp="1"/>
          </p:cNvSpPr>
          <p:nvPr>
            <p:ph type="body" sz="quarter" idx="45" hasCustomPrompt="1"/>
          </p:nvPr>
        </p:nvSpPr>
        <p:spPr>
          <a:xfrm>
            <a:off x="5061465" y="18928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1" name="Tijdelijke aanduiding voor tekst 71"/>
          <p:cNvSpPr>
            <a:spLocks noGrp="1"/>
          </p:cNvSpPr>
          <p:nvPr>
            <p:ph type="body" sz="quarter" idx="46" hasCustomPrompt="1"/>
          </p:nvPr>
        </p:nvSpPr>
        <p:spPr>
          <a:xfrm>
            <a:off x="4328531" y="1477881"/>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2" name="Tijdelijke aanduiding voor tekst 35"/>
          <p:cNvSpPr>
            <a:spLocks noGrp="1"/>
          </p:cNvSpPr>
          <p:nvPr>
            <p:ph type="body" sz="quarter" idx="47" hasCustomPrompt="1"/>
          </p:nvPr>
        </p:nvSpPr>
        <p:spPr>
          <a:xfrm>
            <a:off x="5061465" y="2868418"/>
            <a:ext cx="2759201" cy="37659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3" name="Tijdelijke aanduiding voor tekst 37"/>
          <p:cNvSpPr>
            <a:spLocks noGrp="1"/>
          </p:cNvSpPr>
          <p:nvPr>
            <p:ph type="body" sz="quarter" idx="48" hasCustomPrompt="1"/>
          </p:nvPr>
        </p:nvSpPr>
        <p:spPr>
          <a:xfrm>
            <a:off x="5061465" y="3255173"/>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4" name="Tijdelijke aanduiding voor tekst 71"/>
          <p:cNvSpPr>
            <a:spLocks noGrp="1"/>
          </p:cNvSpPr>
          <p:nvPr>
            <p:ph type="body" sz="quarter" idx="49" hasCustomPrompt="1"/>
          </p:nvPr>
        </p:nvSpPr>
        <p:spPr>
          <a:xfrm>
            <a:off x="4328531" y="2868418"/>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5" name="Tijdelijke aanduiding voor tekst 35"/>
          <p:cNvSpPr>
            <a:spLocks noGrp="1"/>
          </p:cNvSpPr>
          <p:nvPr>
            <p:ph type="body" sz="quarter" idx="50" hasCustomPrompt="1"/>
          </p:nvPr>
        </p:nvSpPr>
        <p:spPr>
          <a:xfrm>
            <a:off x="5061465" y="4258955"/>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6" name="Tijdelijke aanduiding voor tekst 37"/>
          <p:cNvSpPr>
            <a:spLocks noGrp="1"/>
          </p:cNvSpPr>
          <p:nvPr>
            <p:ph type="body" sz="quarter" idx="51" hasCustomPrompt="1"/>
          </p:nvPr>
        </p:nvSpPr>
        <p:spPr>
          <a:xfrm>
            <a:off x="5061465" y="4646200"/>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7" name="Tijdelijke aanduiding voor tekst 71"/>
          <p:cNvSpPr>
            <a:spLocks noGrp="1"/>
          </p:cNvSpPr>
          <p:nvPr>
            <p:ph type="body" sz="quarter" idx="52" hasCustomPrompt="1"/>
          </p:nvPr>
        </p:nvSpPr>
        <p:spPr>
          <a:xfrm>
            <a:off x="4328531" y="4258955"/>
            <a:ext cx="688393"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8" name="Tijdelijke aanduiding voor tekst 35"/>
          <p:cNvSpPr>
            <a:spLocks noGrp="1"/>
          </p:cNvSpPr>
          <p:nvPr>
            <p:ph type="body" sz="quarter" idx="53" hasCustomPrompt="1"/>
          </p:nvPr>
        </p:nvSpPr>
        <p:spPr>
          <a:xfrm>
            <a:off x="8891403" y="1477881"/>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9" name="Tijdelijke aanduiding voor tekst 37"/>
          <p:cNvSpPr>
            <a:spLocks noGrp="1"/>
          </p:cNvSpPr>
          <p:nvPr>
            <p:ph type="body" sz="quarter" idx="54" hasCustomPrompt="1"/>
          </p:nvPr>
        </p:nvSpPr>
        <p:spPr>
          <a:xfrm>
            <a:off x="8891403" y="18928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90" name="Tijdelijke aanduiding voor tekst 71"/>
          <p:cNvSpPr>
            <a:spLocks noGrp="1"/>
          </p:cNvSpPr>
          <p:nvPr>
            <p:ph type="body" sz="quarter" idx="55" hasCustomPrompt="1"/>
          </p:nvPr>
        </p:nvSpPr>
        <p:spPr>
          <a:xfrm>
            <a:off x="8158469" y="1477881"/>
            <a:ext cx="678534"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91" name="Tijdelijke aanduiding voor tekst 35"/>
          <p:cNvSpPr>
            <a:spLocks noGrp="1"/>
          </p:cNvSpPr>
          <p:nvPr>
            <p:ph type="body" sz="quarter" idx="56" hasCustomPrompt="1"/>
          </p:nvPr>
        </p:nvSpPr>
        <p:spPr>
          <a:xfrm>
            <a:off x="8891403" y="2868418"/>
            <a:ext cx="2759201" cy="37659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92" name="Tijdelijke aanduiding voor tekst 37"/>
          <p:cNvSpPr>
            <a:spLocks noGrp="1"/>
          </p:cNvSpPr>
          <p:nvPr>
            <p:ph type="body" sz="quarter" idx="57" hasCustomPrompt="1"/>
          </p:nvPr>
        </p:nvSpPr>
        <p:spPr>
          <a:xfrm>
            <a:off x="8891403" y="3255173"/>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93" name="Tijdelijke aanduiding voor tekst 71"/>
          <p:cNvSpPr>
            <a:spLocks noGrp="1"/>
          </p:cNvSpPr>
          <p:nvPr>
            <p:ph type="body" sz="quarter" idx="58" hasCustomPrompt="1"/>
          </p:nvPr>
        </p:nvSpPr>
        <p:spPr>
          <a:xfrm>
            <a:off x="8158469" y="2868418"/>
            <a:ext cx="678534"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94" name="Tijdelijke aanduiding voor tekst 35"/>
          <p:cNvSpPr>
            <a:spLocks noGrp="1"/>
          </p:cNvSpPr>
          <p:nvPr>
            <p:ph type="body" sz="quarter" idx="59" hasCustomPrompt="1"/>
          </p:nvPr>
        </p:nvSpPr>
        <p:spPr>
          <a:xfrm>
            <a:off x="8891403" y="4258955"/>
            <a:ext cx="2759201"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95" name="Tijdelijke aanduiding voor tekst 37"/>
          <p:cNvSpPr>
            <a:spLocks noGrp="1"/>
          </p:cNvSpPr>
          <p:nvPr>
            <p:ph type="body" sz="quarter" idx="60" hasCustomPrompt="1"/>
          </p:nvPr>
        </p:nvSpPr>
        <p:spPr>
          <a:xfrm>
            <a:off x="8891403" y="4646200"/>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96" name="Tijdelijke aanduiding voor tekst 71"/>
          <p:cNvSpPr>
            <a:spLocks noGrp="1"/>
          </p:cNvSpPr>
          <p:nvPr>
            <p:ph type="body" sz="quarter" idx="61" hasCustomPrompt="1"/>
          </p:nvPr>
        </p:nvSpPr>
        <p:spPr>
          <a:xfrm>
            <a:off x="8158469" y="4258955"/>
            <a:ext cx="678534"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33" name="Title 1">
            <a:extLst>
              <a:ext uri="{FF2B5EF4-FFF2-40B4-BE49-F238E27FC236}">
                <a16:creationId xmlns:a16="http://schemas.microsoft.com/office/drawing/2014/main" id="{6A8FA3C3-982D-4FF0-AC3B-7CEC4B93EAF9}"/>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accent1"/>
                </a:solidFill>
              </a:defRPr>
            </a:lvl1pPr>
          </a:lstStyle>
          <a:p>
            <a:r>
              <a:rPr lang="en-US" noProof="0"/>
              <a:t>Click to edit </a:t>
            </a:r>
            <a:br>
              <a:rPr lang="en-US" noProof="0"/>
            </a:br>
            <a:r>
              <a:rPr lang="en-US" noProof="0"/>
              <a:t>Master title style</a:t>
            </a:r>
          </a:p>
        </p:txBody>
      </p:sp>
    </p:spTree>
    <p:extLst>
      <p:ext uri="{BB962C8B-B14F-4D97-AF65-F5344CB8AC3E}">
        <p14:creationId xmlns:p14="http://schemas.microsoft.com/office/powerpoint/2010/main" val="416487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498201"/>
            <a:ext cx="3494215" cy="36032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cxnSp>
        <p:nvCxnSpPr>
          <p:cNvPr id="15" name="Straight Connector 59"/>
          <p:cNvCxnSpPr/>
          <p:nvPr userDrawn="1"/>
        </p:nvCxnSpPr>
        <p:spPr>
          <a:xfrm>
            <a:off x="6079237" y="1457561"/>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1896933"/>
            <a:ext cx="3494678"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2489026" y="2888738"/>
            <a:ext cx="3494215"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4" name="Tijdelijke aanduiding voor tekst 37"/>
          <p:cNvSpPr>
            <a:spLocks noGrp="1"/>
          </p:cNvSpPr>
          <p:nvPr>
            <p:ph type="body" sz="quarter" idx="39" hasCustomPrompt="1"/>
          </p:nvPr>
        </p:nvSpPr>
        <p:spPr>
          <a:xfrm>
            <a:off x="2488927" y="3265333"/>
            <a:ext cx="3494678"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5" name="Tijdelijke aanduiding voor tekst 71"/>
          <p:cNvSpPr>
            <a:spLocks noGrp="1"/>
          </p:cNvSpPr>
          <p:nvPr>
            <p:ph type="body" sz="quarter" idx="40" hasCustomPrompt="1"/>
          </p:nvPr>
        </p:nvSpPr>
        <p:spPr>
          <a:xfrm>
            <a:off x="1731788" y="2868418"/>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2489026" y="4279275"/>
            <a:ext cx="3494215"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7" name="Tijdelijke aanduiding voor tekst 37"/>
          <p:cNvSpPr>
            <a:spLocks noGrp="1"/>
          </p:cNvSpPr>
          <p:nvPr>
            <p:ph type="body" sz="quarter" idx="42" hasCustomPrompt="1"/>
          </p:nvPr>
        </p:nvSpPr>
        <p:spPr>
          <a:xfrm>
            <a:off x="2488927" y="4655870"/>
            <a:ext cx="3494678"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8" name="Tijdelijke aanduiding voor tekst 71"/>
          <p:cNvSpPr>
            <a:spLocks noGrp="1"/>
          </p:cNvSpPr>
          <p:nvPr>
            <p:ph type="body" sz="quarter" idx="43" hasCustomPrompt="1"/>
          </p:nvPr>
        </p:nvSpPr>
        <p:spPr>
          <a:xfrm>
            <a:off x="1731788" y="4258955"/>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9" name="Tijdelijke aanduiding voor tekst 35"/>
          <p:cNvSpPr>
            <a:spLocks noGrp="1"/>
          </p:cNvSpPr>
          <p:nvPr>
            <p:ph type="body" sz="quarter" idx="44" hasCustomPrompt="1"/>
          </p:nvPr>
        </p:nvSpPr>
        <p:spPr>
          <a:xfrm>
            <a:off x="6994489" y="1498201"/>
            <a:ext cx="3724311" cy="360322"/>
          </a:xfrm>
          <a:prstGeom prst="rect">
            <a:avLst/>
          </a:prstGeom>
        </p:spPr>
        <p:txBody>
          <a:bodyPr lIns="0" tIns="0" rIns="0" bIns="0"/>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0" name="Tijdelijke aanduiding voor tekst 37"/>
          <p:cNvSpPr>
            <a:spLocks noGrp="1"/>
          </p:cNvSpPr>
          <p:nvPr>
            <p:ph type="body" sz="quarter" idx="45" hasCustomPrompt="1"/>
          </p:nvPr>
        </p:nvSpPr>
        <p:spPr>
          <a:xfrm>
            <a:off x="6994489" y="1896933"/>
            <a:ext cx="3724804"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1" name="Tijdelijke aanduiding voor tekst 71"/>
          <p:cNvSpPr>
            <a:spLocks noGrp="1"/>
          </p:cNvSpPr>
          <p:nvPr>
            <p:ph type="body" sz="quarter" idx="46" hasCustomPrompt="1"/>
          </p:nvPr>
        </p:nvSpPr>
        <p:spPr>
          <a:xfrm>
            <a:off x="6261555" y="1477881"/>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2" name="Tijdelijke aanduiding voor tekst 35"/>
          <p:cNvSpPr>
            <a:spLocks noGrp="1"/>
          </p:cNvSpPr>
          <p:nvPr>
            <p:ph type="body" sz="quarter" idx="47" hasCustomPrompt="1"/>
          </p:nvPr>
        </p:nvSpPr>
        <p:spPr>
          <a:xfrm>
            <a:off x="6994489" y="2888738"/>
            <a:ext cx="3724311"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3" name="Tijdelijke aanduiding voor tekst 37"/>
          <p:cNvSpPr>
            <a:spLocks noGrp="1"/>
          </p:cNvSpPr>
          <p:nvPr>
            <p:ph type="body" sz="quarter" idx="48" hasCustomPrompt="1"/>
          </p:nvPr>
        </p:nvSpPr>
        <p:spPr>
          <a:xfrm>
            <a:off x="6994489" y="3265333"/>
            <a:ext cx="3724804"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4" name="Tijdelijke aanduiding voor tekst 71"/>
          <p:cNvSpPr>
            <a:spLocks noGrp="1"/>
          </p:cNvSpPr>
          <p:nvPr>
            <p:ph type="body" sz="quarter" idx="49" hasCustomPrompt="1"/>
          </p:nvPr>
        </p:nvSpPr>
        <p:spPr>
          <a:xfrm>
            <a:off x="6261555" y="2868418"/>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85" name="Tijdelijke aanduiding voor tekst 35"/>
          <p:cNvSpPr>
            <a:spLocks noGrp="1"/>
          </p:cNvSpPr>
          <p:nvPr>
            <p:ph type="body" sz="quarter" idx="50" hasCustomPrompt="1"/>
          </p:nvPr>
        </p:nvSpPr>
        <p:spPr>
          <a:xfrm>
            <a:off x="6994489" y="4279275"/>
            <a:ext cx="3724311"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86" name="Tijdelijke aanduiding voor tekst 37"/>
          <p:cNvSpPr>
            <a:spLocks noGrp="1"/>
          </p:cNvSpPr>
          <p:nvPr>
            <p:ph type="body" sz="quarter" idx="51" hasCustomPrompt="1"/>
          </p:nvPr>
        </p:nvSpPr>
        <p:spPr>
          <a:xfrm>
            <a:off x="6994489" y="4655870"/>
            <a:ext cx="3724804"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87" name="Tijdelijke aanduiding voor tekst 71"/>
          <p:cNvSpPr>
            <a:spLocks noGrp="1"/>
          </p:cNvSpPr>
          <p:nvPr>
            <p:ph type="body" sz="quarter" idx="52" hasCustomPrompt="1"/>
          </p:nvPr>
        </p:nvSpPr>
        <p:spPr>
          <a:xfrm>
            <a:off x="6261555" y="4258955"/>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24" name="Title 1">
            <a:extLst>
              <a:ext uri="{FF2B5EF4-FFF2-40B4-BE49-F238E27FC236}">
                <a16:creationId xmlns:a16="http://schemas.microsoft.com/office/drawing/2014/main" id="{4283E8B5-1FFF-4454-AAA0-2B6D46348C17}"/>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accent1"/>
                </a:solidFill>
              </a:defRPr>
            </a:lvl1pPr>
          </a:lstStyle>
          <a:p>
            <a:r>
              <a:rPr lang="en-US" noProof="0"/>
              <a:t>Click to edit </a:t>
            </a:r>
            <a:br>
              <a:rPr lang="en-US" noProof="0"/>
            </a:br>
            <a:r>
              <a:rPr lang="en-US" noProof="0"/>
              <a:t>Master title style</a:t>
            </a:r>
          </a:p>
        </p:txBody>
      </p:sp>
    </p:spTree>
    <p:extLst>
      <p:ext uri="{BB962C8B-B14F-4D97-AF65-F5344CB8AC3E}">
        <p14:creationId xmlns:p14="http://schemas.microsoft.com/office/powerpoint/2010/main" val="199621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498201"/>
            <a:ext cx="6364794" cy="36032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38" name="Tijdelijke aanduiding voor tekst 37"/>
          <p:cNvSpPr>
            <a:spLocks noGrp="1"/>
          </p:cNvSpPr>
          <p:nvPr>
            <p:ph type="body" sz="quarter" idx="12" hasCustomPrompt="1"/>
          </p:nvPr>
        </p:nvSpPr>
        <p:spPr>
          <a:xfrm>
            <a:off x="2488926" y="1877251"/>
            <a:ext cx="6365637"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2" name="Tijdelijke aanduiding voor tekst 71"/>
          <p:cNvSpPr>
            <a:spLocks noGrp="1"/>
          </p:cNvSpPr>
          <p:nvPr>
            <p:ph type="body" sz="quarter" idx="37" hasCustomPrompt="1"/>
          </p:nvPr>
        </p:nvSpPr>
        <p:spPr>
          <a:xfrm>
            <a:off x="1731788" y="1477881"/>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3" name="Tijdelijke aanduiding voor tekst 35"/>
          <p:cNvSpPr>
            <a:spLocks noGrp="1"/>
          </p:cNvSpPr>
          <p:nvPr>
            <p:ph type="body" sz="quarter" idx="38" hasCustomPrompt="1"/>
          </p:nvPr>
        </p:nvSpPr>
        <p:spPr>
          <a:xfrm>
            <a:off x="2489026" y="2888738"/>
            <a:ext cx="6364794" cy="380642"/>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4" name="Tijdelijke aanduiding voor tekst 37"/>
          <p:cNvSpPr>
            <a:spLocks noGrp="1"/>
          </p:cNvSpPr>
          <p:nvPr>
            <p:ph type="body" sz="quarter" idx="39" hasCustomPrompt="1"/>
          </p:nvPr>
        </p:nvSpPr>
        <p:spPr>
          <a:xfrm>
            <a:off x="2488926" y="3267788"/>
            <a:ext cx="6365637"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5" name="Tijdelijke aanduiding voor tekst 71"/>
          <p:cNvSpPr>
            <a:spLocks noGrp="1"/>
          </p:cNvSpPr>
          <p:nvPr>
            <p:ph type="body" sz="quarter" idx="40" hasCustomPrompt="1"/>
          </p:nvPr>
        </p:nvSpPr>
        <p:spPr>
          <a:xfrm>
            <a:off x="1731788" y="2868418"/>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76" name="Tijdelijke aanduiding voor tekst 35"/>
          <p:cNvSpPr>
            <a:spLocks noGrp="1"/>
          </p:cNvSpPr>
          <p:nvPr>
            <p:ph type="body" sz="quarter" idx="41" hasCustomPrompt="1"/>
          </p:nvPr>
        </p:nvSpPr>
        <p:spPr>
          <a:xfrm>
            <a:off x="2489026" y="4279275"/>
            <a:ext cx="6364794" cy="356275"/>
          </a:xfrm>
          <a:prstGeom prst="rect">
            <a:avLst/>
          </a:prstGeom>
        </p:spPr>
        <p:txBody>
          <a:bodyPr lIns="0" tIns="0" rIns="0" bIns="0"/>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Agenda topic</a:t>
            </a:r>
          </a:p>
        </p:txBody>
      </p:sp>
      <p:sp>
        <p:nvSpPr>
          <p:cNvPr id="77" name="Tijdelijke aanduiding voor tekst 37"/>
          <p:cNvSpPr>
            <a:spLocks noGrp="1"/>
          </p:cNvSpPr>
          <p:nvPr>
            <p:ph type="body" sz="quarter" idx="42" hasCustomPrompt="1"/>
          </p:nvPr>
        </p:nvSpPr>
        <p:spPr>
          <a:xfrm>
            <a:off x="2488926" y="4658325"/>
            <a:ext cx="6365637" cy="380642"/>
          </a:xfrm>
          <a:prstGeom prst="rect">
            <a:avLst/>
          </a:prstGeom>
        </p:spPr>
        <p:txBody>
          <a:bodyPr lIns="0" tIns="0" rIns="0" bIns="0"/>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a:t>Extra text</a:t>
            </a:r>
          </a:p>
        </p:txBody>
      </p:sp>
      <p:sp>
        <p:nvSpPr>
          <p:cNvPr id="78" name="Tijdelijke aanduiding voor tekst 71"/>
          <p:cNvSpPr>
            <a:spLocks noGrp="1"/>
          </p:cNvSpPr>
          <p:nvPr>
            <p:ph type="body" sz="quarter" idx="43" hasCustomPrompt="1"/>
          </p:nvPr>
        </p:nvSpPr>
        <p:spPr>
          <a:xfrm>
            <a:off x="1731788" y="4258955"/>
            <a:ext cx="757238" cy="757237"/>
          </a:xfrm>
          <a:prstGeom prst="rect">
            <a:avLst/>
          </a:prstGeom>
        </p:spPr>
        <p:txBody>
          <a:bodyPr lIns="0" tIns="0" rIns="0" bIns="0"/>
          <a:lstStyle>
            <a:lvl1pPr marL="0" indent="0">
              <a:buNone/>
              <a:defRPr sz="32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nr</a:t>
            </a:r>
          </a:p>
        </p:txBody>
      </p:sp>
      <p:sp>
        <p:nvSpPr>
          <p:cNvPr id="14" name="Title 1">
            <a:extLst>
              <a:ext uri="{FF2B5EF4-FFF2-40B4-BE49-F238E27FC236}">
                <a16:creationId xmlns:a16="http://schemas.microsoft.com/office/drawing/2014/main" id="{74D8B13C-D7AD-40E5-AB16-80CE14088C6E}"/>
              </a:ext>
            </a:extLst>
          </p:cNvPr>
          <p:cNvSpPr>
            <a:spLocks noGrp="1"/>
          </p:cNvSpPr>
          <p:nvPr>
            <p:ph type="title" hasCustomPrompt="1"/>
          </p:nvPr>
        </p:nvSpPr>
        <p:spPr>
          <a:xfrm>
            <a:off x="579600" y="1"/>
            <a:ext cx="10515600" cy="1180618"/>
          </a:xfrm>
          <a:prstGeom prst="rect">
            <a:avLst/>
          </a:prstGeom>
        </p:spPr>
        <p:txBody>
          <a:bodyPr lIns="0" tIns="0" rIns="0" bIns="72000" anchor="b" anchorCtr="0"/>
          <a:lstStyle>
            <a:lvl1pPr marL="0" indent="0" algn="l">
              <a:buFont typeface="Arial" panose="020B0604020202020204" pitchFamily="34" charset="0"/>
              <a:buNone/>
              <a:defRPr sz="3600">
                <a:solidFill>
                  <a:schemeClr val="accent1"/>
                </a:solidFill>
              </a:defRPr>
            </a:lvl1pPr>
          </a:lstStyle>
          <a:p>
            <a:r>
              <a:rPr lang="en-US" noProof="0"/>
              <a:t>Click to edit </a:t>
            </a:r>
            <a:br>
              <a:rPr lang="en-US" noProof="0"/>
            </a:br>
            <a:r>
              <a:rPr lang="en-US" noProof="0"/>
              <a:t>Master title style</a:t>
            </a:r>
          </a:p>
        </p:txBody>
      </p:sp>
    </p:spTree>
    <p:extLst>
      <p:ext uri="{BB962C8B-B14F-4D97-AF65-F5344CB8AC3E}">
        <p14:creationId xmlns:p14="http://schemas.microsoft.com/office/powerpoint/2010/main" val="2309291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Holding slide">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90C0BC2C-E703-407C-8C07-F08C1589AEE4}"/>
              </a:ext>
            </a:extLst>
          </p:cNvPr>
          <p:cNvGrpSpPr/>
          <p:nvPr userDrawn="1"/>
        </p:nvGrpSpPr>
        <p:grpSpPr>
          <a:xfrm>
            <a:off x="2895600" y="2275777"/>
            <a:ext cx="6400800" cy="2306446"/>
            <a:chOff x="2895600" y="2275777"/>
            <a:chExt cx="6400800" cy="2306446"/>
          </a:xfrm>
        </p:grpSpPr>
        <p:sp>
          <p:nvSpPr>
            <p:cNvPr id="21" name="Vrije vorm: vorm 20">
              <a:extLst>
                <a:ext uri="{FF2B5EF4-FFF2-40B4-BE49-F238E27FC236}">
                  <a16:creationId xmlns:a16="http://schemas.microsoft.com/office/drawing/2014/main" id="{CA9E3DDA-395C-4DDD-B1D8-656220373CB1}"/>
                </a:ext>
              </a:extLst>
            </p:cNvPr>
            <p:cNvSpPr>
              <a:spLocks/>
            </p:cNvSpPr>
            <p:nvPr userDrawn="1"/>
          </p:nvSpPr>
          <p:spPr bwMode="auto">
            <a:xfrm>
              <a:off x="2895600" y="2275777"/>
              <a:ext cx="2087583" cy="2306446"/>
            </a:xfrm>
            <a:custGeom>
              <a:avLst/>
              <a:gdLst>
                <a:gd name="connsiteX0" fmla="*/ 1712156 w 2087583"/>
                <a:gd name="connsiteY0" fmla="*/ 643111 h 2306446"/>
                <a:gd name="connsiteX1" fmla="*/ 1888927 w 2087583"/>
                <a:gd name="connsiteY1" fmla="*/ 1190261 h 2306446"/>
                <a:gd name="connsiteX2" fmla="*/ 1540435 w 2087583"/>
                <a:gd name="connsiteY2" fmla="*/ 1183527 h 2306446"/>
                <a:gd name="connsiteX3" fmla="*/ 1725623 w 2087583"/>
                <a:gd name="connsiteY3" fmla="*/ 0 h 2306446"/>
                <a:gd name="connsiteX4" fmla="*/ 1841787 w 2087583"/>
                <a:gd name="connsiteY4" fmla="*/ 348492 h 2306446"/>
                <a:gd name="connsiteX5" fmla="*/ 1587573 w 2087583"/>
                <a:gd name="connsiteY5" fmla="*/ 348492 h 2306446"/>
                <a:gd name="connsiteX6" fmla="*/ 1176791 w 2087583"/>
                <a:gd name="connsiteY6" fmla="*/ 1580842 h 2306446"/>
                <a:gd name="connsiteX7" fmla="*/ 1424271 w 2087583"/>
                <a:gd name="connsiteY7" fmla="*/ 1580842 h 2306446"/>
                <a:gd name="connsiteX8" fmla="*/ 1478144 w 2087583"/>
                <a:gd name="connsiteY8" fmla="*/ 1388918 h 2306446"/>
                <a:gd name="connsiteX9" fmla="*/ 1957951 w 2087583"/>
                <a:gd name="connsiteY9" fmla="*/ 1388918 h 2306446"/>
                <a:gd name="connsiteX10" fmla="*/ 2087583 w 2087583"/>
                <a:gd name="connsiteY10" fmla="*/ 1806436 h 2306446"/>
                <a:gd name="connsiteX11" fmla="*/ 569035 w 2087583"/>
                <a:gd name="connsiteY11" fmla="*/ 2306446 h 2306446"/>
                <a:gd name="connsiteX12" fmla="*/ 0 w 2087583"/>
                <a:gd name="connsiteY12" fmla="*/ 567352 h 2306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7583" h="2306446">
                  <a:moveTo>
                    <a:pt x="1712156" y="643111"/>
                  </a:moveTo>
                  <a:lnTo>
                    <a:pt x="1888927" y="1190261"/>
                  </a:lnTo>
                  <a:lnTo>
                    <a:pt x="1540435" y="1183527"/>
                  </a:lnTo>
                  <a:close/>
                  <a:moveTo>
                    <a:pt x="1725623" y="0"/>
                  </a:moveTo>
                  <a:lnTo>
                    <a:pt x="1841787" y="348492"/>
                  </a:lnTo>
                  <a:lnTo>
                    <a:pt x="1587573" y="348492"/>
                  </a:lnTo>
                  <a:lnTo>
                    <a:pt x="1176791" y="1580842"/>
                  </a:lnTo>
                  <a:lnTo>
                    <a:pt x="1424271" y="1580842"/>
                  </a:lnTo>
                  <a:lnTo>
                    <a:pt x="1478144" y="1388918"/>
                  </a:lnTo>
                  <a:lnTo>
                    <a:pt x="1957951" y="1388918"/>
                  </a:lnTo>
                  <a:lnTo>
                    <a:pt x="2087583" y="1806436"/>
                  </a:lnTo>
                  <a:lnTo>
                    <a:pt x="569035" y="2306446"/>
                  </a:lnTo>
                  <a:lnTo>
                    <a:pt x="0" y="56735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nl-NL"/>
            </a:p>
          </p:txBody>
        </p:sp>
        <p:sp>
          <p:nvSpPr>
            <p:cNvPr id="16" name="Freeform 7">
              <a:extLst>
                <a:ext uri="{FF2B5EF4-FFF2-40B4-BE49-F238E27FC236}">
                  <a16:creationId xmlns:a16="http://schemas.microsoft.com/office/drawing/2014/main" id="{22CB442A-9BFA-4C2F-8B09-4981059B3B0B}"/>
                </a:ext>
              </a:extLst>
            </p:cNvPr>
            <p:cNvSpPr>
              <a:spLocks/>
            </p:cNvSpPr>
            <p:nvPr userDrawn="1"/>
          </p:nvSpPr>
          <p:spPr bwMode="auto">
            <a:xfrm>
              <a:off x="4936044" y="2639421"/>
              <a:ext cx="888906" cy="1210464"/>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7" name="Freeform 8">
              <a:extLst>
                <a:ext uri="{FF2B5EF4-FFF2-40B4-BE49-F238E27FC236}">
                  <a16:creationId xmlns:a16="http://schemas.microsoft.com/office/drawing/2014/main" id="{2076A068-17F1-4D27-957C-9CFB21F4777C}"/>
                </a:ext>
              </a:extLst>
            </p:cNvPr>
            <p:cNvSpPr>
              <a:spLocks/>
            </p:cNvSpPr>
            <p:nvPr userDrawn="1"/>
          </p:nvSpPr>
          <p:spPr bwMode="auto">
            <a:xfrm>
              <a:off x="8345202" y="2639421"/>
              <a:ext cx="951198" cy="1203730"/>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8" name="Freeform 9">
              <a:extLst>
                <a:ext uri="{FF2B5EF4-FFF2-40B4-BE49-F238E27FC236}">
                  <a16:creationId xmlns:a16="http://schemas.microsoft.com/office/drawing/2014/main" id="{B41E182A-3121-41A6-8205-38D2B47289F4}"/>
                </a:ext>
              </a:extLst>
            </p:cNvPr>
            <p:cNvSpPr>
              <a:spLocks/>
            </p:cNvSpPr>
            <p:nvPr userDrawn="1"/>
          </p:nvSpPr>
          <p:spPr bwMode="auto">
            <a:xfrm>
              <a:off x="5840103" y="2604067"/>
              <a:ext cx="1067361" cy="1272754"/>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9" name="Freeform 10">
              <a:extLst>
                <a:ext uri="{FF2B5EF4-FFF2-40B4-BE49-F238E27FC236}">
                  <a16:creationId xmlns:a16="http://schemas.microsoft.com/office/drawing/2014/main" id="{789A2F69-5ED1-498D-A0B0-57D4FA4EF769}"/>
                </a:ext>
              </a:extLst>
            </p:cNvPr>
            <p:cNvSpPr>
              <a:spLocks/>
            </p:cNvSpPr>
            <p:nvPr userDrawn="1"/>
          </p:nvSpPr>
          <p:spPr bwMode="auto">
            <a:xfrm>
              <a:off x="7050564" y="2597333"/>
              <a:ext cx="1143121" cy="1272754"/>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0" name="Freeform 11">
              <a:extLst>
                <a:ext uri="{FF2B5EF4-FFF2-40B4-BE49-F238E27FC236}">
                  <a16:creationId xmlns:a16="http://schemas.microsoft.com/office/drawing/2014/main" id="{5A13FF52-B406-4569-A479-67CEFA7F7939}"/>
                </a:ext>
              </a:extLst>
            </p:cNvPr>
            <p:cNvSpPr>
              <a:spLocks/>
            </p:cNvSpPr>
            <p:nvPr userDrawn="1"/>
          </p:nvSpPr>
          <p:spPr bwMode="auto">
            <a:xfrm>
              <a:off x="5237397" y="4151237"/>
              <a:ext cx="3319930" cy="122899"/>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Tree>
    <p:extLst>
      <p:ext uri="{BB962C8B-B14F-4D97-AF65-F5344CB8AC3E}">
        <p14:creationId xmlns:p14="http://schemas.microsoft.com/office/powerpoint/2010/main" val="1977564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191677123"/>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a:srcRect/>
          <a:stretch/>
        </p:blipFill>
        <p:spPr>
          <a:xfrm>
            <a:off x="8380807" y="6021615"/>
            <a:ext cx="1244723" cy="576035"/>
          </a:xfrm>
          <a:prstGeom prst="rect">
            <a:avLst/>
          </a:prstGeom>
        </p:spPr>
      </p:pic>
    </p:spTree>
    <p:extLst>
      <p:ext uri="{BB962C8B-B14F-4D97-AF65-F5344CB8AC3E}">
        <p14:creationId xmlns:p14="http://schemas.microsoft.com/office/powerpoint/2010/main" val="3825443246"/>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19" name="Tijdelijke aanduiding voor afbeelding 18">
            <a:extLst>
              <a:ext uri="{FF2B5EF4-FFF2-40B4-BE49-F238E27FC236}">
                <a16:creationId xmlns:a16="http://schemas.microsoft.com/office/drawing/2014/main" id="{7B375A55-05DF-4620-927B-CEFAB4E05C4E}"/>
              </a:ext>
            </a:extLst>
          </p:cNvPr>
          <p:cNvSpPr>
            <a:spLocks noGrp="1"/>
          </p:cNvSpPr>
          <p:nvPr>
            <p:ph type="pic" sz="quarter" idx="10" hasCustomPrompt="1"/>
          </p:nvPr>
        </p:nvSpPr>
        <p:spPr>
          <a:xfrm>
            <a:off x="-11113" y="-11113"/>
            <a:ext cx="7049592" cy="6869113"/>
          </a:xfrm>
          <a:custGeom>
            <a:avLst/>
            <a:gdLst>
              <a:gd name="connsiteX0" fmla="*/ 0 w 7049592"/>
              <a:gd name="connsiteY0" fmla="*/ 0 h 6869113"/>
              <a:gd name="connsiteX1" fmla="*/ 7049592 w 7049592"/>
              <a:gd name="connsiteY1" fmla="*/ 0 h 6869113"/>
              <a:gd name="connsiteX2" fmla="*/ 6961918 w 7049592"/>
              <a:gd name="connsiteY2" fmla="*/ 304793 h 6869113"/>
              <a:gd name="connsiteX3" fmla="*/ 4716550 w 7049592"/>
              <a:gd name="connsiteY3" fmla="*/ 6869113 h 6869113"/>
              <a:gd name="connsiteX4" fmla="*/ 0 w 7049592"/>
              <a:gd name="connsiteY4" fmla="*/ 6869113 h 6869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9592" h="6869113">
                <a:moveTo>
                  <a:pt x="0" y="0"/>
                </a:moveTo>
                <a:lnTo>
                  <a:pt x="7049592" y="0"/>
                </a:lnTo>
                <a:lnTo>
                  <a:pt x="6961918" y="304793"/>
                </a:lnTo>
                <a:lnTo>
                  <a:pt x="4716550" y="6869113"/>
                </a:lnTo>
                <a:lnTo>
                  <a:pt x="0" y="6869113"/>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Font typeface="Arial" panose="020B0604020202020204" pitchFamily="34" charset="0"/>
              <a:buNone/>
              <a:defRPr lang="nl-NL" sz="1599"/>
            </a:lvl1pPr>
          </a:lstStyle>
          <a:p>
            <a:pPr marL="228486" lvl="0" indent="-228486" algn="ctr"/>
            <a:r>
              <a:rPr lang="nl-NL" noProof="0"/>
              <a:t>Klik op pictogram om een afbeelding in te voegen
</a:t>
            </a:r>
            <a:endParaRPr lang="en-US" noProof="0"/>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6979454" y="1980017"/>
            <a:ext cx="4862858" cy="2905494"/>
          </a:xfrm>
          <a:prstGeom prst="rect">
            <a:avLst/>
          </a:prstGeom>
        </p:spPr>
        <p:txBody>
          <a:bodyPr lIns="0" tIns="0" rIns="0" bIns="72000" anchor="ctr" anchorCtr="0"/>
          <a:lstStyle>
            <a:lvl1pPr>
              <a:defRPr sz="3598">
                <a:solidFill>
                  <a:schemeClr val="accent1"/>
                </a:solidFill>
              </a:defRPr>
            </a:lvl1pPr>
          </a:lstStyle>
          <a:p>
            <a:r>
              <a:rPr lang="nl-NL" noProof="0"/>
              <a:t>Klik hier om de titelstijl van het stramien te bewerken
</a:t>
            </a:r>
          </a:p>
        </p:txBody>
      </p:sp>
      <p:grpSp>
        <p:nvGrpSpPr>
          <p:cNvPr id="22" name="Group 21">
            <a:extLst>
              <a:ext uri="{FF2B5EF4-FFF2-40B4-BE49-F238E27FC236}">
                <a16:creationId xmlns:a16="http://schemas.microsoft.com/office/drawing/2014/main" id="{7FEC5561-0D1D-48CD-9857-C6F2175A0034}"/>
              </a:ext>
            </a:extLst>
          </p:cNvPr>
          <p:cNvGrpSpPr/>
          <p:nvPr userDrawn="1"/>
        </p:nvGrpSpPr>
        <p:grpSpPr>
          <a:xfrm>
            <a:off x="10422255" y="6286500"/>
            <a:ext cx="693334" cy="249834"/>
            <a:chOff x="3078163" y="2341563"/>
            <a:chExt cx="6035676" cy="2174875"/>
          </a:xfrm>
        </p:grpSpPr>
        <p:sp>
          <p:nvSpPr>
            <p:cNvPr id="23" name="Freeform 5">
              <a:extLst>
                <a:ext uri="{FF2B5EF4-FFF2-40B4-BE49-F238E27FC236}">
                  <a16:creationId xmlns:a16="http://schemas.microsoft.com/office/drawing/2014/main" id="{2CF1C0AB-2340-43C1-BA25-042D1257445A}"/>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4" name="Freeform 6">
              <a:extLst>
                <a:ext uri="{FF2B5EF4-FFF2-40B4-BE49-F238E27FC236}">
                  <a16:creationId xmlns:a16="http://schemas.microsoft.com/office/drawing/2014/main" id="{BF98D281-DE49-4E93-B406-2BD8838AE412}"/>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5" name="Freeform 7">
              <a:extLst>
                <a:ext uri="{FF2B5EF4-FFF2-40B4-BE49-F238E27FC236}">
                  <a16:creationId xmlns:a16="http://schemas.microsoft.com/office/drawing/2014/main" id="{96BF50F2-0F4D-4E09-91A9-7168DF2C52CA}"/>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6" name="Freeform 8">
              <a:extLst>
                <a:ext uri="{FF2B5EF4-FFF2-40B4-BE49-F238E27FC236}">
                  <a16:creationId xmlns:a16="http://schemas.microsoft.com/office/drawing/2014/main" id="{D73F4D8E-E8EB-44B1-9D1B-50EB8D93F694}"/>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7" name="Freeform 9">
              <a:extLst>
                <a:ext uri="{FF2B5EF4-FFF2-40B4-BE49-F238E27FC236}">
                  <a16:creationId xmlns:a16="http://schemas.microsoft.com/office/drawing/2014/main" id="{2997CEF5-AF3F-4824-B002-420B2ABD90D3}"/>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8" name="Freeform 10">
              <a:extLst>
                <a:ext uri="{FF2B5EF4-FFF2-40B4-BE49-F238E27FC236}">
                  <a16:creationId xmlns:a16="http://schemas.microsoft.com/office/drawing/2014/main" id="{7D747C3B-8656-4D8A-B48E-243D5FF3D422}"/>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9" name="Freeform 11">
              <a:extLst>
                <a:ext uri="{FF2B5EF4-FFF2-40B4-BE49-F238E27FC236}">
                  <a16:creationId xmlns:a16="http://schemas.microsoft.com/office/drawing/2014/main" id="{DF60A912-7DDF-4D79-85CA-DF822EEA9961}"/>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
        <p:nvSpPr>
          <p:cNvPr id="14" name="Rechthoek 13">
            <a:extLst>
              <a:ext uri="{FF2B5EF4-FFF2-40B4-BE49-F238E27FC236}">
                <a16:creationId xmlns:a16="http://schemas.microsoft.com/office/drawing/2014/main" id="{C5203CEB-4AE2-470B-9D88-1FC55D2A891A}"/>
              </a:ext>
            </a:extLst>
          </p:cNvPr>
          <p:cNvSpPr/>
          <p:nvPr userDrawn="1"/>
        </p:nvSpPr>
        <p:spPr>
          <a:xfrm>
            <a:off x="11330202" y="6259337"/>
            <a:ext cx="861798" cy="276999"/>
          </a:xfrm>
          <a:prstGeom prst="rect">
            <a:avLst/>
          </a:prstGeom>
        </p:spPr>
        <p:txBody>
          <a:bodyPr wrap="square">
            <a:spAutoFit/>
          </a:bodyPr>
          <a:lstStyle/>
          <a:p>
            <a:pPr algn="ctr" fontAlgn="auto">
              <a:spcBef>
                <a:spcPts val="0"/>
              </a:spcBef>
              <a:spcAft>
                <a:spcPts val="0"/>
              </a:spcAft>
              <a:defRPr/>
            </a:pPr>
            <a:fld id="{478F02DA-AB65-4DE3-8C32-C1DFFF12922F}" type="slidenum">
              <a:rPr lang="en-US" sz="1199" b="0" noProof="0" smtClean="0">
                <a:solidFill>
                  <a:schemeClr val="bg1"/>
                </a:solidFill>
                <a:cs typeface="Arial" pitchFamily="34" charset="0"/>
              </a:rPr>
              <a:pPr algn="ctr" fontAlgn="auto">
                <a:spcBef>
                  <a:spcPts val="0"/>
                </a:spcBef>
                <a:spcAft>
                  <a:spcPts val="0"/>
                </a:spcAft>
                <a:defRPr/>
              </a:pPr>
              <a:t>‹#›</a:t>
            </a:fld>
            <a:endParaRPr lang="en-US" sz="1199" b="0" noProof="0">
              <a:solidFill>
                <a:schemeClr val="bg1"/>
              </a:solidFill>
              <a:cs typeface="Arial" pitchFamily="34" charset="0"/>
            </a:endParaRPr>
          </a:p>
        </p:txBody>
      </p:sp>
      <p:sp>
        <p:nvSpPr>
          <p:cNvPr id="17" name="Rectangle 3">
            <a:extLst>
              <a:ext uri="{FF2B5EF4-FFF2-40B4-BE49-F238E27FC236}">
                <a16:creationId xmlns:a16="http://schemas.microsoft.com/office/drawing/2014/main" id="{5EA75EB1-61A0-4441-894D-6C34DF8EEFE1}"/>
              </a:ext>
            </a:extLst>
          </p:cNvPr>
          <p:cNvSpPr/>
          <p:nvPr userDrawn="1"/>
        </p:nvSpPr>
        <p:spPr>
          <a:xfrm>
            <a:off x="11212946"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spTree>
    <p:extLst>
      <p:ext uri="{BB962C8B-B14F-4D97-AF65-F5344CB8AC3E}">
        <p14:creationId xmlns:p14="http://schemas.microsoft.com/office/powerpoint/2010/main" val="419309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pos="3908">
          <p15:clr>
            <a:srgbClr val="FBAE40"/>
          </p15:clr>
        </p15:guide>
        <p15:guide id="3" pos="2593">
          <p15:clr>
            <a:srgbClr val="FBAE40"/>
          </p15:clr>
        </p15:guide>
        <p15:guide id="4" orient="horz" pos="4065">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99896388"/>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97D29D3-1F6D-4D78-ACC9-E8EE2043DA31}"/>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9" name="Picture 8" descr="A picture containing clipart&#10;&#10;Description automatically generated">
            <a:extLst>
              <a:ext uri="{FF2B5EF4-FFF2-40B4-BE49-F238E27FC236}">
                <a16:creationId xmlns:a16="http://schemas.microsoft.com/office/drawing/2014/main" id="{88C8ED69-ACD6-4FD7-B860-20E2ED587A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2"/>
          </a:xfrm>
          <a:prstGeom prst="rect">
            <a:avLst/>
          </a:prstGeom>
        </p:spPr>
      </p:pic>
      <p:sp>
        <p:nvSpPr>
          <p:cNvPr id="19" name="Title 1">
            <a:extLst>
              <a:ext uri="{FF2B5EF4-FFF2-40B4-BE49-F238E27FC236}">
                <a16:creationId xmlns:a16="http://schemas.microsoft.com/office/drawing/2014/main" id="{367BD2F3-E06C-4018-AFE8-E7AC724DD408}"/>
              </a:ext>
            </a:extLst>
          </p:cNvPr>
          <p:cNvSpPr>
            <a:spLocks noGrp="1"/>
          </p:cNvSpPr>
          <p:nvPr>
            <p:ph type="ctrTitle"/>
          </p:nvPr>
        </p:nvSpPr>
        <p:spPr>
          <a:xfrm>
            <a:off x="431800" y="1251517"/>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accent1"/>
                </a:solidFill>
              </a:defRPr>
            </a:lvl1pPr>
          </a:lstStyle>
          <a:p>
            <a:r>
              <a:rPr lang="nl-NL"/>
              <a:t>Klik om stijl te bewerken</a:t>
            </a:r>
            <a:endParaRPr lang="en-US"/>
          </a:p>
        </p:txBody>
      </p:sp>
      <p:sp>
        <p:nvSpPr>
          <p:cNvPr id="20" name="Subtitle 2">
            <a:extLst>
              <a:ext uri="{FF2B5EF4-FFF2-40B4-BE49-F238E27FC236}">
                <a16:creationId xmlns:a16="http://schemas.microsoft.com/office/drawing/2014/main" id="{5A8AE8CD-7DFF-4FE4-A534-E03844CB9B14}"/>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21" name="Text Placeholder 4">
            <a:extLst>
              <a:ext uri="{FF2B5EF4-FFF2-40B4-BE49-F238E27FC236}">
                <a16:creationId xmlns:a16="http://schemas.microsoft.com/office/drawing/2014/main" id="{BF79C5F3-8C8C-44BC-BC2E-2879A020BE57}"/>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tx1"/>
                </a:solidFill>
              </a:defRPr>
            </a:lvl1pPr>
          </a:lstStyle>
          <a:p>
            <a:pPr lvl="0"/>
            <a:r>
              <a:rPr lang="en-US"/>
              <a:t>Click to edit Date</a:t>
            </a:r>
          </a:p>
        </p:txBody>
      </p:sp>
      <p:sp>
        <p:nvSpPr>
          <p:cNvPr id="22" name="Text Placeholder 4">
            <a:extLst>
              <a:ext uri="{FF2B5EF4-FFF2-40B4-BE49-F238E27FC236}">
                <a16:creationId xmlns:a16="http://schemas.microsoft.com/office/drawing/2014/main" id="{1ADF10CA-D2B0-43F4-A212-8A10F47F6D56}"/>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aseline="0">
                <a:solidFill>
                  <a:schemeClr val="accent1"/>
                </a:solidFill>
              </a:defRPr>
            </a:lvl1pPr>
          </a:lstStyle>
          <a:p>
            <a:pPr lvl="0"/>
            <a:r>
              <a:rPr lang="en-US"/>
              <a:t>Click to add disclaimer</a:t>
            </a:r>
          </a:p>
          <a:p>
            <a:pPr lvl="0"/>
            <a:r>
              <a:rPr lang="en-US"/>
              <a:t>For professional investors only</a:t>
            </a:r>
          </a:p>
        </p:txBody>
      </p:sp>
      <p:sp>
        <p:nvSpPr>
          <p:cNvPr id="23" name="Text Placeholder 5">
            <a:extLst>
              <a:ext uri="{FF2B5EF4-FFF2-40B4-BE49-F238E27FC236}">
                <a16:creationId xmlns:a16="http://schemas.microsoft.com/office/drawing/2014/main" id="{630C214B-48FE-4984-95D0-44FA292454AF}"/>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lvl1pPr>
          </a:lstStyle>
          <a:p>
            <a:pPr lvl="0"/>
            <a:r>
              <a:rPr lang="en-GB"/>
              <a:t>Click to edit sub-heading</a:t>
            </a:r>
          </a:p>
        </p:txBody>
      </p:sp>
      <p:pic>
        <p:nvPicPr>
          <p:cNvPr id="2" name="Picture 1">
            <a:extLst>
              <a:ext uri="{FF2B5EF4-FFF2-40B4-BE49-F238E27FC236}">
                <a16:creationId xmlns:a16="http://schemas.microsoft.com/office/drawing/2014/main" id="{2835FD4D-CEDD-4856-AB48-BBA58F19AB5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2276411990"/>
      </p:ext>
    </p:extLst>
  </p:cSld>
  <p:clrMapOvr>
    <a:masterClrMapping/>
  </p:clrMapOvr>
  <p:extLst>
    <p:ext uri="{DCECCB84-F9BA-43D5-87BE-67443E8EF086}">
      <p15:sldGuideLst xmlns:p15="http://schemas.microsoft.com/office/powerpoint/2012/main">
        <p15:guide id="2" pos="7680">
          <p15:clr>
            <a:srgbClr val="FBAE40"/>
          </p15:clr>
        </p15:guide>
        <p15:guide id="3" pos="2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a:extLst>
              <a:ext uri="{FF2B5EF4-FFF2-40B4-BE49-F238E27FC236}">
                <a16:creationId xmlns:a16="http://schemas.microsoft.com/office/drawing/2014/main" id="{5CD1603B-A0E8-4C3C-87A2-91A8380A821B}"/>
              </a:ext>
            </a:extLst>
          </p:cNvPr>
          <p:cNvPicPr>
            <a:picLocks noChangeAspect="1"/>
          </p:cNvPicPr>
          <p:nvPr userDrawn="1"/>
        </p:nvPicPr>
        <p:blipFill>
          <a:blip r:embed="rId2"/>
          <a:srcRect/>
          <a:stretch/>
        </p:blipFill>
        <p:spPr>
          <a:xfrm>
            <a:off x="5809517" y="857"/>
            <a:ext cx="6387301" cy="6857143"/>
          </a:xfrm>
          <a:prstGeom prst="rect">
            <a:avLst/>
          </a:prstGeom>
        </p:spPr>
      </p:pic>
      <p:pic>
        <p:nvPicPr>
          <p:cNvPr id="14" name="Picture 13">
            <a:extLst>
              <a:ext uri="{FF2B5EF4-FFF2-40B4-BE49-F238E27FC236}">
                <a16:creationId xmlns:a16="http://schemas.microsoft.com/office/drawing/2014/main" id="{0AC6548F-58FC-405F-9AE5-E3C470D4C3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416324"/>
            <a:ext cx="1981200" cy="576071"/>
          </a:xfrm>
          <a:prstGeom prst="rect">
            <a:avLst/>
          </a:prstGeom>
        </p:spPr>
      </p:pic>
      <p:sp>
        <p:nvSpPr>
          <p:cNvPr id="17" name="Title 1">
            <a:extLst>
              <a:ext uri="{FF2B5EF4-FFF2-40B4-BE49-F238E27FC236}">
                <a16:creationId xmlns:a16="http://schemas.microsoft.com/office/drawing/2014/main" id="{1D935112-AC89-4130-96B3-B20AB9363CBD}"/>
              </a:ext>
            </a:extLst>
          </p:cNvPr>
          <p:cNvSpPr>
            <a:spLocks noGrp="1"/>
          </p:cNvSpPr>
          <p:nvPr>
            <p:ph type="ctrTitle"/>
          </p:nvPr>
        </p:nvSpPr>
        <p:spPr>
          <a:xfrm>
            <a:off x="431800" y="1321185"/>
            <a:ext cx="5372652" cy="533410"/>
          </a:xfrm>
          <a:prstGeom prst="rect">
            <a:avLst/>
          </a:prstGeom>
          <a:solidFill>
            <a:schemeClr val="bg1">
              <a:alpha val="0"/>
            </a:schemeClr>
          </a:solidFill>
        </p:spPr>
        <p:txBody>
          <a:bodyPr wrap="square" lIns="0" tIns="0" rIns="0" bIns="0" anchor="t" anchorCtr="0"/>
          <a:lstStyle>
            <a:lvl1pPr algn="l">
              <a:lnSpc>
                <a:spcPct val="108000"/>
              </a:lnSpc>
              <a:defRPr sz="3200" baseline="0">
                <a:solidFill>
                  <a:schemeClr val="bg1"/>
                </a:solidFill>
              </a:defRPr>
            </a:lvl1pPr>
          </a:lstStyle>
          <a:p>
            <a:r>
              <a:rPr lang="nl-NL"/>
              <a:t>Klik om stijl te bewerken</a:t>
            </a:r>
            <a:endParaRPr lang="en-US"/>
          </a:p>
        </p:txBody>
      </p:sp>
      <p:sp>
        <p:nvSpPr>
          <p:cNvPr id="18" name="Subtitle 2">
            <a:extLst>
              <a:ext uri="{FF2B5EF4-FFF2-40B4-BE49-F238E27FC236}">
                <a16:creationId xmlns:a16="http://schemas.microsoft.com/office/drawing/2014/main" id="{3C95059E-F7D9-4AED-A393-108A9D818F42}"/>
              </a:ext>
            </a:extLst>
          </p:cNvPr>
          <p:cNvSpPr>
            <a:spLocks noGrp="1"/>
          </p:cNvSpPr>
          <p:nvPr>
            <p:ph type="subTitle" idx="1" hasCustomPrompt="1"/>
          </p:nvPr>
        </p:nvSpPr>
        <p:spPr>
          <a:xfrm>
            <a:off x="431800" y="2250797"/>
            <a:ext cx="5372652" cy="1563214"/>
          </a:xfrm>
          <a:prstGeom prst="rect">
            <a:avLst/>
          </a:prstGeom>
        </p:spPr>
        <p:txBody>
          <a:bodyPr lIns="0" tIns="0" rIns="0" bIns="0" anchor="t" anchorCtr="0"/>
          <a:lstStyle>
            <a:lvl1pPr marL="0" indent="0" algn="l">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Name</a:t>
            </a:r>
            <a:endParaRPr lang="en-GB"/>
          </a:p>
        </p:txBody>
      </p:sp>
      <p:sp>
        <p:nvSpPr>
          <p:cNvPr id="19" name="Text Placeholder 4">
            <a:extLst>
              <a:ext uri="{FF2B5EF4-FFF2-40B4-BE49-F238E27FC236}">
                <a16:creationId xmlns:a16="http://schemas.microsoft.com/office/drawing/2014/main" id="{8B6382F7-C0F3-4860-AD60-8EF682FC7950}"/>
              </a:ext>
            </a:extLst>
          </p:cNvPr>
          <p:cNvSpPr>
            <a:spLocks noGrp="1"/>
          </p:cNvSpPr>
          <p:nvPr>
            <p:ph type="body" sz="quarter" idx="17" hasCustomPrompt="1"/>
          </p:nvPr>
        </p:nvSpPr>
        <p:spPr>
          <a:xfrm>
            <a:off x="431800" y="3951291"/>
            <a:ext cx="5022796" cy="202672"/>
          </a:xfrm>
          <a:prstGeom prst="rect">
            <a:avLst/>
          </a:prstGeom>
        </p:spPr>
        <p:txBody>
          <a:bodyPr lIns="0" tIns="0" rIns="0" bIns="0"/>
          <a:lstStyle>
            <a:lvl1pPr marL="0" indent="0">
              <a:buNone/>
              <a:defRPr sz="1400">
                <a:solidFill>
                  <a:schemeClr val="bg1"/>
                </a:solidFill>
              </a:defRPr>
            </a:lvl1pPr>
          </a:lstStyle>
          <a:p>
            <a:pPr lvl="0"/>
            <a:r>
              <a:rPr lang="en-US"/>
              <a:t>Click to edit Date</a:t>
            </a:r>
          </a:p>
        </p:txBody>
      </p:sp>
      <p:sp>
        <p:nvSpPr>
          <p:cNvPr id="20" name="Text Placeholder 4">
            <a:extLst>
              <a:ext uri="{FF2B5EF4-FFF2-40B4-BE49-F238E27FC236}">
                <a16:creationId xmlns:a16="http://schemas.microsoft.com/office/drawing/2014/main" id="{A8EBD216-39A4-4C9C-B93E-40341CA04920}"/>
              </a:ext>
            </a:extLst>
          </p:cNvPr>
          <p:cNvSpPr>
            <a:spLocks noGrp="1"/>
          </p:cNvSpPr>
          <p:nvPr>
            <p:ph type="body" sz="quarter" idx="19" hasCustomPrompt="1"/>
          </p:nvPr>
        </p:nvSpPr>
        <p:spPr>
          <a:xfrm>
            <a:off x="431800" y="5397910"/>
            <a:ext cx="4140200" cy="1199739"/>
          </a:xfrm>
          <a:prstGeom prst="rect">
            <a:avLst/>
          </a:prstGeom>
        </p:spPr>
        <p:txBody>
          <a:bodyPr lIns="0" tIns="0" rIns="0" bIns="0" anchor="b" anchorCtr="0"/>
          <a:lstStyle>
            <a:lvl1pPr marL="0" indent="0">
              <a:lnSpc>
                <a:spcPct val="100000"/>
              </a:lnSpc>
              <a:buNone/>
              <a:defRPr sz="800" b="0" baseline="0">
                <a:solidFill>
                  <a:schemeClr val="bg1"/>
                </a:solidFill>
              </a:defRPr>
            </a:lvl1pPr>
          </a:lstStyle>
          <a:p>
            <a:pPr lvl="0"/>
            <a:r>
              <a:rPr lang="en-US"/>
              <a:t>Click to add disclaimer</a:t>
            </a:r>
          </a:p>
          <a:p>
            <a:pPr lvl="0"/>
            <a:r>
              <a:rPr lang="en-US"/>
              <a:t>For professional investors only</a:t>
            </a:r>
          </a:p>
        </p:txBody>
      </p:sp>
      <p:sp>
        <p:nvSpPr>
          <p:cNvPr id="21" name="Text Placeholder 5">
            <a:extLst>
              <a:ext uri="{FF2B5EF4-FFF2-40B4-BE49-F238E27FC236}">
                <a16:creationId xmlns:a16="http://schemas.microsoft.com/office/drawing/2014/main" id="{0C3571F2-6CFF-4A3C-B17E-4A09A6D280AA}"/>
              </a:ext>
            </a:extLst>
          </p:cNvPr>
          <p:cNvSpPr>
            <a:spLocks noGrp="1"/>
          </p:cNvSpPr>
          <p:nvPr>
            <p:ph type="body" sz="quarter" idx="20" hasCustomPrompt="1"/>
          </p:nvPr>
        </p:nvSpPr>
        <p:spPr>
          <a:xfrm>
            <a:off x="431800" y="1862338"/>
            <a:ext cx="5372652" cy="388459"/>
          </a:xfrm>
          <a:prstGeom prst="rect">
            <a:avLst/>
          </a:prstGeom>
        </p:spPr>
        <p:txBody>
          <a:bodyPr lIns="0" tIns="0" rIns="0" bIns="0"/>
          <a:lstStyle>
            <a:lvl1pPr marL="0" indent="0">
              <a:buNone/>
              <a:defRPr sz="2000" baseline="0">
                <a:solidFill>
                  <a:schemeClr val="bg1"/>
                </a:solidFill>
              </a:defRPr>
            </a:lvl1pPr>
          </a:lstStyle>
          <a:p>
            <a:pPr lvl="0"/>
            <a:r>
              <a:rPr lang="en-GB"/>
              <a:t>Click to edit sub-heading</a:t>
            </a:r>
          </a:p>
        </p:txBody>
      </p:sp>
      <p:pic>
        <p:nvPicPr>
          <p:cNvPr id="5" name="Picture 4">
            <a:extLst>
              <a:ext uri="{FF2B5EF4-FFF2-40B4-BE49-F238E27FC236}">
                <a16:creationId xmlns:a16="http://schemas.microsoft.com/office/drawing/2014/main" id="{6B712E3C-5530-4A84-B4F9-23E53AB5ED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380807" y="6021615"/>
            <a:ext cx="1244723" cy="576035"/>
          </a:xfrm>
          <a:prstGeom prst="rect">
            <a:avLst/>
          </a:prstGeom>
        </p:spPr>
      </p:pic>
    </p:spTree>
    <p:extLst>
      <p:ext uri="{BB962C8B-B14F-4D97-AF65-F5344CB8AC3E}">
        <p14:creationId xmlns:p14="http://schemas.microsoft.com/office/powerpoint/2010/main" val="2195447650"/>
      </p:ext>
    </p:extLst>
  </p:cSld>
  <p:clrMapOvr>
    <a:masterClrMapping/>
  </p:clrMapOvr>
  <p:extLst>
    <p:ext uri="{DCECCB84-F9BA-43D5-87BE-67443E8EF086}">
      <p15:sldGuideLst xmlns:p15="http://schemas.microsoft.com/office/powerpoint/2012/main">
        <p15:guide id="1" pos="768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Divider Image">
    <p:spTree>
      <p:nvGrpSpPr>
        <p:cNvPr id="1" name=""/>
        <p:cNvGrpSpPr/>
        <p:nvPr/>
      </p:nvGrpSpPr>
      <p:grpSpPr>
        <a:xfrm>
          <a:off x="0" y="0"/>
          <a:ext cx="0" cy="0"/>
          <a:chOff x="0" y="0"/>
          <a:chExt cx="0" cy="0"/>
        </a:xfrm>
      </p:grpSpPr>
      <p:sp>
        <p:nvSpPr>
          <p:cNvPr id="6" name="Vrije vorm: vorm 14">
            <a:extLst>
              <a:ext uri="{FF2B5EF4-FFF2-40B4-BE49-F238E27FC236}">
                <a16:creationId xmlns:a16="http://schemas.microsoft.com/office/drawing/2014/main" id="{FC889D77-5D9F-264E-B047-7E3D9643D32F}"/>
              </a:ext>
            </a:extLst>
          </p:cNvPr>
          <p:cNvSpPr>
            <a:spLocks noGrp="1"/>
          </p:cNvSpPr>
          <p:nvPr>
            <p:ph type="pic" sz="quarter" idx="12" hasCustomPrompt="1"/>
          </p:nvPr>
        </p:nvSpPr>
        <p:spPr>
          <a:xfrm>
            <a:off x="0" y="-69011"/>
            <a:ext cx="6461153" cy="6963981"/>
          </a:xfrm>
          <a:custGeom>
            <a:avLst/>
            <a:gdLst>
              <a:gd name="connsiteX0" fmla="*/ 2318085 w 12201525"/>
              <a:gd name="connsiteY0" fmla="*/ 0 h 6880686"/>
              <a:gd name="connsiteX1" fmla="*/ 12201525 w 12201525"/>
              <a:gd name="connsiteY1" fmla="*/ 463 h 6880686"/>
              <a:gd name="connsiteX2" fmla="*/ 12198810 w 12201525"/>
              <a:gd name="connsiteY2" fmla="*/ 1875299 h 6880686"/>
              <a:gd name="connsiteX3" fmla="*/ 12201525 w 12201525"/>
              <a:gd name="connsiteY3" fmla="*/ 1875299 h 6880686"/>
              <a:gd name="connsiteX4" fmla="*/ 12201525 w 12201525"/>
              <a:gd name="connsiteY4" fmla="*/ 6344112 h 6880686"/>
              <a:gd name="connsiteX5" fmla="*/ 12199508 w 12201525"/>
              <a:gd name="connsiteY5" fmla="*/ 6344112 h 6880686"/>
              <a:gd name="connsiteX6" fmla="*/ 12201525 w 12201525"/>
              <a:gd name="connsiteY6" fmla="*/ 6880686 h 6880686"/>
              <a:gd name="connsiteX7" fmla="*/ 0 w 12201525"/>
              <a:gd name="connsiteY7" fmla="*/ 6880686 h 6880686"/>
              <a:gd name="connsiteX8" fmla="*/ 11673 w 12201525"/>
              <a:gd name="connsiteY8" fmla="*/ 6841306 h 6880686"/>
              <a:gd name="connsiteX9" fmla="*/ 1308276 w 12201525"/>
              <a:gd name="connsiteY9" fmla="*/ 2995309 h 6880686"/>
              <a:gd name="connsiteX10" fmla="*/ 1457809 w 12201525"/>
              <a:gd name="connsiteY10" fmla="*/ 2580257 h 6880686"/>
              <a:gd name="connsiteX11" fmla="*/ 2040932 w 12201525"/>
              <a:gd name="connsiteY11" fmla="*/ 860085 h 6880686"/>
              <a:gd name="connsiteX12" fmla="*/ 2134197 w 12201525"/>
              <a:gd name="connsiteY12" fmla="*/ 545453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296603 w 12189852"/>
              <a:gd name="connsiteY8" fmla="*/ 2995309 h 6880686"/>
              <a:gd name="connsiteX9" fmla="*/ 1446136 w 12189852"/>
              <a:gd name="connsiteY9" fmla="*/ 2580257 h 6880686"/>
              <a:gd name="connsiteX10" fmla="*/ 2029259 w 12189852"/>
              <a:gd name="connsiteY10" fmla="*/ 860085 h 6880686"/>
              <a:gd name="connsiteX11" fmla="*/ 2122524 w 12189852"/>
              <a:gd name="connsiteY11" fmla="*/ 545453 h 6880686"/>
              <a:gd name="connsiteX12" fmla="*/ 2306412 w 12189852"/>
              <a:gd name="connsiteY12"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1446136 w 12189852"/>
              <a:gd name="connsiteY8" fmla="*/ 2580257 h 6880686"/>
              <a:gd name="connsiteX9" fmla="*/ 2029259 w 12189852"/>
              <a:gd name="connsiteY9" fmla="*/ 860085 h 6880686"/>
              <a:gd name="connsiteX10" fmla="*/ 2122524 w 12189852"/>
              <a:gd name="connsiteY10" fmla="*/ 545453 h 6880686"/>
              <a:gd name="connsiteX11" fmla="*/ 2306412 w 12189852"/>
              <a:gd name="connsiteY11"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029259 w 12189852"/>
              <a:gd name="connsiteY8" fmla="*/ 860085 h 6880686"/>
              <a:gd name="connsiteX9" fmla="*/ 2122524 w 12189852"/>
              <a:gd name="connsiteY9" fmla="*/ 545453 h 6880686"/>
              <a:gd name="connsiteX10" fmla="*/ 2306412 w 12189852"/>
              <a:gd name="connsiteY10"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122524 w 12189852"/>
              <a:gd name="connsiteY8" fmla="*/ 545453 h 6880686"/>
              <a:gd name="connsiteX9" fmla="*/ 2306412 w 12189852"/>
              <a:gd name="connsiteY9" fmla="*/ 0 h 6880686"/>
              <a:gd name="connsiteX0" fmla="*/ 2306412 w 12189852"/>
              <a:gd name="connsiteY0" fmla="*/ 0 h 6880686"/>
              <a:gd name="connsiteX1" fmla="*/ 12189852 w 12189852"/>
              <a:gd name="connsiteY1" fmla="*/ 463 h 6880686"/>
              <a:gd name="connsiteX2" fmla="*/ 12187137 w 12189852"/>
              <a:gd name="connsiteY2" fmla="*/ 1875299 h 6880686"/>
              <a:gd name="connsiteX3" fmla="*/ 12189852 w 12189852"/>
              <a:gd name="connsiteY3" fmla="*/ 1875299 h 6880686"/>
              <a:gd name="connsiteX4" fmla="*/ 12189852 w 12189852"/>
              <a:gd name="connsiteY4" fmla="*/ 6344112 h 6880686"/>
              <a:gd name="connsiteX5" fmla="*/ 12187835 w 12189852"/>
              <a:gd name="connsiteY5" fmla="*/ 6344112 h 6880686"/>
              <a:gd name="connsiteX6" fmla="*/ 12189852 w 12189852"/>
              <a:gd name="connsiteY6" fmla="*/ 6880686 h 6880686"/>
              <a:gd name="connsiteX7" fmla="*/ 0 w 12189852"/>
              <a:gd name="connsiteY7" fmla="*/ 6841306 h 6880686"/>
              <a:gd name="connsiteX8" fmla="*/ 2306412 w 12189852"/>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12627 w 9883440"/>
              <a:gd name="connsiteY7" fmla="*/ 6858358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1875299 h 6880686"/>
              <a:gd name="connsiteX4" fmla="*/ 9883440 w 9883440"/>
              <a:gd name="connsiteY4" fmla="*/ 6344112 h 6880686"/>
              <a:gd name="connsiteX5" fmla="*/ 9881423 w 9883440"/>
              <a:gd name="connsiteY5" fmla="*/ 6344112 h 6880686"/>
              <a:gd name="connsiteX6" fmla="*/ 9883440 w 9883440"/>
              <a:gd name="connsiteY6" fmla="*/ 6880686 h 6880686"/>
              <a:gd name="connsiteX7" fmla="*/ 4101 w 9883440"/>
              <a:gd name="connsiteY7" fmla="*/ 6875410 h 6880686"/>
              <a:gd name="connsiteX8" fmla="*/ 0 w 9883440"/>
              <a:gd name="connsiteY8" fmla="*/ 0 h 6880686"/>
              <a:gd name="connsiteX0" fmla="*/ 0 w 9883440"/>
              <a:gd name="connsiteY0" fmla="*/ 0 h 6880686"/>
              <a:gd name="connsiteX1" fmla="*/ 9883440 w 9883440"/>
              <a:gd name="connsiteY1" fmla="*/ 463 h 6880686"/>
              <a:gd name="connsiteX2" fmla="*/ 9880725 w 9883440"/>
              <a:gd name="connsiteY2" fmla="*/ 1875299 h 6880686"/>
              <a:gd name="connsiteX3" fmla="*/ 9883440 w 9883440"/>
              <a:gd name="connsiteY3" fmla="*/ 6344112 h 6880686"/>
              <a:gd name="connsiteX4" fmla="*/ 9881423 w 9883440"/>
              <a:gd name="connsiteY4" fmla="*/ 6344112 h 6880686"/>
              <a:gd name="connsiteX5" fmla="*/ 9883440 w 9883440"/>
              <a:gd name="connsiteY5" fmla="*/ 6880686 h 6880686"/>
              <a:gd name="connsiteX6" fmla="*/ 4101 w 9883440"/>
              <a:gd name="connsiteY6" fmla="*/ 6875410 h 6880686"/>
              <a:gd name="connsiteX7" fmla="*/ 0 w 9883440"/>
              <a:gd name="connsiteY7" fmla="*/ 0 h 6880686"/>
              <a:gd name="connsiteX0" fmla="*/ 0 w 10615621"/>
              <a:gd name="connsiteY0" fmla="*/ 0 h 6880686"/>
              <a:gd name="connsiteX1" fmla="*/ 9883440 w 10615621"/>
              <a:gd name="connsiteY1" fmla="*/ 463 h 6880686"/>
              <a:gd name="connsiteX2" fmla="*/ 9883440 w 10615621"/>
              <a:gd name="connsiteY2" fmla="*/ 6344112 h 6880686"/>
              <a:gd name="connsiteX3" fmla="*/ 9881423 w 10615621"/>
              <a:gd name="connsiteY3" fmla="*/ 6344112 h 6880686"/>
              <a:gd name="connsiteX4" fmla="*/ 9883440 w 10615621"/>
              <a:gd name="connsiteY4" fmla="*/ 6880686 h 6880686"/>
              <a:gd name="connsiteX5" fmla="*/ 4101 w 10615621"/>
              <a:gd name="connsiteY5" fmla="*/ 6875410 h 6880686"/>
              <a:gd name="connsiteX6" fmla="*/ 0 w 10615621"/>
              <a:gd name="connsiteY6" fmla="*/ 0 h 6880686"/>
              <a:gd name="connsiteX0" fmla="*/ 0 w 12193184"/>
              <a:gd name="connsiteY0" fmla="*/ 0 h 6880686"/>
              <a:gd name="connsiteX1" fmla="*/ 11754051 w 12193184"/>
              <a:gd name="connsiteY1" fmla="*/ 463 h 6880686"/>
              <a:gd name="connsiteX2" fmla="*/ 9883440 w 12193184"/>
              <a:gd name="connsiteY2" fmla="*/ 6344112 h 6880686"/>
              <a:gd name="connsiteX3" fmla="*/ 9881423 w 12193184"/>
              <a:gd name="connsiteY3" fmla="*/ 6344112 h 6880686"/>
              <a:gd name="connsiteX4" fmla="*/ 9883440 w 12193184"/>
              <a:gd name="connsiteY4" fmla="*/ 6880686 h 6880686"/>
              <a:gd name="connsiteX5" fmla="*/ 4101 w 12193184"/>
              <a:gd name="connsiteY5" fmla="*/ 6875410 h 6880686"/>
              <a:gd name="connsiteX6" fmla="*/ 0 w 12193184"/>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9883440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7417636 w 11754056"/>
              <a:gd name="connsiteY4" fmla="*/ 6880686 h 6880686"/>
              <a:gd name="connsiteX5" fmla="*/ 4101 w 11754056"/>
              <a:gd name="connsiteY5" fmla="*/ 6875410 h 6880686"/>
              <a:gd name="connsiteX6" fmla="*/ 0 w 11754056"/>
              <a:gd name="connsiteY6" fmla="*/ 0 h 6880686"/>
              <a:gd name="connsiteX0" fmla="*/ 0 w 11754056"/>
              <a:gd name="connsiteY0" fmla="*/ 0 h 6880686"/>
              <a:gd name="connsiteX1" fmla="*/ 11754051 w 11754056"/>
              <a:gd name="connsiteY1" fmla="*/ 463 h 6880686"/>
              <a:gd name="connsiteX2" fmla="*/ 9883440 w 11754056"/>
              <a:gd name="connsiteY2" fmla="*/ 6344112 h 6880686"/>
              <a:gd name="connsiteX3" fmla="*/ 9881423 w 11754056"/>
              <a:gd name="connsiteY3" fmla="*/ 6344112 h 6880686"/>
              <a:gd name="connsiteX4" fmla="*/ 8352941 w 11754056"/>
              <a:gd name="connsiteY4" fmla="*/ 6880686 h 6880686"/>
              <a:gd name="connsiteX5" fmla="*/ 4101 w 11754056"/>
              <a:gd name="connsiteY5" fmla="*/ 6875410 h 6880686"/>
              <a:gd name="connsiteX6" fmla="*/ 0 w 11754056"/>
              <a:gd name="connsiteY6" fmla="*/ 0 h 6880686"/>
              <a:gd name="connsiteX0" fmla="*/ 0 w 11754056"/>
              <a:gd name="connsiteY0" fmla="*/ 0 h 6880694"/>
              <a:gd name="connsiteX1" fmla="*/ 11754051 w 11754056"/>
              <a:gd name="connsiteY1" fmla="*/ 463 h 6880694"/>
              <a:gd name="connsiteX2" fmla="*/ 9883440 w 11754056"/>
              <a:gd name="connsiteY2" fmla="*/ 6344112 h 6880694"/>
              <a:gd name="connsiteX3" fmla="*/ 9881423 w 11754056"/>
              <a:gd name="connsiteY3" fmla="*/ 6344112 h 6880694"/>
              <a:gd name="connsiteX4" fmla="*/ 8352941 w 11754056"/>
              <a:gd name="connsiteY4" fmla="*/ 6880686 h 6880694"/>
              <a:gd name="connsiteX5" fmla="*/ 4101 w 11754056"/>
              <a:gd name="connsiteY5" fmla="*/ 6875410 h 6880694"/>
              <a:gd name="connsiteX6" fmla="*/ 0 w 11754056"/>
              <a:gd name="connsiteY6" fmla="*/ 0 h 6880694"/>
              <a:gd name="connsiteX0" fmla="*/ 0 w 11754056"/>
              <a:gd name="connsiteY0" fmla="*/ 0 h 6880686"/>
              <a:gd name="connsiteX1" fmla="*/ 11754051 w 11754056"/>
              <a:gd name="connsiteY1" fmla="*/ 463 h 6880686"/>
              <a:gd name="connsiteX2" fmla="*/ 9883440 w 11754056"/>
              <a:gd name="connsiteY2" fmla="*/ 6344112 h 6880686"/>
              <a:gd name="connsiteX3" fmla="*/ 8352941 w 11754056"/>
              <a:gd name="connsiteY3" fmla="*/ 6880686 h 6880686"/>
              <a:gd name="connsiteX4" fmla="*/ 4101 w 11754056"/>
              <a:gd name="connsiteY4" fmla="*/ 6875410 h 6880686"/>
              <a:gd name="connsiteX5" fmla="*/ 0 w 11754056"/>
              <a:gd name="connsiteY5" fmla="*/ 0 h 6880686"/>
              <a:gd name="connsiteX0" fmla="*/ 0 w 12124998"/>
              <a:gd name="connsiteY0" fmla="*/ 0 h 6880686"/>
              <a:gd name="connsiteX1" fmla="*/ 11754051 w 12124998"/>
              <a:gd name="connsiteY1" fmla="*/ 463 h 6880686"/>
              <a:gd name="connsiteX2" fmla="*/ 8352941 w 12124998"/>
              <a:gd name="connsiteY2" fmla="*/ 6880686 h 6880686"/>
              <a:gd name="connsiteX3" fmla="*/ 4101 w 12124998"/>
              <a:gd name="connsiteY3" fmla="*/ 6875410 h 6880686"/>
              <a:gd name="connsiteX4" fmla="*/ 0 w 12124998"/>
              <a:gd name="connsiteY4" fmla="*/ 0 h 6880686"/>
              <a:gd name="connsiteX0" fmla="*/ 0 w 11754551"/>
              <a:gd name="connsiteY0" fmla="*/ 0 h 6880686"/>
              <a:gd name="connsiteX1" fmla="*/ 11754051 w 11754551"/>
              <a:gd name="connsiteY1" fmla="*/ 463 h 6880686"/>
              <a:gd name="connsiteX2" fmla="*/ 8352941 w 11754551"/>
              <a:gd name="connsiteY2" fmla="*/ 6880686 h 6880686"/>
              <a:gd name="connsiteX3" fmla="*/ 4101 w 11754551"/>
              <a:gd name="connsiteY3" fmla="*/ 6875410 h 6880686"/>
              <a:gd name="connsiteX4" fmla="*/ 0 w 11754551"/>
              <a:gd name="connsiteY4" fmla="*/ 0 h 6880686"/>
              <a:gd name="connsiteX0" fmla="*/ 0 w 11754267"/>
              <a:gd name="connsiteY0" fmla="*/ 0 h 6880717"/>
              <a:gd name="connsiteX1" fmla="*/ 11754051 w 11754267"/>
              <a:gd name="connsiteY1" fmla="*/ 463 h 6880717"/>
              <a:gd name="connsiteX2" fmla="*/ 8352941 w 11754267"/>
              <a:gd name="connsiteY2" fmla="*/ 6880686 h 6880717"/>
              <a:gd name="connsiteX3" fmla="*/ 4101 w 11754267"/>
              <a:gd name="connsiteY3" fmla="*/ 6875410 h 6880717"/>
              <a:gd name="connsiteX4" fmla="*/ 0 w 11754267"/>
              <a:gd name="connsiteY4" fmla="*/ 0 h 6880717"/>
              <a:gd name="connsiteX0" fmla="*/ 0 w 14323711"/>
              <a:gd name="connsiteY0" fmla="*/ 0 h 6880717"/>
              <a:gd name="connsiteX1" fmla="*/ 14323587 w 14323711"/>
              <a:gd name="connsiteY1" fmla="*/ 463 h 6880717"/>
              <a:gd name="connsiteX2" fmla="*/ 8352941 w 14323711"/>
              <a:gd name="connsiteY2" fmla="*/ 6880686 h 6880717"/>
              <a:gd name="connsiteX3" fmla="*/ 4101 w 14323711"/>
              <a:gd name="connsiteY3" fmla="*/ 6875410 h 6880717"/>
              <a:gd name="connsiteX4" fmla="*/ 0 w 14323711"/>
              <a:gd name="connsiteY4" fmla="*/ 0 h 6880717"/>
              <a:gd name="connsiteX0" fmla="*/ 0 w 14323698"/>
              <a:gd name="connsiteY0" fmla="*/ 0 h 6880717"/>
              <a:gd name="connsiteX1" fmla="*/ 14323587 w 14323698"/>
              <a:gd name="connsiteY1" fmla="*/ 463 h 6880717"/>
              <a:gd name="connsiteX2" fmla="*/ 7642217 w 14323698"/>
              <a:gd name="connsiteY2" fmla="*/ 6880686 h 6880717"/>
              <a:gd name="connsiteX3" fmla="*/ 4101 w 14323698"/>
              <a:gd name="connsiteY3" fmla="*/ 6875410 h 6880717"/>
              <a:gd name="connsiteX4" fmla="*/ 0 w 14323698"/>
              <a:gd name="connsiteY4" fmla="*/ 0 h 6880717"/>
              <a:gd name="connsiteX0" fmla="*/ 0 w 14323708"/>
              <a:gd name="connsiteY0" fmla="*/ 0 h 6904562"/>
              <a:gd name="connsiteX1" fmla="*/ 14323587 w 14323708"/>
              <a:gd name="connsiteY1" fmla="*/ 463 h 6904562"/>
              <a:gd name="connsiteX2" fmla="*/ 8194156 w 14323708"/>
              <a:gd name="connsiteY2" fmla="*/ 6904531 h 6904562"/>
              <a:gd name="connsiteX3" fmla="*/ 4101 w 14323708"/>
              <a:gd name="connsiteY3" fmla="*/ 6875410 h 6904562"/>
              <a:gd name="connsiteX4" fmla="*/ 0 w 14323708"/>
              <a:gd name="connsiteY4" fmla="*/ 0 h 6904562"/>
              <a:gd name="connsiteX0" fmla="*/ 0 w 11308306"/>
              <a:gd name="connsiteY0" fmla="*/ 0 h 6904562"/>
              <a:gd name="connsiteX1" fmla="*/ 11308070 w 11308306"/>
              <a:gd name="connsiteY1" fmla="*/ 17709 h 6904562"/>
              <a:gd name="connsiteX2" fmla="*/ 8194156 w 11308306"/>
              <a:gd name="connsiteY2" fmla="*/ 6904531 h 6904562"/>
              <a:gd name="connsiteX3" fmla="*/ 4101 w 11308306"/>
              <a:gd name="connsiteY3" fmla="*/ 6875410 h 6904562"/>
              <a:gd name="connsiteX4" fmla="*/ 0 w 11308306"/>
              <a:gd name="connsiteY4" fmla="*/ 0 h 6904562"/>
              <a:gd name="connsiteX0" fmla="*/ 0 w 11218922"/>
              <a:gd name="connsiteY0" fmla="*/ 0 h 6904562"/>
              <a:gd name="connsiteX1" fmla="*/ 11218678 w 11218922"/>
              <a:gd name="connsiteY1" fmla="*/ 463 h 6904562"/>
              <a:gd name="connsiteX2" fmla="*/ 8194156 w 11218922"/>
              <a:gd name="connsiteY2" fmla="*/ 6904531 h 6904562"/>
              <a:gd name="connsiteX3" fmla="*/ 4101 w 11218922"/>
              <a:gd name="connsiteY3" fmla="*/ 6875410 h 6904562"/>
              <a:gd name="connsiteX4" fmla="*/ 0 w 11218922"/>
              <a:gd name="connsiteY4" fmla="*/ 0 h 6904562"/>
              <a:gd name="connsiteX0" fmla="*/ 0 w 11219065"/>
              <a:gd name="connsiteY0" fmla="*/ 0 h 6875502"/>
              <a:gd name="connsiteX1" fmla="*/ 11218678 w 11219065"/>
              <a:gd name="connsiteY1" fmla="*/ 463 h 6875502"/>
              <a:gd name="connsiteX2" fmla="*/ 9356276 w 11219065"/>
              <a:gd name="connsiteY2" fmla="*/ 6870039 h 6875502"/>
              <a:gd name="connsiteX3" fmla="*/ 4101 w 11219065"/>
              <a:gd name="connsiteY3" fmla="*/ 6875410 h 6875502"/>
              <a:gd name="connsiteX4" fmla="*/ 0 w 11219065"/>
              <a:gd name="connsiteY4" fmla="*/ 0 h 6875502"/>
              <a:gd name="connsiteX0" fmla="*/ 0 w 11218854"/>
              <a:gd name="connsiteY0" fmla="*/ 0 h 6895939"/>
              <a:gd name="connsiteX1" fmla="*/ 11218678 w 11218854"/>
              <a:gd name="connsiteY1" fmla="*/ 463 h 6895939"/>
              <a:gd name="connsiteX2" fmla="*/ 7017140 w 11218854"/>
              <a:gd name="connsiteY2" fmla="*/ 6895908 h 6895939"/>
              <a:gd name="connsiteX3" fmla="*/ 4101 w 11218854"/>
              <a:gd name="connsiteY3" fmla="*/ 6875410 h 6895939"/>
              <a:gd name="connsiteX4" fmla="*/ 0 w 11218854"/>
              <a:gd name="connsiteY4" fmla="*/ 0 h 6895939"/>
              <a:gd name="connsiteX0" fmla="*/ 0 w 11159259"/>
              <a:gd name="connsiteY0" fmla="*/ 0 h 6895939"/>
              <a:gd name="connsiteX1" fmla="*/ 11159081 w 11159259"/>
              <a:gd name="connsiteY1" fmla="*/ 17709 h 6895939"/>
              <a:gd name="connsiteX2" fmla="*/ 7017140 w 11159259"/>
              <a:gd name="connsiteY2" fmla="*/ 6895908 h 6895939"/>
              <a:gd name="connsiteX3" fmla="*/ 4101 w 11159259"/>
              <a:gd name="connsiteY3" fmla="*/ 6875410 h 6895939"/>
              <a:gd name="connsiteX4" fmla="*/ 0 w 11159259"/>
              <a:gd name="connsiteY4" fmla="*/ 0 h 6895939"/>
              <a:gd name="connsiteX0" fmla="*/ 0 w 11159261"/>
              <a:gd name="connsiteY0" fmla="*/ 0 h 6895939"/>
              <a:gd name="connsiteX1" fmla="*/ 11159081 w 11159261"/>
              <a:gd name="connsiteY1" fmla="*/ 17709 h 6895939"/>
              <a:gd name="connsiteX2" fmla="*/ 7061836 w 11159261"/>
              <a:gd name="connsiteY2" fmla="*/ 6895908 h 6895939"/>
              <a:gd name="connsiteX3" fmla="*/ 4101 w 11159261"/>
              <a:gd name="connsiteY3" fmla="*/ 6875410 h 6895939"/>
              <a:gd name="connsiteX4" fmla="*/ 0 w 11159261"/>
              <a:gd name="connsiteY4" fmla="*/ 0 h 6895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59261" h="6895939">
                <a:moveTo>
                  <a:pt x="0" y="0"/>
                </a:moveTo>
                <a:lnTo>
                  <a:pt x="11159081" y="17709"/>
                </a:lnTo>
                <a:cubicBezTo>
                  <a:pt x="11190794" y="27400"/>
                  <a:pt x="7036181" y="6913016"/>
                  <a:pt x="7061836" y="6895908"/>
                </a:cubicBezTo>
                <a:cubicBezTo>
                  <a:pt x="7087491" y="6878800"/>
                  <a:pt x="2787048" y="6877169"/>
                  <a:pt x="4101" y="6875410"/>
                </a:cubicBezTo>
                <a:lnTo>
                  <a:pt x="0" y="0"/>
                </a:lnTo>
                <a:close/>
              </a:path>
            </a:pathLst>
          </a:custGeom>
          <a:solidFill>
            <a:schemeClr val="accent1"/>
          </a:solidFill>
        </p:spPr>
        <p:txBody>
          <a:bodyPr wrap="square" tIns="180000">
            <a:noAutofit/>
          </a:bodyPr>
          <a:lstStyle>
            <a:lvl1pPr algn="l">
              <a:defRPr lang="nl-NL" sz="1200" dirty="0">
                <a:solidFill>
                  <a:schemeClr val="bg1"/>
                </a:solidFill>
              </a:defRPr>
            </a:lvl1pPr>
          </a:lstStyle>
          <a:p>
            <a:pPr lvl="0" algn="ctr">
              <a:buNone/>
            </a:pPr>
            <a:r>
              <a:rPr lang="en-US" noProof="0"/>
              <a:t>Click icon to insert an image</a:t>
            </a:r>
          </a:p>
        </p:txBody>
      </p:sp>
      <p:sp>
        <p:nvSpPr>
          <p:cNvPr id="17" name="Title 1">
            <a:extLst>
              <a:ext uri="{FF2B5EF4-FFF2-40B4-BE49-F238E27FC236}">
                <a16:creationId xmlns:a16="http://schemas.microsoft.com/office/drawing/2014/main" id="{090CC876-AF98-48A0-BABD-72A2BB6C532D}"/>
              </a:ext>
            </a:extLst>
          </p:cNvPr>
          <p:cNvSpPr>
            <a:spLocks noGrp="1"/>
          </p:cNvSpPr>
          <p:nvPr>
            <p:ph type="ctrTitle" hasCustomPrompt="1"/>
          </p:nvPr>
        </p:nvSpPr>
        <p:spPr>
          <a:xfrm>
            <a:off x="6478589" y="2603828"/>
            <a:ext cx="5271784" cy="900522"/>
          </a:xfrm>
          <a:prstGeom prst="rect">
            <a:avLst/>
          </a:prstGeom>
        </p:spPr>
        <p:txBody>
          <a:bodyPr wrap="square" lIns="0" tIns="0" rIns="0" bIns="0" anchor="t" anchorCtr="0"/>
          <a:lstStyle>
            <a:lvl1pPr algn="l">
              <a:defRPr sz="3200">
                <a:solidFill>
                  <a:schemeClr val="accent1"/>
                </a:solidFill>
              </a:defRPr>
            </a:lvl1pPr>
          </a:lstStyle>
          <a:p>
            <a:r>
              <a:rPr lang="en-US"/>
              <a:t>Click to edit </a:t>
            </a:r>
            <a:br>
              <a:rPr lang="en-US"/>
            </a:br>
            <a:r>
              <a:rPr lang="en-US"/>
              <a:t>Master title style</a:t>
            </a:r>
          </a:p>
        </p:txBody>
      </p:sp>
      <p:sp>
        <p:nvSpPr>
          <p:cNvPr id="19" name="Text Placeholder 2">
            <a:extLst>
              <a:ext uri="{FF2B5EF4-FFF2-40B4-BE49-F238E27FC236}">
                <a16:creationId xmlns:a16="http://schemas.microsoft.com/office/drawing/2014/main" id="{48155769-BD9C-41FC-98BD-072FB92D3147}"/>
              </a:ext>
            </a:extLst>
          </p:cNvPr>
          <p:cNvSpPr>
            <a:spLocks noGrp="1"/>
          </p:cNvSpPr>
          <p:nvPr>
            <p:ph type="body" sz="quarter" idx="13" hasCustomPrompt="1"/>
          </p:nvPr>
        </p:nvSpPr>
        <p:spPr>
          <a:xfrm>
            <a:off x="6478589" y="3591431"/>
            <a:ext cx="5271784" cy="599061"/>
          </a:xfrm>
          <a:prstGeom prst="rect">
            <a:avLst/>
          </a:prstGeom>
        </p:spPr>
        <p:txBody>
          <a:bodyPr lIns="0" tIns="0" rIns="0" bIns="0"/>
          <a:lstStyle>
            <a:lvl1pPr marL="0" indent="0">
              <a:buNone/>
              <a:defRPr/>
            </a:lvl1pPr>
          </a:lstStyle>
          <a:p>
            <a:pPr lvl="0"/>
            <a:r>
              <a:rPr lang="en-GB"/>
              <a:t>Click to edit sub-heading</a:t>
            </a:r>
          </a:p>
        </p:txBody>
      </p:sp>
      <p:sp>
        <p:nvSpPr>
          <p:cNvPr id="4" name="Rectangle 3">
            <a:extLst>
              <a:ext uri="{FF2B5EF4-FFF2-40B4-BE49-F238E27FC236}">
                <a16:creationId xmlns:a16="http://schemas.microsoft.com/office/drawing/2014/main" id="{440A8931-C8A0-45A5-8BCF-9199260141BE}"/>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168C5279-FFF4-4B01-907C-96DB5DBFB6AE}"/>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7" name="Picture 6" descr="A picture containing clipart&#10;&#10;Description automatically generated">
            <a:extLst>
              <a:ext uri="{FF2B5EF4-FFF2-40B4-BE49-F238E27FC236}">
                <a16:creationId xmlns:a16="http://schemas.microsoft.com/office/drawing/2014/main" id="{03F4F811-97AD-41A5-BD5F-1A74BF2C3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135868081"/>
      </p:ext>
    </p:extLst>
  </p:cSld>
  <p:clrMapOvr>
    <a:masterClrMapping/>
  </p:clrMapOvr>
  <p:extLst>
    <p:ext uri="{DCECCB84-F9BA-43D5-87BE-67443E8EF086}">
      <p15:sldGuideLst xmlns:p15="http://schemas.microsoft.com/office/powerpoint/2012/main">
        <p15:guide id="1" pos="4081">
          <p15:clr>
            <a:srgbClr val="FBAE40"/>
          </p15:clr>
        </p15:guide>
        <p15:guide id="2" orient="horz" pos="163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reverse">
    <p:spTree>
      <p:nvGrpSpPr>
        <p:cNvPr id="1" name=""/>
        <p:cNvGrpSpPr/>
        <p:nvPr/>
      </p:nvGrpSpPr>
      <p:grpSpPr>
        <a:xfrm>
          <a:off x="0" y="0"/>
          <a:ext cx="0" cy="0"/>
          <a:chOff x="0" y="0"/>
          <a:chExt cx="0" cy="0"/>
        </a:xfrm>
      </p:grpSpPr>
      <p:sp>
        <p:nvSpPr>
          <p:cNvPr id="13" name="Picture Placeholder 12"/>
          <p:cNvSpPr>
            <a:spLocks noGrp="1"/>
          </p:cNvSpPr>
          <p:nvPr>
            <p:ph type="pic" sz="quarter" idx="18"/>
          </p:nvPr>
        </p:nvSpPr>
        <p:spPr>
          <a:xfrm>
            <a:off x="5804848" y="-8628"/>
            <a:ext cx="6387152" cy="6866627"/>
          </a:xfrm>
          <a:custGeom>
            <a:avLst/>
            <a:gdLst>
              <a:gd name="connsiteX0" fmla="*/ 0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0 w 4790364"/>
              <a:gd name="connsiteY4" fmla="*/ 0 h 6858000"/>
              <a:gd name="connsiteX0" fmla="*/ 2320119 w 4790364"/>
              <a:gd name="connsiteY0" fmla="*/ 0 h 6858000"/>
              <a:gd name="connsiteX1" fmla="*/ 4790364 w 4790364"/>
              <a:gd name="connsiteY1" fmla="*/ 0 h 6858000"/>
              <a:gd name="connsiteX2" fmla="*/ 4790364 w 4790364"/>
              <a:gd name="connsiteY2" fmla="*/ 6858000 h 6858000"/>
              <a:gd name="connsiteX3" fmla="*/ 0 w 4790364"/>
              <a:gd name="connsiteY3" fmla="*/ 6858000 h 6858000"/>
              <a:gd name="connsiteX4" fmla="*/ 2320119 w 4790364"/>
              <a:gd name="connsiteY4" fmla="*/ 0 h 6858000"/>
              <a:gd name="connsiteX0" fmla="*/ 1776655 w 4790364"/>
              <a:gd name="connsiteY0" fmla="*/ 0 h 6866627"/>
              <a:gd name="connsiteX1" fmla="*/ 4790364 w 4790364"/>
              <a:gd name="connsiteY1" fmla="*/ 8627 h 6866627"/>
              <a:gd name="connsiteX2" fmla="*/ 4790364 w 4790364"/>
              <a:gd name="connsiteY2" fmla="*/ 6866627 h 6866627"/>
              <a:gd name="connsiteX3" fmla="*/ 0 w 4790364"/>
              <a:gd name="connsiteY3" fmla="*/ 6866627 h 6866627"/>
              <a:gd name="connsiteX4" fmla="*/ 1776655 w 4790364"/>
              <a:gd name="connsiteY4" fmla="*/ 0 h 686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0364" h="6866627">
                <a:moveTo>
                  <a:pt x="1776655" y="0"/>
                </a:moveTo>
                <a:lnTo>
                  <a:pt x="4790364" y="8627"/>
                </a:lnTo>
                <a:lnTo>
                  <a:pt x="4790364" y="6866627"/>
                </a:lnTo>
                <a:lnTo>
                  <a:pt x="0" y="6866627"/>
                </a:lnTo>
                <a:lnTo>
                  <a:pt x="1776655" y="0"/>
                </a:lnTo>
                <a:close/>
              </a:path>
            </a:pathLst>
          </a:custGeom>
          <a:solidFill>
            <a:schemeClr val="accent1"/>
          </a:solidFill>
        </p:spPr>
        <p:txBody>
          <a:bodyPr/>
          <a:lstStyle>
            <a:lvl1pPr marL="0" indent="0">
              <a:buNone/>
              <a:defRPr/>
            </a:lvl1pPr>
          </a:lstStyle>
          <a:p>
            <a:r>
              <a:rPr lang="nl-NL"/>
              <a:t>Klik op het pictogram als u een afbeelding wilt toevoegen</a:t>
            </a:r>
            <a:endParaRPr lang="en-GB"/>
          </a:p>
        </p:txBody>
      </p:sp>
      <p:sp>
        <p:nvSpPr>
          <p:cNvPr id="5" name="Title 1">
            <a:extLst>
              <a:ext uri="{FF2B5EF4-FFF2-40B4-BE49-F238E27FC236}">
                <a16:creationId xmlns:a16="http://schemas.microsoft.com/office/drawing/2014/main" id="{9252B607-7D74-40E4-A439-AF41F3434890}"/>
              </a:ext>
            </a:extLst>
          </p:cNvPr>
          <p:cNvSpPr txBox="1">
            <a:spLocks/>
          </p:cNvSpPr>
          <p:nvPr userDrawn="1"/>
        </p:nvSpPr>
        <p:spPr>
          <a:xfrm>
            <a:off x="444077" y="2600325"/>
            <a:ext cx="6052975"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6" name="Text Placeholder 2">
            <a:extLst>
              <a:ext uri="{FF2B5EF4-FFF2-40B4-BE49-F238E27FC236}">
                <a16:creationId xmlns:a16="http://schemas.microsoft.com/office/drawing/2014/main" id="{055CF4E4-2CAC-4B93-83D1-1F6228442F10}"/>
              </a:ext>
            </a:extLst>
          </p:cNvPr>
          <p:cNvSpPr>
            <a:spLocks noGrp="1"/>
          </p:cNvSpPr>
          <p:nvPr>
            <p:ph type="body" sz="quarter" idx="19" hasCustomPrompt="1"/>
          </p:nvPr>
        </p:nvSpPr>
        <p:spPr>
          <a:xfrm>
            <a:off x="444078" y="3587928"/>
            <a:ext cx="6052974" cy="526872"/>
          </a:xfrm>
          <a:prstGeom prst="rect">
            <a:avLst/>
          </a:prstGeom>
        </p:spPr>
        <p:txBody>
          <a:bodyPr lIns="0" tIns="0" rIns="0" bIns="0"/>
          <a:lstStyle>
            <a:lvl1pPr marL="0" indent="0">
              <a:buNone/>
              <a:defRPr/>
            </a:lvl1pPr>
          </a:lstStyle>
          <a:p>
            <a:pPr lvl="0"/>
            <a:r>
              <a:rPr lang="en-GB"/>
              <a:t>Click to edit sub-heading</a:t>
            </a:r>
          </a:p>
        </p:txBody>
      </p:sp>
    </p:spTree>
    <p:extLst>
      <p:ext uri="{BB962C8B-B14F-4D97-AF65-F5344CB8AC3E}">
        <p14:creationId xmlns:p14="http://schemas.microsoft.com/office/powerpoint/2010/main" val="436374762"/>
      </p:ext>
    </p:extLst>
  </p:cSld>
  <p:clrMapOvr>
    <a:masterClrMapping/>
  </p:clrMapOvr>
  <p:extLst>
    <p:ext uri="{DCECCB84-F9BA-43D5-87BE-67443E8EF086}">
      <p15:sldGuideLst xmlns:p15="http://schemas.microsoft.com/office/powerpoint/2012/main">
        <p15:guide id="1" pos="7680">
          <p15:clr>
            <a:srgbClr val="FBAE40"/>
          </p15:clr>
        </p15:guide>
        <p15:guide id="2" pos="25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250771653"/>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897043236"/>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3633460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67299119"/>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04280862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s + image">
    <p:spTree>
      <p:nvGrpSpPr>
        <p:cNvPr id="1" name=""/>
        <p:cNvGrpSpPr/>
        <p:nvPr/>
      </p:nvGrpSpPr>
      <p:grpSpPr>
        <a:xfrm>
          <a:off x="0" y="0"/>
          <a:ext cx="0" cy="0"/>
          <a:chOff x="0" y="0"/>
          <a:chExt cx="0" cy="0"/>
        </a:xfrm>
      </p:grpSpPr>
      <p:sp>
        <p:nvSpPr>
          <p:cNvPr id="23" name="Tijdelijke aanduiding voor afbeelding 22">
            <a:extLst>
              <a:ext uri="{FF2B5EF4-FFF2-40B4-BE49-F238E27FC236}">
                <a16:creationId xmlns:a16="http://schemas.microsoft.com/office/drawing/2014/main" id="{72B591FD-0FC9-4B7C-BAEA-51AD04D0CA7E}"/>
              </a:ext>
            </a:extLst>
          </p:cNvPr>
          <p:cNvSpPr>
            <a:spLocks noGrp="1"/>
          </p:cNvSpPr>
          <p:nvPr>
            <p:ph type="pic" sz="quarter" idx="12" hasCustomPrompt="1"/>
          </p:nvPr>
        </p:nvSpPr>
        <p:spPr>
          <a:xfrm>
            <a:off x="6114449" y="-21971"/>
            <a:ext cx="6087079" cy="6885758"/>
          </a:xfrm>
          <a:custGeom>
            <a:avLst/>
            <a:gdLst>
              <a:gd name="connsiteX0" fmla="*/ 4561470 w 6087079"/>
              <a:gd name="connsiteY0" fmla="*/ 6511621 h 6885758"/>
              <a:gd name="connsiteX1" fmla="*/ 4566576 w 6087079"/>
              <a:gd name="connsiteY1" fmla="*/ 6524933 h 6885758"/>
              <a:gd name="connsiteX2" fmla="*/ 4921085 w 6087079"/>
              <a:gd name="connsiteY2" fmla="*/ 6524933 h 6885758"/>
              <a:gd name="connsiteX3" fmla="*/ 4921085 w 6087079"/>
              <a:gd name="connsiteY3" fmla="*/ 6511621 h 6885758"/>
              <a:gd name="connsiteX4" fmla="*/ 4493268 w 6087079"/>
              <a:gd name="connsiteY4" fmla="*/ 6378133 h 6885758"/>
              <a:gd name="connsiteX5" fmla="*/ 4474667 w 6087079"/>
              <a:gd name="connsiteY5" fmla="*/ 6436671 h 6885758"/>
              <a:gd name="connsiteX6" fmla="*/ 4512416 w 6087079"/>
              <a:gd name="connsiteY6" fmla="*/ 6437400 h 6885758"/>
              <a:gd name="connsiteX7" fmla="*/ 4818781 w 6087079"/>
              <a:gd name="connsiteY7" fmla="*/ 6365550 h 6885758"/>
              <a:gd name="connsiteX8" fmla="*/ 4827716 w 6087079"/>
              <a:gd name="connsiteY8" fmla="*/ 6367009 h 6885758"/>
              <a:gd name="connsiteX9" fmla="*/ 4835740 w 6087079"/>
              <a:gd name="connsiteY9" fmla="*/ 6369927 h 6885758"/>
              <a:gd name="connsiteX10" fmla="*/ 4841758 w 6087079"/>
              <a:gd name="connsiteY10" fmla="*/ 6374486 h 6885758"/>
              <a:gd name="connsiteX11" fmla="*/ 4847594 w 6087079"/>
              <a:gd name="connsiteY11" fmla="*/ 6380322 h 6885758"/>
              <a:gd name="connsiteX12" fmla="*/ 4852153 w 6087079"/>
              <a:gd name="connsiteY12" fmla="*/ 6387798 h 6885758"/>
              <a:gd name="connsiteX13" fmla="*/ 4855070 w 6087079"/>
              <a:gd name="connsiteY13" fmla="*/ 6395275 h 6885758"/>
              <a:gd name="connsiteX14" fmla="*/ 4856529 w 6087079"/>
              <a:gd name="connsiteY14" fmla="*/ 6404028 h 6885758"/>
              <a:gd name="connsiteX15" fmla="*/ 4857259 w 6087079"/>
              <a:gd name="connsiteY15" fmla="*/ 6412964 h 6885758"/>
              <a:gd name="connsiteX16" fmla="*/ 4856529 w 6087079"/>
              <a:gd name="connsiteY16" fmla="*/ 6421900 h 6885758"/>
              <a:gd name="connsiteX17" fmla="*/ 4855070 w 6087079"/>
              <a:gd name="connsiteY17" fmla="*/ 6430106 h 6885758"/>
              <a:gd name="connsiteX18" fmla="*/ 4852153 w 6087079"/>
              <a:gd name="connsiteY18" fmla="*/ 6437401 h 6885758"/>
              <a:gd name="connsiteX19" fmla="*/ 4847594 w 6087079"/>
              <a:gd name="connsiteY19" fmla="*/ 6444148 h 6885758"/>
              <a:gd name="connsiteX20" fmla="*/ 4842487 w 6087079"/>
              <a:gd name="connsiteY20" fmla="*/ 6450166 h 6885758"/>
              <a:gd name="connsiteX21" fmla="*/ 4835740 w 6087079"/>
              <a:gd name="connsiteY21" fmla="*/ 6454543 h 6885758"/>
              <a:gd name="connsiteX22" fmla="*/ 4827716 w 6087079"/>
              <a:gd name="connsiteY22" fmla="*/ 6457460 h 6885758"/>
              <a:gd name="connsiteX23" fmla="*/ 4818781 w 6087079"/>
              <a:gd name="connsiteY23" fmla="*/ 6458190 h 6885758"/>
              <a:gd name="connsiteX24" fmla="*/ 4814951 w 6087079"/>
              <a:gd name="connsiteY24" fmla="*/ 6458190 h 6885758"/>
              <a:gd name="connsiteX25" fmla="*/ 4812033 w 6087079"/>
              <a:gd name="connsiteY25" fmla="*/ 6457460 h 6885758"/>
              <a:gd name="connsiteX26" fmla="*/ 4809115 w 6087079"/>
              <a:gd name="connsiteY26" fmla="*/ 6456731 h 6885758"/>
              <a:gd name="connsiteX27" fmla="*/ 4806198 w 6087079"/>
              <a:gd name="connsiteY27" fmla="*/ 6456001 h 6885758"/>
              <a:gd name="connsiteX28" fmla="*/ 4803097 w 6087079"/>
              <a:gd name="connsiteY28" fmla="*/ 6454543 h 6885758"/>
              <a:gd name="connsiteX29" fmla="*/ 4800180 w 6087079"/>
              <a:gd name="connsiteY29" fmla="*/ 6452354 h 6885758"/>
              <a:gd name="connsiteX30" fmla="*/ 4797991 w 6087079"/>
              <a:gd name="connsiteY30" fmla="*/ 6450895 h 6885758"/>
              <a:gd name="connsiteX31" fmla="*/ 4795074 w 6087079"/>
              <a:gd name="connsiteY31" fmla="*/ 6448525 h 6885758"/>
              <a:gd name="connsiteX32" fmla="*/ 4791973 w 6087079"/>
              <a:gd name="connsiteY32" fmla="*/ 6445607 h 6885758"/>
              <a:gd name="connsiteX33" fmla="*/ 4789785 w 6087079"/>
              <a:gd name="connsiteY33" fmla="*/ 6441230 h 6885758"/>
              <a:gd name="connsiteX34" fmla="*/ 4787597 w 6087079"/>
              <a:gd name="connsiteY34" fmla="*/ 6437401 h 6885758"/>
              <a:gd name="connsiteX35" fmla="*/ 4786138 w 6087079"/>
              <a:gd name="connsiteY35" fmla="*/ 6433024 h 6885758"/>
              <a:gd name="connsiteX36" fmla="*/ 4784679 w 6087079"/>
              <a:gd name="connsiteY36" fmla="*/ 6428647 h 6885758"/>
              <a:gd name="connsiteX37" fmla="*/ 4783220 w 6087079"/>
              <a:gd name="connsiteY37" fmla="*/ 6424088 h 6885758"/>
              <a:gd name="connsiteX38" fmla="*/ 4783220 w 6087079"/>
              <a:gd name="connsiteY38" fmla="*/ 6418982 h 6885758"/>
              <a:gd name="connsiteX39" fmla="*/ 4782308 w 6087079"/>
              <a:gd name="connsiteY39" fmla="*/ 6413694 h 6885758"/>
              <a:gd name="connsiteX40" fmla="*/ 4783220 w 6087079"/>
              <a:gd name="connsiteY40" fmla="*/ 6404940 h 6885758"/>
              <a:gd name="connsiteX41" fmla="*/ 4784679 w 6087079"/>
              <a:gd name="connsiteY41" fmla="*/ 6396734 h 6885758"/>
              <a:gd name="connsiteX42" fmla="*/ 4786867 w 6087079"/>
              <a:gd name="connsiteY42" fmla="*/ 6388528 h 6885758"/>
              <a:gd name="connsiteX43" fmla="*/ 4790515 w 6087079"/>
              <a:gd name="connsiteY43" fmla="*/ 6381051 h 6885758"/>
              <a:gd name="connsiteX44" fmla="*/ 4795803 w 6087079"/>
              <a:gd name="connsiteY44" fmla="*/ 6374486 h 6885758"/>
              <a:gd name="connsiteX45" fmla="*/ 4802368 w 6087079"/>
              <a:gd name="connsiteY45" fmla="*/ 6369927 h 6885758"/>
              <a:gd name="connsiteX46" fmla="*/ 4809845 w 6087079"/>
              <a:gd name="connsiteY46" fmla="*/ 6367009 h 6885758"/>
              <a:gd name="connsiteX47" fmla="*/ 4898107 w 6087079"/>
              <a:gd name="connsiteY47" fmla="*/ 6347861 h 6885758"/>
              <a:gd name="connsiteX48" fmla="*/ 4898107 w 6087079"/>
              <a:gd name="connsiteY48" fmla="*/ 6478249 h 6885758"/>
              <a:gd name="connsiteX49" fmla="*/ 4921814 w 6087079"/>
              <a:gd name="connsiteY49" fmla="*/ 6478249 h 6885758"/>
              <a:gd name="connsiteX50" fmla="*/ 4921814 w 6087079"/>
              <a:gd name="connsiteY50" fmla="*/ 6389987 h 6885758"/>
              <a:gd name="connsiteX51" fmla="*/ 4977434 w 6087079"/>
              <a:gd name="connsiteY51" fmla="*/ 6478249 h 6885758"/>
              <a:gd name="connsiteX52" fmla="*/ 5001141 w 6087079"/>
              <a:gd name="connsiteY52" fmla="*/ 6478249 h 6885758"/>
              <a:gd name="connsiteX53" fmla="*/ 5001141 w 6087079"/>
              <a:gd name="connsiteY53" fmla="*/ 6347861 h 6885758"/>
              <a:gd name="connsiteX54" fmla="*/ 4977434 w 6087079"/>
              <a:gd name="connsiteY54" fmla="*/ 6347861 h 6885758"/>
              <a:gd name="connsiteX55" fmla="*/ 4977434 w 6087079"/>
              <a:gd name="connsiteY55" fmla="*/ 6434483 h 6885758"/>
              <a:gd name="connsiteX56" fmla="*/ 4921814 w 6087079"/>
              <a:gd name="connsiteY56" fmla="*/ 6347861 h 6885758"/>
              <a:gd name="connsiteX57" fmla="*/ 4528828 w 6087079"/>
              <a:gd name="connsiteY57" fmla="*/ 6347861 h 6885758"/>
              <a:gd name="connsiteX58" fmla="*/ 4528828 w 6087079"/>
              <a:gd name="connsiteY58" fmla="*/ 6408587 h 6885758"/>
              <a:gd name="connsiteX59" fmla="*/ 4551805 w 6087079"/>
              <a:gd name="connsiteY59" fmla="*/ 6478978 h 6885758"/>
              <a:gd name="connsiteX60" fmla="*/ 4625114 w 6087079"/>
              <a:gd name="connsiteY60" fmla="*/ 6478978 h 6885758"/>
              <a:gd name="connsiteX61" fmla="*/ 4625114 w 6087079"/>
              <a:gd name="connsiteY61" fmla="*/ 6456001 h 6885758"/>
              <a:gd name="connsiteX62" fmla="*/ 4551805 w 6087079"/>
              <a:gd name="connsiteY62" fmla="*/ 6456001 h 6885758"/>
              <a:gd name="connsiteX63" fmla="*/ 4551805 w 6087079"/>
              <a:gd name="connsiteY63" fmla="*/ 6419711 h 6885758"/>
              <a:gd name="connsiteX64" fmla="*/ 4603596 w 6087079"/>
              <a:gd name="connsiteY64" fmla="*/ 6419711 h 6885758"/>
              <a:gd name="connsiteX65" fmla="*/ 4603596 w 6087079"/>
              <a:gd name="connsiteY65" fmla="*/ 6397463 h 6885758"/>
              <a:gd name="connsiteX66" fmla="*/ 4551805 w 6087079"/>
              <a:gd name="connsiteY66" fmla="*/ 6397463 h 6885758"/>
              <a:gd name="connsiteX67" fmla="*/ 4551805 w 6087079"/>
              <a:gd name="connsiteY67" fmla="*/ 6369197 h 6885758"/>
              <a:gd name="connsiteX68" fmla="*/ 4620737 w 6087079"/>
              <a:gd name="connsiteY68" fmla="*/ 6369197 h 6885758"/>
              <a:gd name="connsiteX69" fmla="*/ 4620737 w 6087079"/>
              <a:gd name="connsiteY69" fmla="*/ 6347861 h 6885758"/>
              <a:gd name="connsiteX70" fmla="*/ 4688210 w 6087079"/>
              <a:gd name="connsiteY70" fmla="*/ 6344031 h 6885758"/>
              <a:gd name="connsiteX71" fmla="*/ 4677086 w 6087079"/>
              <a:gd name="connsiteY71" fmla="*/ 6345490 h 6885758"/>
              <a:gd name="connsiteX72" fmla="*/ 4666692 w 6087079"/>
              <a:gd name="connsiteY72" fmla="*/ 6348590 h 6885758"/>
              <a:gd name="connsiteX73" fmla="*/ 4656297 w 6087079"/>
              <a:gd name="connsiteY73" fmla="*/ 6353696 h 6885758"/>
              <a:gd name="connsiteX74" fmla="*/ 4646632 w 6087079"/>
              <a:gd name="connsiteY74" fmla="*/ 6360444 h 6885758"/>
              <a:gd name="connsiteX75" fmla="*/ 4638608 w 6087079"/>
              <a:gd name="connsiteY75" fmla="*/ 6370838 h 6885758"/>
              <a:gd name="connsiteX76" fmla="*/ 4631861 w 6087079"/>
              <a:gd name="connsiteY76" fmla="*/ 6382692 h 6885758"/>
              <a:gd name="connsiteX77" fmla="*/ 4628214 w 6087079"/>
              <a:gd name="connsiteY77" fmla="*/ 6397463 h 6885758"/>
              <a:gd name="connsiteX78" fmla="*/ 4626755 w 6087079"/>
              <a:gd name="connsiteY78" fmla="*/ 6414423 h 6885758"/>
              <a:gd name="connsiteX79" fmla="*/ 4628214 w 6087079"/>
              <a:gd name="connsiteY79" fmla="*/ 6431565 h 6885758"/>
              <a:gd name="connsiteX80" fmla="*/ 4632591 w 6087079"/>
              <a:gd name="connsiteY80" fmla="*/ 6446336 h 6885758"/>
              <a:gd name="connsiteX81" fmla="*/ 4639338 w 6087079"/>
              <a:gd name="connsiteY81" fmla="*/ 6457460 h 6885758"/>
              <a:gd name="connsiteX82" fmla="*/ 4647362 w 6087079"/>
              <a:gd name="connsiteY82" fmla="*/ 6467125 h 6885758"/>
              <a:gd name="connsiteX83" fmla="*/ 4657027 w 6087079"/>
              <a:gd name="connsiteY83" fmla="*/ 6473872 h 6885758"/>
              <a:gd name="connsiteX84" fmla="*/ 4666692 w 6087079"/>
              <a:gd name="connsiteY84" fmla="*/ 6478249 h 6885758"/>
              <a:gd name="connsiteX85" fmla="*/ 4677816 w 6087079"/>
              <a:gd name="connsiteY85" fmla="*/ 6481167 h 6885758"/>
              <a:gd name="connsiteX86" fmla="*/ 4688210 w 6087079"/>
              <a:gd name="connsiteY86" fmla="*/ 6481896 h 6885758"/>
              <a:gd name="connsiteX87" fmla="*/ 4697146 w 6087079"/>
              <a:gd name="connsiteY87" fmla="*/ 6481167 h 6885758"/>
              <a:gd name="connsiteX88" fmla="*/ 4704623 w 6087079"/>
              <a:gd name="connsiteY88" fmla="*/ 6479708 h 6885758"/>
              <a:gd name="connsiteX89" fmla="*/ 4710458 w 6087079"/>
              <a:gd name="connsiteY89" fmla="*/ 6477520 h 6885758"/>
              <a:gd name="connsiteX90" fmla="*/ 4714835 w 6087079"/>
              <a:gd name="connsiteY90" fmla="*/ 6474602 h 6885758"/>
              <a:gd name="connsiteX91" fmla="*/ 4717935 w 6087079"/>
              <a:gd name="connsiteY91" fmla="*/ 6471502 h 6885758"/>
              <a:gd name="connsiteX92" fmla="*/ 4720853 w 6087079"/>
              <a:gd name="connsiteY92" fmla="*/ 6469313 h 6885758"/>
              <a:gd name="connsiteX93" fmla="*/ 4721582 w 6087079"/>
              <a:gd name="connsiteY93" fmla="*/ 6467854 h 6885758"/>
              <a:gd name="connsiteX94" fmla="*/ 4721582 w 6087079"/>
              <a:gd name="connsiteY94" fmla="*/ 6478978 h 6885758"/>
              <a:gd name="connsiteX95" fmla="*/ 4742371 w 6087079"/>
              <a:gd name="connsiteY95" fmla="*/ 6478978 h 6885758"/>
              <a:gd name="connsiteX96" fmla="*/ 4742371 w 6087079"/>
              <a:gd name="connsiteY96" fmla="*/ 6407128 h 6885758"/>
              <a:gd name="connsiteX97" fmla="*/ 4688940 w 6087079"/>
              <a:gd name="connsiteY97" fmla="*/ 6407128 h 6885758"/>
              <a:gd name="connsiteX98" fmla="*/ 4688940 w 6087079"/>
              <a:gd name="connsiteY98" fmla="*/ 6429376 h 6885758"/>
              <a:gd name="connsiteX99" fmla="*/ 4720853 w 6087079"/>
              <a:gd name="connsiteY99" fmla="*/ 6429376 h 6885758"/>
              <a:gd name="connsiteX100" fmla="*/ 4720123 w 6087079"/>
              <a:gd name="connsiteY100" fmla="*/ 6435212 h 6885758"/>
              <a:gd name="connsiteX101" fmla="*/ 4718664 w 6087079"/>
              <a:gd name="connsiteY101" fmla="*/ 6440500 h 6885758"/>
              <a:gd name="connsiteX102" fmla="*/ 4715746 w 6087079"/>
              <a:gd name="connsiteY102" fmla="*/ 6445606 h 6885758"/>
              <a:gd name="connsiteX103" fmla="*/ 4711917 w 6087079"/>
              <a:gd name="connsiteY103" fmla="*/ 6450165 h 6885758"/>
              <a:gd name="connsiteX104" fmla="*/ 4707540 w 6087079"/>
              <a:gd name="connsiteY104" fmla="*/ 6453813 h 6885758"/>
              <a:gd name="connsiteX105" fmla="*/ 4702252 w 6087079"/>
              <a:gd name="connsiteY105" fmla="*/ 6456001 h 6885758"/>
              <a:gd name="connsiteX106" fmla="*/ 4695687 w 6087079"/>
              <a:gd name="connsiteY106" fmla="*/ 6458189 h 6885758"/>
              <a:gd name="connsiteX107" fmla="*/ 4688940 w 6087079"/>
              <a:gd name="connsiteY107" fmla="*/ 6458919 h 6885758"/>
              <a:gd name="connsiteX108" fmla="*/ 4681463 w 6087079"/>
              <a:gd name="connsiteY108" fmla="*/ 6458189 h 6885758"/>
              <a:gd name="connsiteX109" fmla="*/ 4674898 w 6087079"/>
              <a:gd name="connsiteY109" fmla="*/ 6456001 h 6885758"/>
              <a:gd name="connsiteX110" fmla="*/ 4668880 w 6087079"/>
              <a:gd name="connsiteY110" fmla="*/ 6453083 h 6885758"/>
              <a:gd name="connsiteX111" fmla="*/ 4663045 w 6087079"/>
              <a:gd name="connsiteY111" fmla="*/ 6447795 h 6885758"/>
              <a:gd name="connsiteX112" fmla="*/ 4658486 w 6087079"/>
              <a:gd name="connsiteY112" fmla="*/ 6441959 h 6885758"/>
              <a:gd name="connsiteX113" fmla="*/ 4654838 w 6087079"/>
              <a:gd name="connsiteY113" fmla="*/ 6434482 h 6885758"/>
              <a:gd name="connsiteX114" fmla="*/ 4652650 w 6087079"/>
              <a:gd name="connsiteY114" fmla="*/ 6424817 h 6885758"/>
              <a:gd name="connsiteX115" fmla="*/ 4651921 w 6087079"/>
              <a:gd name="connsiteY115" fmla="*/ 6414423 h 6885758"/>
              <a:gd name="connsiteX116" fmla="*/ 4652650 w 6087079"/>
              <a:gd name="connsiteY116" fmla="*/ 6404028 h 6885758"/>
              <a:gd name="connsiteX117" fmla="*/ 4654109 w 6087079"/>
              <a:gd name="connsiteY117" fmla="*/ 6394545 h 6885758"/>
              <a:gd name="connsiteX118" fmla="*/ 4657027 w 6087079"/>
              <a:gd name="connsiteY118" fmla="*/ 6386339 h 6885758"/>
              <a:gd name="connsiteX119" fmla="*/ 4661586 w 6087079"/>
              <a:gd name="connsiteY119" fmla="*/ 6379592 h 6885758"/>
              <a:gd name="connsiteX120" fmla="*/ 4666692 w 6087079"/>
              <a:gd name="connsiteY120" fmla="*/ 6374486 h 6885758"/>
              <a:gd name="connsiteX121" fmla="*/ 4673439 w 6087079"/>
              <a:gd name="connsiteY121" fmla="*/ 6369927 h 6885758"/>
              <a:gd name="connsiteX122" fmla="*/ 4680733 w 6087079"/>
              <a:gd name="connsiteY122" fmla="*/ 6367009 h 6885758"/>
              <a:gd name="connsiteX123" fmla="*/ 4688940 w 6087079"/>
              <a:gd name="connsiteY123" fmla="*/ 6367009 h 6885758"/>
              <a:gd name="connsiteX124" fmla="*/ 4697146 w 6087079"/>
              <a:gd name="connsiteY124" fmla="*/ 6367738 h 6885758"/>
              <a:gd name="connsiteX125" fmla="*/ 4703711 w 6087079"/>
              <a:gd name="connsiteY125" fmla="*/ 6370838 h 6885758"/>
              <a:gd name="connsiteX126" fmla="*/ 4708999 w 6087079"/>
              <a:gd name="connsiteY126" fmla="*/ 6374486 h 6885758"/>
              <a:gd name="connsiteX127" fmla="*/ 4713376 w 6087079"/>
              <a:gd name="connsiteY127" fmla="*/ 6378862 h 6885758"/>
              <a:gd name="connsiteX128" fmla="*/ 4717205 w 6087079"/>
              <a:gd name="connsiteY128" fmla="*/ 6383421 h 6885758"/>
              <a:gd name="connsiteX129" fmla="*/ 4718664 w 6087079"/>
              <a:gd name="connsiteY129" fmla="*/ 6387068 h 6885758"/>
              <a:gd name="connsiteX130" fmla="*/ 4720123 w 6087079"/>
              <a:gd name="connsiteY130" fmla="*/ 6389986 h 6885758"/>
              <a:gd name="connsiteX131" fmla="*/ 4720853 w 6087079"/>
              <a:gd name="connsiteY131" fmla="*/ 6391445 h 6885758"/>
              <a:gd name="connsiteX132" fmla="*/ 4741642 w 6087079"/>
              <a:gd name="connsiteY132" fmla="*/ 6380321 h 6885758"/>
              <a:gd name="connsiteX133" fmla="*/ 4738724 w 6087079"/>
              <a:gd name="connsiteY133" fmla="*/ 6373027 h 6885758"/>
              <a:gd name="connsiteX134" fmla="*/ 4734165 w 6087079"/>
              <a:gd name="connsiteY134" fmla="*/ 6366279 h 6885758"/>
              <a:gd name="connsiteX135" fmla="*/ 4728329 w 6087079"/>
              <a:gd name="connsiteY135" fmla="*/ 6360444 h 6885758"/>
              <a:gd name="connsiteX136" fmla="*/ 4721582 w 6087079"/>
              <a:gd name="connsiteY136" fmla="*/ 6354426 h 6885758"/>
              <a:gd name="connsiteX137" fmla="*/ 4714105 w 6087079"/>
              <a:gd name="connsiteY137" fmla="*/ 6350779 h 6885758"/>
              <a:gd name="connsiteX138" fmla="*/ 4706081 w 6087079"/>
              <a:gd name="connsiteY138" fmla="*/ 6346949 h 6885758"/>
              <a:gd name="connsiteX139" fmla="*/ 4697146 w 6087079"/>
              <a:gd name="connsiteY139" fmla="*/ 6344761 h 6885758"/>
              <a:gd name="connsiteX140" fmla="*/ 4819510 w 6087079"/>
              <a:gd name="connsiteY140" fmla="*/ 6343302 h 6885758"/>
              <a:gd name="connsiteX141" fmla="*/ 4807657 w 6087079"/>
              <a:gd name="connsiteY141" fmla="*/ 6344032 h 6885758"/>
              <a:gd name="connsiteX142" fmla="*/ 4795803 w 6087079"/>
              <a:gd name="connsiteY142" fmla="*/ 6347861 h 6885758"/>
              <a:gd name="connsiteX143" fmla="*/ 4785408 w 6087079"/>
              <a:gd name="connsiteY143" fmla="*/ 6352967 h 6885758"/>
              <a:gd name="connsiteX144" fmla="*/ 4775743 w 6087079"/>
              <a:gd name="connsiteY144" fmla="*/ 6360444 h 6885758"/>
              <a:gd name="connsiteX145" fmla="*/ 4768267 w 6087079"/>
              <a:gd name="connsiteY145" fmla="*/ 6370839 h 6885758"/>
              <a:gd name="connsiteX146" fmla="*/ 4762431 w 6087079"/>
              <a:gd name="connsiteY146" fmla="*/ 6382692 h 6885758"/>
              <a:gd name="connsiteX147" fmla="*/ 4758601 w 6087079"/>
              <a:gd name="connsiteY147" fmla="*/ 6396734 h 6885758"/>
              <a:gd name="connsiteX148" fmla="*/ 4757872 w 6087079"/>
              <a:gd name="connsiteY148" fmla="*/ 6412964 h 6885758"/>
              <a:gd name="connsiteX149" fmla="*/ 4757872 w 6087079"/>
              <a:gd name="connsiteY149" fmla="*/ 6423359 h 6885758"/>
              <a:gd name="connsiteX150" fmla="*/ 4759331 w 6087079"/>
              <a:gd name="connsiteY150" fmla="*/ 6432294 h 6885758"/>
              <a:gd name="connsiteX151" fmla="*/ 4761702 w 6087079"/>
              <a:gd name="connsiteY151" fmla="*/ 6441230 h 6885758"/>
              <a:gd name="connsiteX152" fmla="*/ 4765349 w 6087079"/>
              <a:gd name="connsiteY152" fmla="*/ 6448525 h 6885758"/>
              <a:gd name="connsiteX153" fmla="*/ 4768996 w 6087079"/>
              <a:gd name="connsiteY153" fmla="*/ 6455272 h 6885758"/>
              <a:gd name="connsiteX154" fmla="*/ 4774284 w 6087079"/>
              <a:gd name="connsiteY154" fmla="*/ 6462019 h 6885758"/>
              <a:gd name="connsiteX155" fmla="*/ 4779391 w 6087079"/>
              <a:gd name="connsiteY155" fmla="*/ 6467125 h 6885758"/>
              <a:gd name="connsiteX156" fmla="*/ 4785408 w 6087079"/>
              <a:gd name="connsiteY156" fmla="*/ 6471502 h 6885758"/>
              <a:gd name="connsiteX157" fmla="*/ 4789056 w 6087079"/>
              <a:gd name="connsiteY157" fmla="*/ 6473873 h 6885758"/>
              <a:gd name="connsiteX158" fmla="*/ 4792703 w 6087079"/>
              <a:gd name="connsiteY158" fmla="*/ 6475332 h 6885758"/>
              <a:gd name="connsiteX159" fmla="*/ 4797262 w 6087079"/>
              <a:gd name="connsiteY159" fmla="*/ 6477520 h 6885758"/>
              <a:gd name="connsiteX160" fmla="*/ 4801639 w 6087079"/>
              <a:gd name="connsiteY160" fmla="*/ 6478979 h 6885758"/>
              <a:gd name="connsiteX161" fmla="*/ 4806198 w 6087079"/>
              <a:gd name="connsiteY161" fmla="*/ 6479708 h 6885758"/>
              <a:gd name="connsiteX162" fmla="*/ 4810574 w 6087079"/>
              <a:gd name="connsiteY162" fmla="*/ 6480438 h 6885758"/>
              <a:gd name="connsiteX163" fmla="*/ 4814951 w 6087079"/>
              <a:gd name="connsiteY163" fmla="*/ 6481167 h 6885758"/>
              <a:gd name="connsiteX164" fmla="*/ 4819510 w 6087079"/>
              <a:gd name="connsiteY164" fmla="*/ 6481167 h 6885758"/>
              <a:gd name="connsiteX165" fmla="*/ 4832822 w 6087079"/>
              <a:gd name="connsiteY165" fmla="*/ 6479708 h 6885758"/>
              <a:gd name="connsiteX166" fmla="*/ 4845405 w 6087079"/>
              <a:gd name="connsiteY166" fmla="*/ 6476061 h 6885758"/>
              <a:gd name="connsiteX167" fmla="*/ 4855800 w 6087079"/>
              <a:gd name="connsiteY167" fmla="*/ 6470043 h 6885758"/>
              <a:gd name="connsiteX168" fmla="*/ 4864735 w 6087079"/>
              <a:gd name="connsiteY168" fmla="*/ 6462019 h 6885758"/>
              <a:gd name="connsiteX169" fmla="*/ 4872030 w 6087079"/>
              <a:gd name="connsiteY169" fmla="*/ 6452354 h 6885758"/>
              <a:gd name="connsiteX170" fmla="*/ 4878048 w 6087079"/>
              <a:gd name="connsiteY170" fmla="*/ 6441230 h 6885758"/>
              <a:gd name="connsiteX171" fmla="*/ 4880966 w 6087079"/>
              <a:gd name="connsiteY171" fmla="*/ 6427918 h 6885758"/>
              <a:gd name="connsiteX172" fmla="*/ 4881695 w 6087079"/>
              <a:gd name="connsiteY172" fmla="*/ 6412964 h 6885758"/>
              <a:gd name="connsiteX173" fmla="*/ 4880236 w 6087079"/>
              <a:gd name="connsiteY173" fmla="*/ 6396005 h 6885758"/>
              <a:gd name="connsiteX174" fmla="*/ 4875859 w 6087079"/>
              <a:gd name="connsiteY174" fmla="*/ 6381051 h 6885758"/>
              <a:gd name="connsiteX175" fmla="*/ 4869842 w 6087079"/>
              <a:gd name="connsiteY175" fmla="*/ 6369198 h 6885758"/>
              <a:gd name="connsiteX176" fmla="*/ 4860906 w 6087079"/>
              <a:gd name="connsiteY176" fmla="*/ 6359715 h 6885758"/>
              <a:gd name="connsiteX177" fmla="*/ 4852153 w 6087079"/>
              <a:gd name="connsiteY177" fmla="*/ 6352238 h 6885758"/>
              <a:gd name="connsiteX178" fmla="*/ 4841029 w 6087079"/>
              <a:gd name="connsiteY178" fmla="*/ 6346949 h 6885758"/>
              <a:gd name="connsiteX179" fmla="*/ 4829905 w 6087079"/>
              <a:gd name="connsiteY179" fmla="*/ 6344032 h 6885758"/>
              <a:gd name="connsiteX180" fmla="*/ 4494726 w 6087079"/>
              <a:gd name="connsiteY180" fmla="*/ 6308471 h 6885758"/>
              <a:gd name="connsiteX181" fmla="*/ 4307807 w 6087079"/>
              <a:gd name="connsiteY181" fmla="*/ 6369927 h 6885758"/>
              <a:gd name="connsiteX182" fmla="*/ 4369445 w 6087079"/>
              <a:gd name="connsiteY182" fmla="*/ 6558305 h 6885758"/>
              <a:gd name="connsiteX183" fmla="*/ 4533934 w 6087079"/>
              <a:gd name="connsiteY183" fmla="*/ 6504144 h 6885758"/>
              <a:gd name="connsiteX184" fmla="*/ 4519892 w 6087079"/>
              <a:gd name="connsiteY184" fmla="*/ 6458919 h 6885758"/>
              <a:gd name="connsiteX185" fmla="*/ 4467920 w 6087079"/>
              <a:gd name="connsiteY185" fmla="*/ 6458919 h 6885758"/>
              <a:gd name="connsiteX186" fmla="*/ 4462084 w 6087079"/>
              <a:gd name="connsiteY186" fmla="*/ 6479708 h 6885758"/>
              <a:gd name="connsiteX187" fmla="*/ 4435277 w 6087079"/>
              <a:gd name="connsiteY187" fmla="*/ 6479708 h 6885758"/>
              <a:gd name="connsiteX188" fmla="*/ 4479773 w 6087079"/>
              <a:gd name="connsiteY188" fmla="*/ 6346220 h 6885758"/>
              <a:gd name="connsiteX189" fmla="*/ 4507309 w 6087079"/>
              <a:gd name="connsiteY189" fmla="*/ 6346220 h 6885758"/>
              <a:gd name="connsiteX190" fmla="*/ 2353342 w 6087079"/>
              <a:gd name="connsiteY190" fmla="*/ 0 h 6885758"/>
              <a:gd name="connsiteX191" fmla="*/ 6077554 w 6087079"/>
              <a:gd name="connsiteY191" fmla="*/ 10395 h 6885758"/>
              <a:gd name="connsiteX192" fmla="*/ 6087079 w 6087079"/>
              <a:gd name="connsiteY192" fmla="*/ 4007761 h 6885758"/>
              <a:gd name="connsiteX193" fmla="*/ 5101422 w 6087079"/>
              <a:gd name="connsiteY193" fmla="*/ 6885758 h 6885758"/>
              <a:gd name="connsiteX194" fmla="*/ 0 w 6087079"/>
              <a:gd name="connsiteY194" fmla="*/ 6879986 h 68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6087079" h="6885758">
                <a:moveTo>
                  <a:pt x="4561470" y="6511621"/>
                </a:moveTo>
                <a:lnTo>
                  <a:pt x="4566576" y="6524933"/>
                </a:lnTo>
                <a:lnTo>
                  <a:pt x="4921085" y="6524933"/>
                </a:lnTo>
                <a:lnTo>
                  <a:pt x="4921085" y="6511621"/>
                </a:lnTo>
                <a:close/>
                <a:moveTo>
                  <a:pt x="4493268" y="6378133"/>
                </a:moveTo>
                <a:lnTo>
                  <a:pt x="4474667" y="6436671"/>
                </a:lnTo>
                <a:lnTo>
                  <a:pt x="4512416" y="6437400"/>
                </a:lnTo>
                <a:close/>
                <a:moveTo>
                  <a:pt x="4818781" y="6365550"/>
                </a:moveTo>
                <a:lnTo>
                  <a:pt x="4827716" y="6367009"/>
                </a:lnTo>
                <a:lnTo>
                  <a:pt x="4835740" y="6369927"/>
                </a:lnTo>
                <a:lnTo>
                  <a:pt x="4841758" y="6374486"/>
                </a:lnTo>
                <a:lnTo>
                  <a:pt x="4847594" y="6380322"/>
                </a:lnTo>
                <a:lnTo>
                  <a:pt x="4852153" y="6387798"/>
                </a:lnTo>
                <a:lnTo>
                  <a:pt x="4855070" y="6395275"/>
                </a:lnTo>
                <a:lnTo>
                  <a:pt x="4856529" y="6404028"/>
                </a:lnTo>
                <a:lnTo>
                  <a:pt x="4857259" y="6412964"/>
                </a:lnTo>
                <a:lnTo>
                  <a:pt x="4856529" y="6421900"/>
                </a:lnTo>
                <a:lnTo>
                  <a:pt x="4855070" y="6430106"/>
                </a:lnTo>
                <a:lnTo>
                  <a:pt x="4852153" y="6437401"/>
                </a:lnTo>
                <a:lnTo>
                  <a:pt x="4847594" y="6444148"/>
                </a:lnTo>
                <a:lnTo>
                  <a:pt x="4842487" y="6450166"/>
                </a:lnTo>
                <a:lnTo>
                  <a:pt x="4835740" y="6454543"/>
                </a:lnTo>
                <a:lnTo>
                  <a:pt x="4827716" y="6457460"/>
                </a:lnTo>
                <a:lnTo>
                  <a:pt x="4818781" y="6458190"/>
                </a:lnTo>
                <a:lnTo>
                  <a:pt x="4814951" y="6458190"/>
                </a:lnTo>
                <a:lnTo>
                  <a:pt x="4812033" y="6457460"/>
                </a:lnTo>
                <a:lnTo>
                  <a:pt x="4809115" y="6456731"/>
                </a:lnTo>
                <a:lnTo>
                  <a:pt x="4806198" y="6456001"/>
                </a:lnTo>
                <a:lnTo>
                  <a:pt x="4803097" y="6454543"/>
                </a:lnTo>
                <a:lnTo>
                  <a:pt x="4800180" y="6452354"/>
                </a:lnTo>
                <a:lnTo>
                  <a:pt x="4797991" y="6450895"/>
                </a:lnTo>
                <a:lnTo>
                  <a:pt x="4795074" y="6448525"/>
                </a:lnTo>
                <a:lnTo>
                  <a:pt x="4791973" y="6445607"/>
                </a:lnTo>
                <a:lnTo>
                  <a:pt x="4789785" y="6441230"/>
                </a:lnTo>
                <a:lnTo>
                  <a:pt x="4787597" y="6437401"/>
                </a:lnTo>
                <a:lnTo>
                  <a:pt x="4786138" y="6433024"/>
                </a:lnTo>
                <a:lnTo>
                  <a:pt x="4784679" y="6428647"/>
                </a:lnTo>
                <a:lnTo>
                  <a:pt x="4783220" y="6424088"/>
                </a:lnTo>
                <a:lnTo>
                  <a:pt x="4783220" y="6418982"/>
                </a:lnTo>
                <a:lnTo>
                  <a:pt x="4782308" y="6413694"/>
                </a:lnTo>
                <a:lnTo>
                  <a:pt x="4783220" y="6404940"/>
                </a:lnTo>
                <a:lnTo>
                  <a:pt x="4784679" y="6396734"/>
                </a:lnTo>
                <a:lnTo>
                  <a:pt x="4786867" y="6388528"/>
                </a:lnTo>
                <a:lnTo>
                  <a:pt x="4790515" y="6381051"/>
                </a:lnTo>
                <a:lnTo>
                  <a:pt x="4795803" y="6374486"/>
                </a:lnTo>
                <a:lnTo>
                  <a:pt x="4802368" y="6369927"/>
                </a:lnTo>
                <a:lnTo>
                  <a:pt x="4809845" y="6367009"/>
                </a:lnTo>
                <a:close/>
                <a:moveTo>
                  <a:pt x="4898107" y="6347861"/>
                </a:moveTo>
                <a:lnTo>
                  <a:pt x="4898107" y="6478249"/>
                </a:lnTo>
                <a:lnTo>
                  <a:pt x="4921814" y="6478249"/>
                </a:lnTo>
                <a:lnTo>
                  <a:pt x="4921814" y="6389987"/>
                </a:lnTo>
                <a:lnTo>
                  <a:pt x="4977434" y="6478249"/>
                </a:lnTo>
                <a:lnTo>
                  <a:pt x="5001141" y="6478249"/>
                </a:lnTo>
                <a:lnTo>
                  <a:pt x="5001141" y="6347861"/>
                </a:lnTo>
                <a:lnTo>
                  <a:pt x="4977434" y="6347861"/>
                </a:lnTo>
                <a:lnTo>
                  <a:pt x="4977434" y="6434483"/>
                </a:lnTo>
                <a:lnTo>
                  <a:pt x="4921814" y="6347861"/>
                </a:lnTo>
                <a:close/>
                <a:moveTo>
                  <a:pt x="4528828" y="6347861"/>
                </a:moveTo>
                <a:lnTo>
                  <a:pt x="4528828" y="6408587"/>
                </a:lnTo>
                <a:lnTo>
                  <a:pt x="4551805" y="6478978"/>
                </a:lnTo>
                <a:lnTo>
                  <a:pt x="4625114" y="6478978"/>
                </a:lnTo>
                <a:lnTo>
                  <a:pt x="4625114" y="6456001"/>
                </a:lnTo>
                <a:lnTo>
                  <a:pt x="4551805" y="6456001"/>
                </a:lnTo>
                <a:lnTo>
                  <a:pt x="4551805" y="6419711"/>
                </a:lnTo>
                <a:lnTo>
                  <a:pt x="4603596" y="6419711"/>
                </a:lnTo>
                <a:lnTo>
                  <a:pt x="4603596" y="6397463"/>
                </a:lnTo>
                <a:lnTo>
                  <a:pt x="4551805" y="6397463"/>
                </a:lnTo>
                <a:lnTo>
                  <a:pt x="4551805" y="6369197"/>
                </a:lnTo>
                <a:lnTo>
                  <a:pt x="4620737" y="6369197"/>
                </a:lnTo>
                <a:lnTo>
                  <a:pt x="4620737" y="6347861"/>
                </a:lnTo>
                <a:close/>
                <a:moveTo>
                  <a:pt x="4688210" y="6344031"/>
                </a:moveTo>
                <a:lnTo>
                  <a:pt x="4677086" y="6345490"/>
                </a:lnTo>
                <a:lnTo>
                  <a:pt x="4666692" y="6348590"/>
                </a:lnTo>
                <a:lnTo>
                  <a:pt x="4656297" y="6353696"/>
                </a:lnTo>
                <a:lnTo>
                  <a:pt x="4646632" y="6360444"/>
                </a:lnTo>
                <a:lnTo>
                  <a:pt x="4638608" y="6370838"/>
                </a:lnTo>
                <a:lnTo>
                  <a:pt x="4631861" y="6382692"/>
                </a:lnTo>
                <a:lnTo>
                  <a:pt x="4628214" y="6397463"/>
                </a:lnTo>
                <a:lnTo>
                  <a:pt x="4626755" y="6414423"/>
                </a:lnTo>
                <a:lnTo>
                  <a:pt x="4628214" y="6431565"/>
                </a:lnTo>
                <a:lnTo>
                  <a:pt x="4632591" y="6446336"/>
                </a:lnTo>
                <a:lnTo>
                  <a:pt x="4639338" y="6457460"/>
                </a:lnTo>
                <a:lnTo>
                  <a:pt x="4647362" y="6467125"/>
                </a:lnTo>
                <a:lnTo>
                  <a:pt x="4657027" y="6473872"/>
                </a:lnTo>
                <a:lnTo>
                  <a:pt x="4666692" y="6478249"/>
                </a:lnTo>
                <a:lnTo>
                  <a:pt x="4677816" y="6481167"/>
                </a:lnTo>
                <a:lnTo>
                  <a:pt x="4688210" y="6481896"/>
                </a:lnTo>
                <a:lnTo>
                  <a:pt x="4697146" y="6481167"/>
                </a:lnTo>
                <a:lnTo>
                  <a:pt x="4704623" y="6479708"/>
                </a:lnTo>
                <a:lnTo>
                  <a:pt x="4710458" y="6477520"/>
                </a:lnTo>
                <a:lnTo>
                  <a:pt x="4714835" y="6474602"/>
                </a:lnTo>
                <a:lnTo>
                  <a:pt x="4717935" y="6471502"/>
                </a:lnTo>
                <a:lnTo>
                  <a:pt x="4720853" y="6469313"/>
                </a:lnTo>
                <a:lnTo>
                  <a:pt x="4721582" y="6467854"/>
                </a:lnTo>
                <a:lnTo>
                  <a:pt x="4721582" y="6478978"/>
                </a:lnTo>
                <a:lnTo>
                  <a:pt x="4742371" y="6478978"/>
                </a:lnTo>
                <a:lnTo>
                  <a:pt x="4742371" y="6407128"/>
                </a:lnTo>
                <a:lnTo>
                  <a:pt x="4688940" y="6407128"/>
                </a:lnTo>
                <a:lnTo>
                  <a:pt x="4688940" y="6429376"/>
                </a:lnTo>
                <a:lnTo>
                  <a:pt x="4720853" y="6429376"/>
                </a:lnTo>
                <a:lnTo>
                  <a:pt x="4720123" y="6435212"/>
                </a:lnTo>
                <a:lnTo>
                  <a:pt x="4718664" y="6440500"/>
                </a:lnTo>
                <a:lnTo>
                  <a:pt x="4715746" y="6445606"/>
                </a:lnTo>
                <a:lnTo>
                  <a:pt x="4711917" y="6450165"/>
                </a:lnTo>
                <a:lnTo>
                  <a:pt x="4707540" y="6453813"/>
                </a:lnTo>
                <a:lnTo>
                  <a:pt x="4702252" y="6456001"/>
                </a:lnTo>
                <a:lnTo>
                  <a:pt x="4695687" y="6458189"/>
                </a:lnTo>
                <a:lnTo>
                  <a:pt x="4688940" y="6458919"/>
                </a:lnTo>
                <a:lnTo>
                  <a:pt x="4681463" y="6458189"/>
                </a:lnTo>
                <a:lnTo>
                  <a:pt x="4674898" y="6456001"/>
                </a:lnTo>
                <a:lnTo>
                  <a:pt x="4668880" y="6453083"/>
                </a:lnTo>
                <a:lnTo>
                  <a:pt x="4663045" y="6447795"/>
                </a:lnTo>
                <a:lnTo>
                  <a:pt x="4658486" y="6441959"/>
                </a:lnTo>
                <a:lnTo>
                  <a:pt x="4654838" y="6434482"/>
                </a:lnTo>
                <a:lnTo>
                  <a:pt x="4652650" y="6424817"/>
                </a:lnTo>
                <a:lnTo>
                  <a:pt x="4651921" y="6414423"/>
                </a:lnTo>
                <a:lnTo>
                  <a:pt x="4652650" y="6404028"/>
                </a:lnTo>
                <a:lnTo>
                  <a:pt x="4654109" y="6394545"/>
                </a:lnTo>
                <a:lnTo>
                  <a:pt x="4657027" y="6386339"/>
                </a:lnTo>
                <a:lnTo>
                  <a:pt x="4661586" y="6379592"/>
                </a:lnTo>
                <a:lnTo>
                  <a:pt x="4666692" y="6374486"/>
                </a:lnTo>
                <a:lnTo>
                  <a:pt x="4673439" y="6369927"/>
                </a:lnTo>
                <a:lnTo>
                  <a:pt x="4680733" y="6367009"/>
                </a:lnTo>
                <a:lnTo>
                  <a:pt x="4688940" y="6367009"/>
                </a:lnTo>
                <a:lnTo>
                  <a:pt x="4697146" y="6367738"/>
                </a:lnTo>
                <a:lnTo>
                  <a:pt x="4703711" y="6370838"/>
                </a:lnTo>
                <a:lnTo>
                  <a:pt x="4708999" y="6374486"/>
                </a:lnTo>
                <a:lnTo>
                  <a:pt x="4713376" y="6378862"/>
                </a:lnTo>
                <a:lnTo>
                  <a:pt x="4717205" y="6383421"/>
                </a:lnTo>
                <a:lnTo>
                  <a:pt x="4718664" y="6387068"/>
                </a:lnTo>
                <a:lnTo>
                  <a:pt x="4720123" y="6389986"/>
                </a:lnTo>
                <a:lnTo>
                  <a:pt x="4720853" y="6391445"/>
                </a:lnTo>
                <a:lnTo>
                  <a:pt x="4741642" y="6380321"/>
                </a:lnTo>
                <a:lnTo>
                  <a:pt x="4738724" y="6373027"/>
                </a:lnTo>
                <a:lnTo>
                  <a:pt x="4734165" y="6366279"/>
                </a:lnTo>
                <a:lnTo>
                  <a:pt x="4728329" y="6360444"/>
                </a:lnTo>
                <a:lnTo>
                  <a:pt x="4721582" y="6354426"/>
                </a:lnTo>
                <a:lnTo>
                  <a:pt x="4714105" y="6350779"/>
                </a:lnTo>
                <a:lnTo>
                  <a:pt x="4706081" y="6346949"/>
                </a:lnTo>
                <a:lnTo>
                  <a:pt x="4697146" y="6344761"/>
                </a:lnTo>
                <a:close/>
                <a:moveTo>
                  <a:pt x="4819510" y="6343302"/>
                </a:moveTo>
                <a:lnTo>
                  <a:pt x="4807657" y="6344032"/>
                </a:lnTo>
                <a:lnTo>
                  <a:pt x="4795803" y="6347861"/>
                </a:lnTo>
                <a:lnTo>
                  <a:pt x="4785408" y="6352967"/>
                </a:lnTo>
                <a:lnTo>
                  <a:pt x="4775743" y="6360444"/>
                </a:lnTo>
                <a:lnTo>
                  <a:pt x="4768267" y="6370839"/>
                </a:lnTo>
                <a:lnTo>
                  <a:pt x="4762431" y="6382692"/>
                </a:lnTo>
                <a:lnTo>
                  <a:pt x="4758601" y="6396734"/>
                </a:lnTo>
                <a:lnTo>
                  <a:pt x="4757872" y="6412964"/>
                </a:lnTo>
                <a:lnTo>
                  <a:pt x="4757872" y="6423359"/>
                </a:lnTo>
                <a:lnTo>
                  <a:pt x="4759331" y="6432294"/>
                </a:lnTo>
                <a:lnTo>
                  <a:pt x="4761702" y="6441230"/>
                </a:lnTo>
                <a:lnTo>
                  <a:pt x="4765349" y="6448525"/>
                </a:lnTo>
                <a:lnTo>
                  <a:pt x="4768996" y="6455272"/>
                </a:lnTo>
                <a:lnTo>
                  <a:pt x="4774284" y="6462019"/>
                </a:lnTo>
                <a:lnTo>
                  <a:pt x="4779391" y="6467125"/>
                </a:lnTo>
                <a:lnTo>
                  <a:pt x="4785408" y="6471502"/>
                </a:lnTo>
                <a:lnTo>
                  <a:pt x="4789056" y="6473873"/>
                </a:lnTo>
                <a:lnTo>
                  <a:pt x="4792703" y="6475332"/>
                </a:lnTo>
                <a:lnTo>
                  <a:pt x="4797262" y="6477520"/>
                </a:lnTo>
                <a:lnTo>
                  <a:pt x="4801639" y="6478979"/>
                </a:lnTo>
                <a:lnTo>
                  <a:pt x="4806198" y="6479708"/>
                </a:lnTo>
                <a:lnTo>
                  <a:pt x="4810574" y="6480438"/>
                </a:lnTo>
                <a:lnTo>
                  <a:pt x="4814951" y="6481167"/>
                </a:lnTo>
                <a:lnTo>
                  <a:pt x="4819510" y="6481167"/>
                </a:lnTo>
                <a:lnTo>
                  <a:pt x="4832822" y="6479708"/>
                </a:lnTo>
                <a:lnTo>
                  <a:pt x="4845405" y="6476061"/>
                </a:lnTo>
                <a:lnTo>
                  <a:pt x="4855800" y="6470043"/>
                </a:lnTo>
                <a:lnTo>
                  <a:pt x="4864735" y="6462019"/>
                </a:lnTo>
                <a:lnTo>
                  <a:pt x="4872030" y="6452354"/>
                </a:lnTo>
                <a:lnTo>
                  <a:pt x="4878048" y="6441230"/>
                </a:lnTo>
                <a:lnTo>
                  <a:pt x="4880966" y="6427918"/>
                </a:lnTo>
                <a:lnTo>
                  <a:pt x="4881695" y="6412964"/>
                </a:lnTo>
                <a:lnTo>
                  <a:pt x="4880236" y="6396005"/>
                </a:lnTo>
                <a:lnTo>
                  <a:pt x="4875859" y="6381051"/>
                </a:lnTo>
                <a:lnTo>
                  <a:pt x="4869842" y="6369198"/>
                </a:lnTo>
                <a:lnTo>
                  <a:pt x="4860906" y="6359715"/>
                </a:lnTo>
                <a:lnTo>
                  <a:pt x="4852153" y="6352238"/>
                </a:lnTo>
                <a:lnTo>
                  <a:pt x="4841029" y="6346949"/>
                </a:lnTo>
                <a:lnTo>
                  <a:pt x="4829905" y="6344032"/>
                </a:lnTo>
                <a:close/>
                <a:moveTo>
                  <a:pt x="4494726" y="6308471"/>
                </a:moveTo>
                <a:lnTo>
                  <a:pt x="4307807" y="6369927"/>
                </a:lnTo>
                <a:lnTo>
                  <a:pt x="4369445" y="6558305"/>
                </a:lnTo>
                <a:lnTo>
                  <a:pt x="4533934" y="6504144"/>
                </a:lnTo>
                <a:lnTo>
                  <a:pt x="4519892" y="6458919"/>
                </a:lnTo>
                <a:lnTo>
                  <a:pt x="4467920" y="6458919"/>
                </a:lnTo>
                <a:lnTo>
                  <a:pt x="4462084" y="6479708"/>
                </a:lnTo>
                <a:lnTo>
                  <a:pt x="4435277" y="6479708"/>
                </a:lnTo>
                <a:lnTo>
                  <a:pt x="4479773" y="6346220"/>
                </a:lnTo>
                <a:lnTo>
                  <a:pt x="4507309" y="6346220"/>
                </a:lnTo>
                <a:close/>
                <a:moveTo>
                  <a:pt x="2353342" y="0"/>
                </a:moveTo>
                <a:lnTo>
                  <a:pt x="6077554" y="10395"/>
                </a:lnTo>
                <a:lnTo>
                  <a:pt x="6087079" y="4007761"/>
                </a:lnTo>
                <a:lnTo>
                  <a:pt x="5101422" y="6885758"/>
                </a:lnTo>
                <a:lnTo>
                  <a:pt x="0" y="6879986"/>
                </a:lnTo>
                <a:close/>
              </a:path>
            </a:pathLst>
          </a:custGeom>
          <a:pattFill prst="dkUpDiag">
            <a:fgClr>
              <a:schemeClr val="bg1">
                <a:lumMod val="75000"/>
              </a:schemeClr>
            </a:fgClr>
            <a:bgClr>
              <a:schemeClr val="bg1">
                <a:lumMod val="95000"/>
              </a:schemeClr>
            </a:bgClr>
          </a:pattFill>
        </p:spPr>
        <p:txBody>
          <a:bodyPr wrap="square" tIns="180000">
            <a:noAutofit/>
          </a:bodyPr>
          <a:lstStyle>
            <a:lvl1pPr marL="0" indent="0" algn="ctr">
              <a:buFont typeface="Arial" panose="020B0604020202020204" pitchFamily="34" charset="0"/>
              <a:buNone/>
              <a:defRPr lang="nl-NL" sz="1599"/>
            </a:lvl1pPr>
          </a:lstStyle>
          <a:p>
            <a:pPr marL="228486" lvl="0" indent="-228486" algn="ctr"/>
            <a:r>
              <a:rPr lang="nl-NL" noProof="0"/>
              <a:t>Klik op pictogram om </a:t>
            </a:r>
            <a:br>
              <a:rPr lang="nl-NL" noProof="0"/>
            </a:br>
            <a:r>
              <a:rPr lang="nl-NL" noProof="0"/>
              <a:t>een afbeelding in te voegen
</a:t>
            </a:r>
            <a:endParaRPr lang="en-US" noProof="0"/>
          </a:p>
        </p:txBody>
      </p:sp>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7143071"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9" y="6318000"/>
            <a:ext cx="5511603" cy="304800"/>
          </a:xfrm>
          <a:prstGeom prst="rect">
            <a:avLst/>
          </a:prstGeom>
        </p:spPr>
        <p:txBody>
          <a:bodyPr lIns="0"/>
          <a:lstStyle>
            <a:lvl1pPr marL="0" indent="0" defTabSz="901249">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6955681"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6735762" cy="4120588"/>
          </a:xfrm>
          <a:prstGeom prst="rect">
            <a:avLst/>
          </a:prstGeom>
        </p:spPr>
        <p:txBody>
          <a:bodyPr lIns="0" tIns="0" rIns="0" bIns="0"/>
          <a:lstStyle>
            <a:lvl1pPr marL="266567" indent="-266567">
              <a:buClr>
                <a:schemeClr val="accent1"/>
              </a:buClr>
              <a:defRPr sz="1999">
                <a:solidFill>
                  <a:schemeClr val="tx1"/>
                </a:solidFill>
              </a:defRPr>
            </a:lvl1pPr>
            <a:lvl2pPr marL="625162" indent="-266567">
              <a:buClr>
                <a:schemeClr val="accent1"/>
              </a:buClr>
              <a:buFont typeface="Calibri" panose="020F0502020204030204" pitchFamily="34" charset="0"/>
              <a:buChar char="-"/>
              <a:defRPr sz="1799">
                <a:solidFill>
                  <a:schemeClr val="tx1">
                    <a:lumMod val="50000"/>
                    <a:lumOff val="50000"/>
                  </a:schemeClr>
                </a:solidFill>
              </a:defRPr>
            </a:lvl2pPr>
            <a:lvl3pPr marL="890143" indent="-264980">
              <a:buClr>
                <a:schemeClr val="accent1"/>
              </a:buClr>
              <a:buFont typeface="Wingdings" panose="05000000000000000000" pitchFamily="2" charset="2"/>
              <a:buChar char="§"/>
              <a:defRPr sz="1599">
                <a:solidFill>
                  <a:schemeClr val="tx1"/>
                </a:solidFill>
              </a:defRPr>
            </a:lvl3pPr>
          </a:lstStyle>
          <a:p>
            <a:pPr lvl="0"/>
            <a:r>
              <a:rPr lang="nl-NL" noProof="0"/>
              <a:t>Aanpassen tekst</a:t>
            </a:r>
          </a:p>
          <a:p>
            <a:pPr lvl="1"/>
            <a:r>
              <a:rPr lang="nl-NL" noProof="0"/>
              <a:t>Tweede level</a:t>
            </a:r>
          </a:p>
          <a:p>
            <a:pPr lvl="2"/>
            <a:r>
              <a:rPr lang="nl-NL" noProof="0"/>
              <a:t>Derde level</a:t>
            </a:r>
          </a:p>
        </p:txBody>
      </p:sp>
    </p:spTree>
    <p:extLst>
      <p:ext uri="{BB962C8B-B14F-4D97-AF65-F5344CB8AC3E}">
        <p14:creationId xmlns:p14="http://schemas.microsoft.com/office/powerpoint/2010/main" val="308950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5218042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73843233"/>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615942077"/>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0473066"/>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98077138"/>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26177015"/>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9700200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6701371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684849583"/>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348805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7502678" cy="4120588"/>
          </a:xfrm>
          <a:prstGeom prst="rect">
            <a:avLst/>
          </a:prstGeom>
        </p:spPr>
        <p:txBody>
          <a:bodyPr lIns="0" tIns="0" rIns="0" bIns="0"/>
          <a:lstStyle>
            <a:lvl1pPr marL="266567" indent="-266567">
              <a:buClr>
                <a:schemeClr val="accent1"/>
              </a:buClr>
              <a:defRPr sz="1999">
                <a:solidFill>
                  <a:schemeClr val="tx1"/>
                </a:solidFill>
              </a:defRPr>
            </a:lvl1pPr>
            <a:lvl2pPr marL="625162" indent="-266567">
              <a:buClr>
                <a:schemeClr val="accent1"/>
              </a:buClr>
              <a:buFont typeface="Calibri" panose="020F0502020204030204" pitchFamily="34" charset="0"/>
              <a:buChar char="-"/>
              <a:defRPr sz="1799">
                <a:solidFill>
                  <a:schemeClr val="tx1">
                    <a:lumMod val="50000"/>
                    <a:lumOff val="50000"/>
                  </a:schemeClr>
                </a:solidFill>
              </a:defRPr>
            </a:lvl2pPr>
            <a:lvl3pPr marL="890143" indent="-264980">
              <a:buClr>
                <a:schemeClr val="accent1"/>
              </a:buClr>
              <a:buFont typeface="Wingdings" panose="05000000000000000000" pitchFamily="2" charset="2"/>
              <a:buChar char="§"/>
              <a:defRPr sz="1599">
                <a:solidFill>
                  <a:schemeClr val="tx1"/>
                </a:solidFill>
              </a:defRPr>
            </a:lvl3pPr>
          </a:lstStyle>
          <a:p>
            <a:pPr lvl="0"/>
            <a:r>
              <a:rPr lang="nl-NL" noProof="0"/>
              <a:t>Aanpassen tekst</a:t>
            </a:r>
          </a:p>
          <a:p>
            <a:pPr lvl="1"/>
            <a:r>
              <a:rPr lang="nl-NL" noProof="0"/>
              <a:t>Tweede level</a:t>
            </a:r>
          </a:p>
          <a:p>
            <a:pPr lvl="2"/>
            <a:r>
              <a:rPr lang="nl-NL" noProof="0"/>
              <a:t>Derde level</a:t>
            </a:r>
          </a:p>
        </p:txBody>
      </p:sp>
      <p:pic>
        <p:nvPicPr>
          <p:cNvPr id="8" name="Picture 7" descr="Android.png">
            <a:extLst>
              <a:ext uri="{FF2B5EF4-FFF2-40B4-BE49-F238E27FC236}">
                <a16:creationId xmlns:a16="http://schemas.microsoft.com/office/drawing/2014/main" id="{697FABA5-4118-4203-BA93-DBCD7FC450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5" name="Picture Placeholder 4">
            <a:extLst>
              <a:ext uri="{FF2B5EF4-FFF2-40B4-BE49-F238E27FC236}">
                <a16:creationId xmlns:a16="http://schemas.microsoft.com/office/drawing/2014/main" id="{10B00AF0-3BFA-4AC7-AB36-69D01C90D683}"/>
              </a:ext>
            </a:extLst>
          </p:cNvPr>
          <p:cNvSpPr>
            <a:spLocks noGrp="1"/>
          </p:cNvSpPr>
          <p:nvPr>
            <p:ph type="pic" sz="quarter" idx="14" hasCustomPrompt="1"/>
          </p:nvPr>
        </p:nvSpPr>
        <p:spPr>
          <a:xfrm>
            <a:off x="8747761" y="2174242"/>
            <a:ext cx="1955800" cy="3281679"/>
          </a:xfrm>
          <a:prstGeom prst="rect">
            <a:avLst/>
          </a:prstGeom>
          <a:pattFill prst="dkUpDiag">
            <a:fgClr>
              <a:schemeClr val="bg1">
                <a:lumMod val="75000"/>
              </a:schemeClr>
            </a:fgClr>
            <a:bgClr>
              <a:schemeClr val="bg1">
                <a:lumMod val="95000"/>
              </a:schemeClr>
            </a:bgClr>
          </a:pattFill>
        </p:spPr>
        <p:txBody>
          <a:bodyPr tIns="180000"/>
          <a:lstStyle>
            <a:lvl1pPr marL="0" indent="0">
              <a:buNone/>
              <a:defRPr lang="nl-NL" sz="1599"/>
            </a:lvl1pPr>
          </a:lstStyle>
          <a:p>
            <a:pPr marL="228486" lvl="0" indent="-228486" algn="ctr"/>
            <a:r>
              <a:rPr lang="nl-NL" noProof="0"/>
              <a:t>Klik op pictogram om een afbeelding in te voegen
</a:t>
            </a:r>
            <a:endParaRPr lang="en-US" noProof="0"/>
          </a:p>
        </p:txBody>
      </p:sp>
    </p:spTree>
    <p:extLst>
      <p:ext uri="{BB962C8B-B14F-4D97-AF65-F5344CB8AC3E}">
        <p14:creationId xmlns:p14="http://schemas.microsoft.com/office/powerpoint/2010/main" val="28404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2021323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Divider Tex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3CBF365-2BA1-4A16-ADA3-2A337F8AEA24}"/>
              </a:ext>
            </a:extLst>
          </p:cNvPr>
          <p:cNvSpPr txBox="1">
            <a:spLocks/>
          </p:cNvSpPr>
          <p:nvPr userDrawn="1"/>
        </p:nvSpPr>
        <p:spPr>
          <a:xfrm>
            <a:off x="444078" y="2600325"/>
            <a:ext cx="11171660" cy="900522"/>
          </a:xfrm>
          <a:prstGeom prst="rect">
            <a:avLst/>
          </a:prstGeom>
        </p:spPr>
        <p:txBody>
          <a:bodyPr wrap="square" lIns="0" tIns="0" rIns="0" bIns="0" anchor="t" anchorCtr="0"/>
          <a:lstStyle>
            <a:lvl1pPr algn="l" defTabSz="685783" rtl="0" eaLnBrk="1" latinLnBrk="0" hangingPunct="1">
              <a:lnSpc>
                <a:spcPct val="90000"/>
              </a:lnSpc>
              <a:spcBef>
                <a:spcPct val="0"/>
              </a:spcBef>
              <a:buNone/>
              <a:defRPr sz="3200" b="0" i="0" kern="1200" baseline="0">
                <a:solidFill>
                  <a:schemeClr val="accent1"/>
                </a:solidFill>
                <a:latin typeface="Calibri" panose="020F0502020204030204" pitchFamily="34" charset="0"/>
                <a:ea typeface="+mj-ea"/>
                <a:cs typeface="Calibri" panose="020F0502020204030204" pitchFamily="34" charset="0"/>
              </a:defRPr>
            </a:lvl1pPr>
          </a:lstStyle>
          <a:p>
            <a:r>
              <a:rPr lang="en-US"/>
              <a:t>Click to edit </a:t>
            </a:r>
            <a:br>
              <a:rPr lang="en-US"/>
            </a:br>
            <a:r>
              <a:rPr lang="en-US"/>
              <a:t>Master title style</a:t>
            </a:r>
          </a:p>
        </p:txBody>
      </p:sp>
      <p:sp>
        <p:nvSpPr>
          <p:cNvPr id="14" name="Text Placeholder 2">
            <a:extLst>
              <a:ext uri="{FF2B5EF4-FFF2-40B4-BE49-F238E27FC236}">
                <a16:creationId xmlns:a16="http://schemas.microsoft.com/office/drawing/2014/main" id="{2CACC30D-3853-43D3-9CFC-71F92BC76F44}"/>
              </a:ext>
            </a:extLst>
          </p:cNvPr>
          <p:cNvSpPr>
            <a:spLocks noGrp="1"/>
          </p:cNvSpPr>
          <p:nvPr>
            <p:ph type="body" sz="quarter" idx="14" hasCustomPrompt="1"/>
          </p:nvPr>
        </p:nvSpPr>
        <p:spPr>
          <a:xfrm>
            <a:off x="444078" y="3587928"/>
            <a:ext cx="11171660" cy="526872"/>
          </a:xfrm>
          <a:prstGeom prst="rect">
            <a:avLst/>
          </a:prstGeom>
        </p:spPr>
        <p:txBody>
          <a:bodyPr lIns="0" tIns="0" rIns="0" bIns="0"/>
          <a:lstStyle>
            <a:lvl1pPr marL="0" indent="0">
              <a:buNone/>
              <a:defRPr/>
            </a:lvl1pPr>
          </a:lstStyle>
          <a:p>
            <a:pPr lvl="0"/>
            <a:r>
              <a:rPr lang="en-GB"/>
              <a:t>Click to edit sub-heading</a:t>
            </a:r>
          </a:p>
        </p:txBody>
      </p:sp>
      <p:sp>
        <p:nvSpPr>
          <p:cNvPr id="2" name="Rectangle 3">
            <a:extLst>
              <a:ext uri="{FF2B5EF4-FFF2-40B4-BE49-F238E27FC236}">
                <a16:creationId xmlns:a16="http://schemas.microsoft.com/office/drawing/2014/main" id="{A5041BDA-C544-48B9-8B12-53EE89B4198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4FC62D40-5179-4460-AFA5-AE8C22B1302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BC0690C1-96BE-454B-9E06-57DDD9A550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30034580"/>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ext or conten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3" name="Content Placeholder 2"/>
          <p:cNvSpPr>
            <a:spLocks noGrp="1"/>
          </p:cNvSpPr>
          <p:nvPr>
            <p:ph sz="quarter" idx="18"/>
          </p:nvPr>
        </p:nvSpPr>
        <p:spPr>
          <a:xfrm>
            <a:off x="575735" y="1557338"/>
            <a:ext cx="11040533" cy="3993474"/>
          </a:xfrm>
          <a:prstGeom prst="rect">
            <a:avLst/>
          </a:prstGeom>
        </p:spPr>
        <p:txBody>
          <a:bodyPr lIns="0" tIns="0" rIns="0" bIns="0"/>
          <a:lstStyle>
            <a:lvl1pPr>
              <a:defRPr sz="1400">
                <a:solidFill>
                  <a:schemeClr val="tx1"/>
                </a:solidFill>
              </a:defRPr>
            </a:lvl1pPr>
            <a:lvl2pPr>
              <a:defRPr sz="1400">
                <a:solidFill>
                  <a:schemeClr val="tx1"/>
                </a:solidFill>
              </a:defRPr>
            </a:lvl2pPr>
            <a:lvl3pPr marL="719138" indent="-177800">
              <a:buClr>
                <a:schemeClr val="accent1"/>
              </a:buClr>
              <a:buFont typeface="Calibri" panose="020F0502020204030204" pitchFamily="34" charset="0"/>
              <a:buChar char="-"/>
              <a:defRPr sz="1400">
                <a:solidFill>
                  <a:schemeClr val="tx1"/>
                </a:solidFill>
              </a:defRPr>
            </a:lvl3pPr>
            <a:lvl4pPr>
              <a:buClr>
                <a:schemeClr val="tx2"/>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8"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EC16DB9C-26B9-41CE-A127-2109A267A9B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8">
            <a:extLst>
              <a:ext uri="{FF2B5EF4-FFF2-40B4-BE49-F238E27FC236}">
                <a16:creationId xmlns:a16="http://schemas.microsoft.com/office/drawing/2014/main" id="{152C5A8A-9ACA-43E0-80A2-2627A7FE5BB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20" name="Picture 19" descr="A picture containing clipart&#10;&#10;Description automatically generated">
            <a:extLst>
              <a:ext uri="{FF2B5EF4-FFF2-40B4-BE49-F238E27FC236}">
                <a16:creationId xmlns:a16="http://schemas.microsoft.com/office/drawing/2014/main" id="{A161B85F-459B-4CD8-832D-150BD2EF7A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244011488"/>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Content Placeholder 2"/>
          <p:cNvSpPr>
            <a:spLocks noGrp="1"/>
          </p:cNvSpPr>
          <p:nvPr>
            <p:ph sz="quarter" idx="19"/>
          </p:nvPr>
        </p:nvSpPr>
        <p:spPr>
          <a:xfrm>
            <a:off x="575733"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0" name="Content Placeholder 2"/>
          <p:cNvSpPr>
            <a:spLocks noGrp="1"/>
          </p:cNvSpPr>
          <p:nvPr>
            <p:ph sz="quarter" idx="20"/>
          </p:nvPr>
        </p:nvSpPr>
        <p:spPr>
          <a:xfrm>
            <a:off x="6185605" y="1557338"/>
            <a:ext cx="5429251" cy="3979310"/>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12"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3"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4" name="Rectangle 3">
            <a:extLst>
              <a:ext uri="{FF2B5EF4-FFF2-40B4-BE49-F238E27FC236}">
                <a16:creationId xmlns:a16="http://schemas.microsoft.com/office/drawing/2014/main" id="{C5332697-6497-46D5-B15B-2A10D4356243}"/>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Rectangle 4">
            <a:extLst>
              <a:ext uri="{FF2B5EF4-FFF2-40B4-BE49-F238E27FC236}">
                <a16:creationId xmlns:a16="http://schemas.microsoft.com/office/drawing/2014/main" id="{FAB8296F-BD85-48AB-BFC1-68D5CD50E44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95F11D0D-C386-4657-8A97-5CF64A23E7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865052078"/>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59420"/>
            <a:ext cx="11040533" cy="4027488"/>
          </a:xfrm>
          <a:prstGeom prst="rect">
            <a:avLst/>
          </a:prstGeom>
        </p:spPr>
        <p:txBody>
          <a:bodyPr lIns="0" tIns="0" rIns="0" bIns="0"/>
          <a:lstStyle>
            <a:lvl1pPr marL="0" indent="0">
              <a:buNone/>
              <a:defRPr/>
            </a:lvl1pPr>
          </a:lstStyle>
          <a:p>
            <a:r>
              <a:rPr lang="nl-NL"/>
              <a:t>Klik op het pictogram als u een grafiek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4" name="Straight Connector 13">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3B11A42-AA8E-4E52-81E3-41213D91E4F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4F3B1310-C50F-4D06-9001-C7C2C04D4160}"/>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CBE615E6-6282-461E-BF8A-FB12691722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727796267"/>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wo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4"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0" name="Chart Placeholder 2"/>
          <p:cNvSpPr>
            <a:spLocks noGrp="1"/>
          </p:cNvSpPr>
          <p:nvPr>
            <p:ph type="chart" sz="quarter" idx="19"/>
          </p:nvPr>
        </p:nvSpPr>
        <p:spPr>
          <a:xfrm>
            <a:off x="6187467" y="1566707"/>
            <a:ext cx="54288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A82A3887-D000-42D8-B495-979F3B7B93A1}"/>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F44CA102-9929-4B9B-A763-4ACB5DE38BC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819AED59-8BA2-49B4-A246-BCE02891B4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83283340"/>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hree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87021" y="1566691"/>
            <a:ext cx="3552000" cy="3639856"/>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4323219" y="1566692"/>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8058993" y="1566691"/>
            <a:ext cx="3552000" cy="3639857"/>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9"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701385B-1472-4FD0-A714-B8ECCDF64E99}"/>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12DC732B-1978-480E-9791-4B1C489710DF}"/>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A11B5CD-BED0-4A3E-9D49-BA5182ED90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91091014"/>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3" name="Chart Placeholder 2"/>
          <p:cNvSpPr>
            <a:spLocks noGrp="1"/>
          </p:cNvSpPr>
          <p:nvPr>
            <p:ph type="chart" sz="quarter" idx="18"/>
          </p:nvPr>
        </p:nvSpPr>
        <p:spPr>
          <a:xfrm>
            <a:off x="575733"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7" name="Chart Placeholder 2"/>
          <p:cNvSpPr>
            <a:spLocks noGrp="1"/>
          </p:cNvSpPr>
          <p:nvPr>
            <p:ph type="chart" sz="quarter" idx="20"/>
          </p:nvPr>
        </p:nvSpPr>
        <p:spPr>
          <a:xfrm>
            <a:off x="575733"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8" name="Chart Placeholder 2"/>
          <p:cNvSpPr>
            <a:spLocks noGrp="1"/>
          </p:cNvSpPr>
          <p:nvPr>
            <p:ph type="chart" sz="quarter" idx="21"/>
          </p:nvPr>
        </p:nvSpPr>
        <p:spPr>
          <a:xfrm>
            <a:off x="6181389" y="1566693"/>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1" name="Chart Placeholder 2"/>
          <p:cNvSpPr>
            <a:spLocks noGrp="1"/>
          </p:cNvSpPr>
          <p:nvPr>
            <p:ph type="chart" sz="quarter" idx="22"/>
          </p:nvPr>
        </p:nvSpPr>
        <p:spPr>
          <a:xfrm>
            <a:off x="6186057" y="3590755"/>
            <a:ext cx="5428800" cy="1871662"/>
          </a:xfrm>
          <a:prstGeom prst="rect">
            <a:avLst/>
          </a:prstGeom>
        </p:spPr>
        <p:txBody>
          <a:bodyPr/>
          <a:lstStyle>
            <a:lvl1pPr marL="0" indent="0">
              <a:buNone/>
              <a:defRPr/>
            </a:lvl1pPr>
          </a:lstStyle>
          <a:p>
            <a:r>
              <a:rPr lang="nl-NL"/>
              <a:t>Klik op het pictogram als u een grafiek wilt toevoegen</a:t>
            </a:r>
            <a:endParaRPr lang="en-GB"/>
          </a:p>
        </p:txBody>
      </p:sp>
      <p:sp>
        <p:nvSpPr>
          <p:cNvPr id="14"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5"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6" name="Straight Connector 15">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C923CB7B-922D-44A6-B6CE-9D3F93EA432D}"/>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51B90844-7B5F-4EE4-BBE8-F02507A0C28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2BCADF29-6117-490B-AF47-9BC2A0B754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71577986"/>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hart with Text">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2193"/>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7"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sp>
        <p:nvSpPr>
          <p:cNvPr id="10" name="Content Placeholder 2"/>
          <p:cNvSpPr>
            <a:spLocks noGrp="1"/>
          </p:cNvSpPr>
          <p:nvPr>
            <p:ph sz="quarter" idx="20"/>
          </p:nvPr>
        </p:nvSpPr>
        <p:spPr>
          <a:xfrm>
            <a:off x="6185605" y="1565964"/>
            <a:ext cx="5429251" cy="3970684"/>
          </a:xfrm>
          <a:prstGeom prst="rect">
            <a:avLst/>
          </a:prstGeom>
        </p:spPr>
        <p:txBody>
          <a:bodyPr/>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3" y="1565964"/>
            <a:ext cx="5429251" cy="3960000"/>
          </a:xfrm>
          <a:prstGeom prst="rect">
            <a:avLst/>
          </a:prstGeom>
        </p:spPr>
        <p:txBody>
          <a:bodyPr/>
          <a:lstStyle>
            <a:lvl1pPr marL="0" indent="0">
              <a:buNone/>
              <a:defRPr/>
            </a:lvl1pPr>
          </a:lstStyle>
          <a:p>
            <a:r>
              <a:rPr lang="nl-NL"/>
              <a:t>Klik op het pictogram als u een grafiek wilt toevoegen</a:t>
            </a:r>
            <a:endParaRPr lang="en-GB"/>
          </a:p>
        </p:txBody>
      </p:sp>
      <p:cxnSp>
        <p:nvCxnSpPr>
          <p:cNvPr id="17" name="Straight Connector 16">
            <a:extLst>
              <a:ext uri="{FF2B5EF4-FFF2-40B4-BE49-F238E27FC236}">
                <a16:creationId xmlns:a16="http://schemas.microsoft.com/office/drawing/2014/main" id="{902CA1FF-D4A3-4E32-993A-B5BDCEB42C81}"/>
              </a:ext>
            </a:extLst>
          </p:cNvPr>
          <p:cNvCxnSpPr/>
          <p:nvPr userDrawn="1"/>
        </p:nvCxnSpPr>
        <p:spPr>
          <a:xfrm>
            <a:off x="575735" y="870268"/>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3AF2D0C2-83EC-4C53-91C7-3F7427ADDFCB}"/>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CB88D1E4-FDF2-41E1-80AD-5C8E9AB6BA48}"/>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6" name="Picture 5" descr="A picture containing clipart&#10;&#10;Description automatically generated">
            <a:extLst>
              <a:ext uri="{FF2B5EF4-FFF2-40B4-BE49-F238E27FC236}">
                <a16:creationId xmlns:a16="http://schemas.microsoft.com/office/drawing/2014/main" id="{214DD552-6F08-43AE-8A9C-47D1E1DC26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4200271157"/>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Picture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6185605" y="1565964"/>
            <a:ext cx="542925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3" name="Picture Placeholder 2">
            <a:extLst>
              <a:ext uri="{FF2B5EF4-FFF2-40B4-BE49-F238E27FC236}">
                <a16:creationId xmlns:a16="http://schemas.microsoft.com/office/drawing/2014/main" id="{3398AC78-DD96-449A-B929-A26B70253946}"/>
              </a:ext>
            </a:extLst>
          </p:cNvPr>
          <p:cNvSpPr>
            <a:spLocks noGrp="1"/>
          </p:cNvSpPr>
          <p:nvPr>
            <p:ph type="pic" sz="quarter" idx="21"/>
          </p:nvPr>
        </p:nvSpPr>
        <p:spPr>
          <a:xfrm>
            <a:off x="575733" y="1565964"/>
            <a:ext cx="5429251" cy="3960000"/>
          </a:xfrm>
          <a:prstGeom prst="rect">
            <a:avLst/>
          </a:prstGeom>
        </p:spPr>
        <p:txBody>
          <a:bodyPr/>
          <a:lstStyle>
            <a:lvl1pPr marL="0" indent="0">
              <a:buNone/>
              <a:defRPr/>
            </a:lvl1pPr>
          </a:lstStyle>
          <a:p>
            <a:r>
              <a:rPr lang="nl-NL"/>
              <a:t>Klik op het pictogram als u een afbeelding wilt toevoegen</a:t>
            </a:r>
            <a:endParaRPr lang="en-GB"/>
          </a:p>
        </p:txBody>
      </p:sp>
      <p:sp>
        <p:nvSpPr>
          <p:cNvPr id="11"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2"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3" name="Straight Connector 12">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25AF3D32-F391-4EF5-AF02-19F52E64307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B6ADD2FF-AC7D-4C1E-92FD-AD4898D1D3D2}"/>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9BF71718-F13B-4E1E-8650-571AA5C1E5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88493694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9" name="Picture 27" descr="ipad.png">
            <a:extLst>
              <a:ext uri="{FF2B5EF4-FFF2-40B4-BE49-F238E27FC236}">
                <a16:creationId xmlns:a16="http://schemas.microsoft.com/office/drawing/2014/main" id="{40E220D6-FD15-44C4-AA9B-F78ACC70C4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12881" y="2087067"/>
            <a:ext cx="4915097" cy="3567164"/>
          </a:xfrm>
          <a:prstGeom prst="rect">
            <a:avLst/>
          </a:prstGeom>
        </p:spPr>
      </p:pic>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9" y="1"/>
            <a:ext cx="10515600" cy="1180618"/>
          </a:xfrm>
          <a:prstGeom prst="rect">
            <a:avLst/>
          </a:prstGeom>
        </p:spPr>
        <p:txBody>
          <a:bodyPr lIns="0" tIns="0" rIns="0" bIns="72000" anchor="b" anchorCtr="0"/>
          <a:lstStyle>
            <a:lvl1pPr>
              <a:defRPr sz="3598">
                <a:solidFill>
                  <a:schemeClr val="accent1"/>
                </a:solidFill>
              </a:defRPr>
            </a:lvl1pPr>
          </a:lstStyle>
          <a:p>
            <a:r>
              <a:rPr lang="nl-NL" noProof="0"/>
              <a:t>Klik hier om de titelstijl van het stramien te bewerken</a:t>
            </a:r>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6971" indent="0">
              <a:buNone/>
              <a:defRPr sz="800" i="1"/>
            </a:lvl2pPr>
            <a:lvl3pPr marL="913943" indent="0">
              <a:buNone/>
              <a:defRPr sz="800" i="1"/>
            </a:lvl3pPr>
            <a:lvl4pPr marL="1370914" indent="0">
              <a:buNone/>
              <a:defRPr sz="800" i="1"/>
            </a:lvl4pPr>
            <a:lvl5pPr marL="1827886" indent="0">
              <a:buNone/>
              <a:defRPr sz="800" i="1"/>
            </a:lvl5pPr>
          </a:lstStyle>
          <a:p>
            <a:pPr lvl="0"/>
            <a:r>
              <a:rPr lang="nl-NL" noProof="0"/>
              <a:t>Voetnoten in dit gebied plaatsen
</a:t>
            </a:r>
            <a:endParaRPr lang="en-US" noProof="0"/>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9" y="1203769"/>
            <a:ext cx="10515600" cy="462986"/>
          </a:xfrm>
          <a:prstGeom prst="rect">
            <a:avLst/>
          </a:prstGeom>
        </p:spPr>
        <p:txBody>
          <a:bodyPr lIns="0"/>
          <a:lstStyle>
            <a:lvl1pPr marL="0" indent="0">
              <a:buNone/>
              <a:defRPr sz="1999" b="1">
                <a:solidFill>
                  <a:schemeClr val="tx2"/>
                </a:solidFill>
              </a:defRPr>
            </a:lvl1pPr>
          </a:lstStyle>
          <a:p>
            <a:pPr lvl="0"/>
            <a:r>
              <a:rPr lang="nl-NL" noProof="0"/>
              <a:t>Klik hier om subtitelstijl te bewerken
</a:t>
            </a:r>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9" y="1944546"/>
            <a:ext cx="5399682" cy="4120588"/>
          </a:xfrm>
          <a:prstGeom prst="rect">
            <a:avLst/>
          </a:prstGeom>
        </p:spPr>
        <p:txBody>
          <a:bodyPr lIns="0" tIns="0" rIns="0" bIns="0"/>
          <a:lstStyle>
            <a:lvl1pPr marL="266567" indent="-266567">
              <a:buClr>
                <a:schemeClr val="accent1"/>
              </a:buClr>
              <a:defRPr sz="1999">
                <a:solidFill>
                  <a:schemeClr val="tx1"/>
                </a:solidFill>
              </a:defRPr>
            </a:lvl1pPr>
            <a:lvl2pPr marL="625162" indent="-266567">
              <a:buClr>
                <a:schemeClr val="accent1"/>
              </a:buClr>
              <a:buFont typeface="Calibri" panose="020F0502020204030204" pitchFamily="34" charset="0"/>
              <a:buChar char="-"/>
              <a:defRPr sz="1799">
                <a:solidFill>
                  <a:schemeClr val="tx1">
                    <a:lumMod val="50000"/>
                    <a:lumOff val="50000"/>
                  </a:schemeClr>
                </a:solidFill>
              </a:defRPr>
            </a:lvl2pPr>
            <a:lvl3pPr marL="890143" indent="-264980">
              <a:buClr>
                <a:schemeClr val="accent1"/>
              </a:buClr>
              <a:buFont typeface="Wingdings" panose="05000000000000000000" pitchFamily="2" charset="2"/>
              <a:buChar char="§"/>
              <a:defRPr sz="1599">
                <a:solidFill>
                  <a:schemeClr val="tx1"/>
                </a:solidFill>
              </a:defRPr>
            </a:lvl3pPr>
          </a:lstStyle>
          <a:p>
            <a:pPr lvl="0"/>
            <a:r>
              <a:rPr lang="nl-NL" noProof="0"/>
              <a:t>Aanpassen tekst</a:t>
            </a:r>
          </a:p>
          <a:p>
            <a:pPr lvl="1"/>
            <a:r>
              <a:rPr lang="nl-NL" noProof="0"/>
              <a:t>Tweede level</a:t>
            </a:r>
          </a:p>
          <a:p>
            <a:pPr lvl="2"/>
            <a:r>
              <a:rPr lang="nl-NL" noProof="0"/>
              <a:t>Derde level</a:t>
            </a:r>
          </a:p>
        </p:txBody>
      </p:sp>
      <p:sp>
        <p:nvSpPr>
          <p:cNvPr id="5" name="Picture Placeholder 4">
            <a:extLst>
              <a:ext uri="{FF2B5EF4-FFF2-40B4-BE49-F238E27FC236}">
                <a16:creationId xmlns:a16="http://schemas.microsoft.com/office/drawing/2014/main" id="{10B00AF0-3BFA-4AC7-AB36-69D01C90D683}"/>
              </a:ext>
            </a:extLst>
          </p:cNvPr>
          <p:cNvSpPr>
            <a:spLocks noGrp="1"/>
          </p:cNvSpPr>
          <p:nvPr>
            <p:ph type="pic" sz="quarter" idx="14" hasCustomPrompt="1"/>
          </p:nvPr>
        </p:nvSpPr>
        <p:spPr>
          <a:xfrm>
            <a:off x="6633211" y="2286002"/>
            <a:ext cx="4069080" cy="3093719"/>
          </a:xfrm>
          <a:prstGeom prst="rect">
            <a:avLst/>
          </a:prstGeom>
          <a:pattFill prst="dkUpDiag">
            <a:fgClr>
              <a:schemeClr val="bg1">
                <a:lumMod val="75000"/>
              </a:schemeClr>
            </a:fgClr>
            <a:bgClr>
              <a:schemeClr val="bg1">
                <a:lumMod val="95000"/>
              </a:schemeClr>
            </a:bgClr>
          </a:pattFill>
        </p:spPr>
        <p:txBody>
          <a:bodyPr tIns="180000"/>
          <a:lstStyle>
            <a:lvl1pPr marL="0" indent="0">
              <a:buNone/>
              <a:defRPr lang="nl-NL" sz="1599"/>
            </a:lvl1pPr>
          </a:lstStyle>
          <a:p>
            <a:pPr marL="228486" lvl="0" indent="-228486" algn="ctr"/>
            <a:r>
              <a:rPr lang="nl-NL" noProof="0"/>
              <a:t>Klik op pictogram om een afbeelding in te voegen
</a:t>
            </a:r>
            <a:endParaRPr lang="en-US" noProof="0"/>
          </a:p>
        </p:txBody>
      </p:sp>
    </p:spTree>
    <p:extLst>
      <p:ext uri="{BB962C8B-B14F-4D97-AF65-F5344CB8AC3E}">
        <p14:creationId xmlns:p14="http://schemas.microsoft.com/office/powerpoint/2010/main" val="3761440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mall image and chart with Text">
    <p:spTree>
      <p:nvGrpSpPr>
        <p:cNvPr id="1" name=""/>
        <p:cNvGrpSpPr/>
        <p:nvPr/>
      </p:nvGrpSpPr>
      <p:grpSpPr>
        <a:xfrm>
          <a:off x="0" y="0"/>
          <a:ext cx="0" cy="0"/>
          <a:chOff x="0" y="0"/>
          <a:chExt cx="0" cy="0"/>
        </a:xfrm>
      </p:grpSpPr>
      <p:sp>
        <p:nvSpPr>
          <p:cNvPr id="10" name="Content Placeholder 2"/>
          <p:cNvSpPr>
            <a:spLocks noGrp="1"/>
          </p:cNvSpPr>
          <p:nvPr>
            <p:ph sz="quarter" idx="20"/>
          </p:nvPr>
        </p:nvSpPr>
        <p:spPr>
          <a:xfrm>
            <a:off x="5394387" y="1565964"/>
            <a:ext cx="6220471" cy="3970684"/>
          </a:xfrm>
          <a:prstGeom prst="rect">
            <a:avLst/>
          </a:prstGeom>
        </p:spPr>
        <p:txBody>
          <a:bodyPr lIns="0" tIns="0" rIns="0" bIns="0"/>
          <a:lstStyle>
            <a:lvl1pPr>
              <a:defRPr sz="1400">
                <a:solidFill>
                  <a:schemeClr val="tx1"/>
                </a:solidFill>
              </a:defRPr>
            </a:lvl1pPr>
            <a:lvl2pPr>
              <a:defRPr sz="1400">
                <a:solidFill>
                  <a:schemeClr val="tx1"/>
                </a:solidFill>
              </a:defRPr>
            </a:lvl2pPr>
            <a:lvl3pPr>
              <a:buClr>
                <a:schemeClr val="accent1"/>
              </a:buClr>
              <a:defRPr sz="1400">
                <a:solidFill>
                  <a:schemeClr val="tx1"/>
                </a:solidFill>
              </a:defRPr>
            </a:lvl3pPr>
            <a:lvl4pPr>
              <a:buClr>
                <a:schemeClr val="accent1"/>
              </a:buClr>
              <a:defRPr sz="1400">
                <a:solidFill>
                  <a:schemeClr val="tx1"/>
                </a:solidFill>
              </a:defRPr>
            </a:lvl4pPr>
            <a:lvl5pP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p:txBody>
      </p:sp>
      <p:sp>
        <p:nvSpPr>
          <p:cNvPr id="4" name="Chart Placeholder 3">
            <a:extLst>
              <a:ext uri="{FF2B5EF4-FFF2-40B4-BE49-F238E27FC236}">
                <a16:creationId xmlns:a16="http://schemas.microsoft.com/office/drawing/2014/main" id="{CFE50724-9E4D-449F-A8DB-9B834D5B663C}"/>
              </a:ext>
            </a:extLst>
          </p:cNvPr>
          <p:cNvSpPr>
            <a:spLocks noGrp="1"/>
          </p:cNvSpPr>
          <p:nvPr>
            <p:ph type="chart" sz="quarter" idx="21"/>
          </p:nvPr>
        </p:nvSpPr>
        <p:spPr>
          <a:xfrm>
            <a:off x="575735" y="3648970"/>
            <a:ext cx="4588613" cy="1872000"/>
          </a:xfrm>
          <a:prstGeom prst="rect">
            <a:avLst/>
          </a:prstGeom>
        </p:spPr>
        <p:txBody>
          <a:bodyPr/>
          <a:lstStyle>
            <a:lvl1pPr marL="0" indent="0">
              <a:buNone/>
              <a:defRPr/>
            </a:lvl1pPr>
          </a:lstStyle>
          <a:p>
            <a:r>
              <a:rPr lang="nl-NL"/>
              <a:t>Klik op het pictogram als u een grafiek wilt toevoegen</a:t>
            </a:r>
            <a:endParaRPr lang="en-GB"/>
          </a:p>
        </p:txBody>
      </p:sp>
      <p:sp>
        <p:nvSpPr>
          <p:cNvPr id="9" name="Picture Placeholder 2">
            <a:extLst>
              <a:ext uri="{FF2B5EF4-FFF2-40B4-BE49-F238E27FC236}">
                <a16:creationId xmlns:a16="http://schemas.microsoft.com/office/drawing/2014/main" id="{B6C09126-3A90-495D-9767-1CE70B5D6B43}"/>
              </a:ext>
            </a:extLst>
          </p:cNvPr>
          <p:cNvSpPr>
            <a:spLocks noGrp="1"/>
          </p:cNvSpPr>
          <p:nvPr>
            <p:ph type="pic" sz="quarter" idx="22"/>
          </p:nvPr>
        </p:nvSpPr>
        <p:spPr>
          <a:xfrm>
            <a:off x="575735" y="1565964"/>
            <a:ext cx="4588613" cy="1872000"/>
          </a:xfrm>
          <a:prstGeom prst="rect">
            <a:avLst/>
          </a:prstGeom>
        </p:spPr>
        <p:txBody>
          <a:bodyPr/>
          <a:lstStyle>
            <a:lvl1pPr marL="0" indent="0">
              <a:buNone/>
              <a:defRPr/>
            </a:lvl1pPr>
          </a:lstStyle>
          <a:p>
            <a:r>
              <a:rPr lang="nl-NL"/>
              <a:t>Klik op het pictogram als u een afbeelding wilt toevoegen</a:t>
            </a:r>
            <a:endParaRPr lang="en-GB"/>
          </a:p>
        </p:txBody>
      </p:sp>
      <p:sp>
        <p:nvSpPr>
          <p:cNvPr id="13"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4"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8" name="Straight Connector 17">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5839268"/>
            <a:ext cx="8640000" cy="754435"/>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F9A45DED-12C6-4556-AED7-4487E291DD7F}"/>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62CA731B-21DF-425E-A5F0-1B355DB76663}"/>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300F32F3-B555-428C-AEBD-E8E68E48CF9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188902608"/>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subtitle only">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17"/>
            <a:ext cx="11039996" cy="408278"/>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1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179417F9-0A53-4521-A6B4-A656E99DE2CC}"/>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A232B7C3-12AF-4D6C-924D-AA4FD3BAC3FC}"/>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E7EBE28A-A665-4B00-A02D-1776443B3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525303222"/>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Blank with line">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Rectangle 3">
            <a:extLst>
              <a:ext uri="{FF2B5EF4-FFF2-40B4-BE49-F238E27FC236}">
                <a16:creationId xmlns:a16="http://schemas.microsoft.com/office/drawing/2014/main" id="{6D1B1241-2629-4DC2-AEDD-A5F2BD20EF88}"/>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9BF6AAA7-186C-4159-A55E-587A2DA0BF11}"/>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4E67F9B2-96AA-4617-9588-C1D974DD9C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20575860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Leeg">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120613B4-5379-4006-ACAC-FF3404B33EA4}"/>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2">
            <a:extLst>
              <a:ext uri="{FF2B5EF4-FFF2-40B4-BE49-F238E27FC236}">
                <a16:creationId xmlns:a16="http://schemas.microsoft.com/office/drawing/2014/main" id="{31A8D36B-4D9D-449F-80CD-6BE48FC20746}"/>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4" name="Picture 3" descr="A picture containing clipart&#10;&#10;Description automatically generated">
            <a:extLst>
              <a:ext uri="{FF2B5EF4-FFF2-40B4-BE49-F238E27FC236}">
                <a16:creationId xmlns:a16="http://schemas.microsoft.com/office/drawing/2014/main" id="{1EC7A2AB-09F8-41E5-95B0-7583427BF8E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14192606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5734" y="1363795"/>
            <a:ext cx="11058156" cy="4825868"/>
          </a:xfrm>
          <a:prstGeom prst="rect">
            <a:avLst/>
          </a:prstGeom>
        </p:spPr>
        <p:txBody>
          <a:bodyPr lIns="0" tIns="0" rIns="0" bIns="0"/>
          <a:lstStyle>
            <a:lvl1pPr marL="0" indent="0">
              <a:buNone/>
              <a:defRPr sz="900" b="0"/>
            </a:lvl1pPr>
            <a:lvl2pPr marL="0" indent="0">
              <a:buNone/>
              <a:defRPr sz="900"/>
            </a:lvl2pPr>
            <a:lvl3pPr marL="371475" indent="0">
              <a:buNone/>
              <a:defRPr/>
            </a:lvl3pPr>
            <a:lvl4pPr marL="1028674" indent="0">
              <a:buNone/>
              <a:defRPr/>
            </a:lvl4pPr>
            <a:lvl5pPr marL="1371566" indent="0">
              <a:buNone/>
              <a:defRPr/>
            </a:lvl5pPr>
          </a:lstStyle>
          <a:p>
            <a:pPr lvl="0"/>
            <a:r>
              <a:rPr lang="nl-NL"/>
              <a:t>Klikken om de tekststijl van het model te bewerken</a:t>
            </a:r>
          </a:p>
          <a:p>
            <a:pPr lvl="1"/>
            <a:r>
              <a:rPr lang="nl-NL"/>
              <a:t>Tweede niveau</a:t>
            </a:r>
          </a:p>
        </p:txBody>
      </p:sp>
      <p:sp>
        <p:nvSpPr>
          <p:cNvPr id="20" name="Subtitle 2">
            <a:extLst>
              <a:ext uri="{FF2B5EF4-FFF2-40B4-BE49-F238E27FC236}">
                <a16:creationId xmlns:a16="http://schemas.microsoft.com/office/drawing/2014/main" id="{7B95B8A2-8DCF-524B-AE94-0D60A2C48292}"/>
              </a:ext>
            </a:extLst>
          </p:cNvPr>
          <p:cNvSpPr>
            <a:spLocks noGrp="1"/>
          </p:cNvSpPr>
          <p:nvPr>
            <p:ph type="subTitle" idx="1"/>
          </p:nvPr>
        </p:nvSpPr>
        <p:spPr>
          <a:xfrm>
            <a:off x="576002" y="955520"/>
            <a:ext cx="11039996" cy="268525"/>
          </a:xfrm>
          <a:prstGeom prst="rect">
            <a:avLst/>
          </a:prstGeom>
        </p:spPr>
        <p:txBody>
          <a:bodyPr wrap="square" lIns="0" tIns="0" rIns="0" bIns="0"/>
          <a:lstStyle>
            <a:lvl1pPr marL="0" indent="0" algn="l">
              <a:buNone/>
              <a:defRPr sz="1600" b="0" baseline="0">
                <a:solidFill>
                  <a:schemeClr val="tx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nl-NL"/>
              <a:t>Klikken om de ondertitelstijl van het model te bewerken</a:t>
            </a:r>
            <a:endParaRPr lang="en-US"/>
          </a:p>
        </p:txBody>
      </p:sp>
      <p:sp>
        <p:nvSpPr>
          <p:cNvPr id="21" name="Title 1">
            <a:extLst>
              <a:ext uri="{FF2B5EF4-FFF2-40B4-BE49-F238E27FC236}">
                <a16:creationId xmlns:a16="http://schemas.microsoft.com/office/drawing/2014/main" id="{CCFB2EED-04C3-904C-8E92-3C0237CE5889}"/>
              </a:ext>
            </a:extLst>
          </p:cNvPr>
          <p:cNvSpPr>
            <a:spLocks noGrp="1"/>
          </p:cNvSpPr>
          <p:nvPr>
            <p:ph type="ctrTitle"/>
          </p:nvPr>
        </p:nvSpPr>
        <p:spPr>
          <a:xfrm>
            <a:off x="576000" y="368300"/>
            <a:ext cx="11040000" cy="360000"/>
          </a:xfrm>
          <a:prstGeom prst="rect">
            <a:avLst/>
          </a:prstGeom>
        </p:spPr>
        <p:txBody>
          <a:bodyPr wrap="square" lIns="0" tIns="0" rIns="0" bIns="0" anchor="t" anchorCtr="0"/>
          <a:lstStyle>
            <a:lvl1pPr algn="l">
              <a:lnSpc>
                <a:spcPct val="108000"/>
              </a:lnSpc>
              <a:defRPr sz="2600">
                <a:solidFill>
                  <a:schemeClr val="accent1"/>
                </a:solidFill>
              </a:defRPr>
            </a:lvl1pPr>
          </a:lstStyle>
          <a:p>
            <a:r>
              <a:rPr lang="nl-NL"/>
              <a:t>Klik om stijl te bewerken</a:t>
            </a:r>
            <a:endParaRPr lang="en-US"/>
          </a:p>
        </p:txBody>
      </p:sp>
      <p:cxnSp>
        <p:nvCxnSpPr>
          <p:cNvPr id="22" name="Straight Connector 21">
            <a:extLst>
              <a:ext uri="{FF2B5EF4-FFF2-40B4-BE49-F238E27FC236}">
                <a16:creationId xmlns:a16="http://schemas.microsoft.com/office/drawing/2014/main" id="{902CA1FF-D4A3-4E32-993A-B5BDCEB42C81}"/>
              </a:ext>
            </a:extLst>
          </p:cNvPr>
          <p:cNvCxnSpPr/>
          <p:nvPr userDrawn="1"/>
        </p:nvCxnSpPr>
        <p:spPr>
          <a:xfrm>
            <a:off x="575735" y="868052"/>
            <a:ext cx="11040533"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52E90A51-B0FF-1342-85CA-08C29FDD30CF}"/>
              </a:ext>
            </a:extLst>
          </p:cNvPr>
          <p:cNvSpPr>
            <a:spLocks noGrp="1"/>
          </p:cNvSpPr>
          <p:nvPr>
            <p:ph type="body" sz="quarter" idx="17" hasCustomPrompt="1"/>
          </p:nvPr>
        </p:nvSpPr>
        <p:spPr>
          <a:xfrm>
            <a:off x="569936" y="6197314"/>
            <a:ext cx="8640000" cy="396389"/>
          </a:xfrm>
          <a:prstGeom prst="rect">
            <a:avLst/>
          </a:prstGeom>
        </p:spPr>
        <p:txBody>
          <a:bodyPr lIns="0" anchor="b" anchorCtr="0"/>
          <a:lstStyle>
            <a:lvl1pPr marL="0" indent="0">
              <a:lnSpc>
                <a:spcPct val="100000"/>
              </a:lnSpc>
              <a:spcBef>
                <a:spcPts val="0"/>
              </a:spcBef>
              <a:buNone/>
              <a:defRPr sz="800" i="0">
                <a:solidFill>
                  <a:schemeClr val="tx1"/>
                </a:solidFill>
              </a:defRPr>
            </a:lvl1pPr>
            <a:lvl2pPr marL="342892" indent="0">
              <a:buNone/>
              <a:defRPr sz="600" i="0">
                <a:solidFill>
                  <a:schemeClr val="tx1">
                    <a:lumMod val="50000"/>
                    <a:lumOff val="50000"/>
                  </a:schemeClr>
                </a:solidFill>
              </a:defRPr>
            </a:lvl2pPr>
            <a:lvl3pPr marL="685783" indent="0">
              <a:buNone/>
              <a:defRPr sz="600" i="1"/>
            </a:lvl3pPr>
            <a:lvl4pPr marL="1028675" indent="0">
              <a:buNone/>
              <a:defRPr sz="600" i="1"/>
            </a:lvl4pPr>
            <a:lvl5pPr marL="1371566" indent="0">
              <a:buNone/>
              <a:defRPr sz="600" i="1"/>
            </a:lvl5pPr>
          </a:lstStyle>
          <a:p>
            <a:pPr lvl="0"/>
            <a:r>
              <a:rPr lang="en-US"/>
              <a:t>Place footnotes in this area</a:t>
            </a:r>
          </a:p>
        </p:txBody>
      </p:sp>
      <p:sp>
        <p:nvSpPr>
          <p:cNvPr id="2" name="Rectangle 3">
            <a:extLst>
              <a:ext uri="{FF2B5EF4-FFF2-40B4-BE49-F238E27FC236}">
                <a16:creationId xmlns:a16="http://schemas.microsoft.com/office/drawing/2014/main" id="{B0C8BCA0-F792-43F9-BB14-CFC19A2035A2}"/>
              </a:ext>
            </a:extLst>
          </p:cNvPr>
          <p:cNvSpPr/>
          <p:nvPr userDrawn="1"/>
        </p:nvSpPr>
        <p:spPr>
          <a:xfrm>
            <a:off x="11775639" y="5642303"/>
            <a:ext cx="419935" cy="1219200"/>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tangle 3">
            <a:extLst>
              <a:ext uri="{FF2B5EF4-FFF2-40B4-BE49-F238E27FC236}">
                <a16:creationId xmlns:a16="http://schemas.microsoft.com/office/drawing/2014/main" id="{6FEDE232-C2FD-425E-9B78-F546FE8F3444}"/>
              </a:ext>
            </a:extLst>
          </p:cNvPr>
          <p:cNvSpPr/>
          <p:nvPr userDrawn="1"/>
        </p:nvSpPr>
        <p:spPr>
          <a:xfrm>
            <a:off x="11834807" y="6429170"/>
            <a:ext cx="367408" cy="276999"/>
          </a:xfrm>
          <a:prstGeom prst="rect">
            <a:avLst/>
          </a:prstGeom>
        </p:spPr>
        <p:txBody>
          <a:bodyPr wrap="none">
            <a:spAutoFit/>
          </a:bodyPr>
          <a:lstStyle/>
          <a:p>
            <a:fld id="{478F02DA-AB65-4DE3-8C32-C1DFFF12922F}" type="slidenum">
              <a:rPr lang="nl-NL" sz="1200" b="1" i="0" smtClean="0">
                <a:solidFill>
                  <a:schemeClr val="bg1"/>
                </a:solidFill>
                <a:latin typeface="Calibri" panose="020F0502020204030204" pitchFamily="34" charset="0"/>
                <a:cs typeface="Calibri" panose="020F0502020204030204" pitchFamily="34" charset="0"/>
              </a:rPr>
              <a:pPr/>
              <a:t>‹#›</a:t>
            </a:fld>
            <a:endParaRPr lang="en-US" sz="1200" b="1">
              <a:solidFill>
                <a:schemeClr val="bg1"/>
              </a:solidFill>
            </a:endParaRPr>
          </a:p>
        </p:txBody>
      </p:sp>
      <p:pic>
        <p:nvPicPr>
          <p:cNvPr id="5" name="Picture 4" descr="A picture containing clipart&#10;&#10;Description automatically generated">
            <a:extLst>
              <a:ext uri="{FF2B5EF4-FFF2-40B4-BE49-F238E27FC236}">
                <a16:creationId xmlns:a16="http://schemas.microsoft.com/office/drawing/2014/main" id="{F81B64EB-473B-47D9-84EB-CD58326787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0430" y="6200814"/>
            <a:ext cx="1404000" cy="408235"/>
          </a:xfrm>
          <a:prstGeom prst="rect">
            <a:avLst/>
          </a:prstGeom>
        </p:spPr>
      </p:pic>
    </p:spTree>
    <p:extLst>
      <p:ext uri="{BB962C8B-B14F-4D97-AF65-F5344CB8AC3E}">
        <p14:creationId xmlns:p14="http://schemas.microsoft.com/office/powerpoint/2010/main" val="3435202108"/>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645262" y="1539873"/>
            <a:ext cx="10907945" cy="4416427"/>
          </a:xfrm>
          <a:prstGeom prst="rect">
            <a:avLst/>
          </a:prstGeom>
        </p:spPr>
        <p:txBody>
          <a:bodyPr lIns="0" tIns="0" rIns="0" bIns="0"/>
          <a:lstStyle>
            <a:lvl1pPr marL="0" marR="0" indent="0" algn="l" defTabSz="1172083" rtl="0" eaLnBrk="1" fontAlgn="auto" latinLnBrk="0" hangingPunct="1">
              <a:lnSpc>
                <a:spcPts val="2563"/>
              </a:lnSpc>
              <a:spcBef>
                <a:spcPts val="533"/>
              </a:spcBef>
              <a:spcAft>
                <a:spcPts val="0"/>
              </a:spcAft>
              <a:buClr>
                <a:srgbClr val="007BBF"/>
              </a:buClr>
              <a:buSzTx/>
              <a:buFont typeface="Arial" panose="020B0604020202020204" pitchFamily="34" charset="0"/>
              <a:buNone/>
              <a:tabLst/>
              <a:defRPr sz="2400"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479988" marR="0" indent="273044" algn="l" defTabSz="479988" rtl="0" eaLnBrk="1" fontAlgn="auto" latinLnBrk="0" hangingPunct="1">
              <a:lnSpc>
                <a:spcPts val="2533"/>
              </a:lnSpc>
              <a:spcBef>
                <a:spcPts val="0"/>
              </a:spcBef>
              <a:spcAft>
                <a:spcPts val="0"/>
              </a:spcAft>
              <a:buClr>
                <a:schemeClr val="tx1"/>
              </a:buClr>
              <a:buSzTx/>
              <a:buFont typeface="Arial" panose="020B0604020202020204" pitchFamily="34" charset="0"/>
              <a:buChar char="•"/>
              <a:tabLst/>
              <a:defRPr sz="2133" baseline="0">
                <a:solidFill>
                  <a:schemeClr val="tx2"/>
                </a:solidFill>
                <a:latin typeface="+mn-lt"/>
                <a:ea typeface="Verdana" panose="020B0604030504040204" pitchFamily="34" charset="0"/>
                <a:cs typeface="Verdana" panose="020B0604030504040204" pitchFamily="34" charset="0"/>
              </a:defRPr>
            </a:lvl2pPr>
            <a:lvl3pPr marL="959976"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3pPr>
            <a:lvl4pPr marL="1439964" indent="273593" defTabSz="479988">
              <a:lnSpc>
                <a:spcPts val="2533"/>
              </a:lnSpc>
              <a:spcBef>
                <a:spcPts val="0"/>
              </a:spcBef>
              <a:buClr>
                <a:schemeClr val="tx1"/>
              </a:buClr>
              <a:buFont typeface="Arial" panose="020B0604020202020204" pitchFamily="34" charset="0"/>
              <a:buChar char="•"/>
              <a:defRPr sz="2133" baseline="0">
                <a:solidFill>
                  <a:schemeClr val="tx2"/>
                </a:solidFill>
                <a:latin typeface="+mn-lt"/>
                <a:ea typeface="Verdana" panose="020B0604030504040204" pitchFamily="34" charset="0"/>
                <a:cs typeface="Verdana" panose="020B0604030504040204" pitchFamily="34" charset="0"/>
              </a:defRPr>
            </a:lvl4pPr>
            <a:lvl5pPr marL="2300942" indent="-380990">
              <a:lnSpc>
                <a:spcPts val="2533"/>
              </a:lnSpc>
              <a:spcBef>
                <a:spcPts val="0"/>
              </a:spcBef>
              <a:buClr>
                <a:schemeClr val="tx1"/>
              </a:buClr>
              <a:buFont typeface="Arial" panose="020B0604020202020204" pitchFamily="34" charset="0"/>
              <a:buChar char="•"/>
              <a:defRPr sz="2133">
                <a:solidFill>
                  <a:schemeClr val="tx2"/>
                </a:solidFill>
                <a:latin typeface="+mn-lt"/>
                <a:ea typeface="Verdana" panose="020B0604030504040204" pitchFamily="34" charset="0"/>
                <a:cs typeface="Verdana" panose="020B0604030504040204" pitchFamily="34" charset="0"/>
              </a:defRPr>
            </a:lvl5pPr>
            <a:lvl6pPr marL="2399940" indent="273593">
              <a:lnSpc>
                <a:spcPts val="2533"/>
              </a:lnSpc>
              <a:spcBef>
                <a:spcPts val="0"/>
              </a:spcBef>
              <a:buClr>
                <a:schemeClr val="tx1"/>
              </a:buClr>
              <a:buFont typeface="Arial" panose="020B0604020202020204" pitchFamily="34" charset="0"/>
              <a:buChar char="•"/>
              <a:defRPr sz="2133">
                <a:solidFill>
                  <a:schemeClr val="tx2"/>
                </a:solidFill>
                <a:latin typeface="+mn-lt"/>
              </a:defRPr>
            </a:lvl6pPr>
          </a:lstStyle>
          <a:p>
            <a:pPr lvl="0"/>
            <a:r>
              <a:rPr lang="en-US"/>
              <a:t>Bullet points option 1 Text</a:t>
            </a:r>
          </a:p>
          <a:p>
            <a:pPr lvl="1"/>
            <a:r>
              <a:rPr lang="en-US"/>
              <a:t>Click to edit master bullet title style</a:t>
            </a:r>
          </a:p>
          <a:p>
            <a:pPr lvl="0"/>
            <a:r>
              <a:rPr lang="en-US"/>
              <a:t>Text</a:t>
            </a:r>
          </a:p>
          <a:p>
            <a:pPr lvl="1"/>
            <a:r>
              <a:rPr lang="en-US"/>
              <a:t>Click to edit master bullet title style level 1</a:t>
            </a:r>
          </a:p>
          <a:p>
            <a:pPr lvl="2"/>
            <a:r>
              <a:rPr lang="en-US"/>
              <a:t>Click to edit bullet level 2</a:t>
            </a:r>
          </a:p>
          <a:p>
            <a:pPr lvl="3"/>
            <a:r>
              <a:rPr lang="en-US"/>
              <a:t>Click to edit bullet level 3</a:t>
            </a:r>
          </a:p>
        </p:txBody>
      </p:sp>
      <p:sp>
        <p:nvSpPr>
          <p:cNvPr id="14" name="Tijdelijke aanduiding voor tekst 14"/>
          <p:cNvSpPr>
            <a:spLocks noGrp="1"/>
          </p:cNvSpPr>
          <p:nvPr>
            <p:ph type="body" sz="quarter" idx="16" hasCustomPrompt="1"/>
          </p:nvPr>
        </p:nvSpPr>
        <p:spPr>
          <a:xfrm>
            <a:off x="645262" y="3270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tx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5" name="Tijdelijke aanduiding voor tekst 16"/>
          <p:cNvSpPr>
            <a:spLocks noGrp="1"/>
          </p:cNvSpPr>
          <p:nvPr>
            <p:ph type="body" sz="quarter" idx="17" hasCustomPrompt="1"/>
          </p:nvPr>
        </p:nvSpPr>
        <p:spPr>
          <a:xfrm>
            <a:off x="644817" y="898524"/>
            <a:ext cx="10894225" cy="291067"/>
          </a:xfrm>
          <a:prstGeom prst="rect">
            <a:avLst/>
          </a:prstGeom>
        </p:spPr>
        <p:txBody>
          <a:bodyPr lIns="0" tIns="0" rIns="0" bIns="0" anchor="t"/>
          <a:lstStyle>
            <a:lvl1pPr marL="0" indent="0">
              <a:lnSpc>
                <a:spcPts val="2045"/>
              </a:lnSpc>
              <a:spcBef>
                <a:spcPts val="0"/>
              </a:spcBef>
              <a:buNone/>
              <a:defRPr sz="1867">
                <a:solidFill>
                  <a:schemeClr val="tx2"/>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sub heading (inspirational) title style</a:t>
            </a:r>
            <a:endParaRPr lang="nl-NL"/>
          </a:p>
        </p:txBody>
      </p:sp>
      <p:pic>
        <p:nvPicPr>
          <p:cNvPr id="9" name="Afbeelding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
        <p:nvSpPr>
          <p:cNvPr id="10"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6"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spTree>
    <p:extLst>
      <p:ext uri="{BB962C8B-B14F-4D97-AF65-F5344CB8AC3E}">
        <p14:creationId xmlns:p14="http://schemas.microsoft.com/office/powerpoint/2010/main" val="296032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isclaimer Slide - Blue background">
    <p:spTree>
      <p:nvGrpSpPr>
        <p:cNvPr id="1" name=""/>
        <p:cNvGrpSpPr/>
        <p:nvPr/>
      </p:nvGrpSpPr>
      <p:grpSpPr>
        <a:xfrm>
          <a:off x="0" y="0"/>
          <a:ext cx="0" cy="0"/>
          <a:chOff x="0" y="0"/>
          <a:chExt cx="0" cy="0"/>
        </a:xfrm>
      </p:grpSpPr>
      <p:sp>
        <p:nvSpPr>
          <p:cNvPr id="2" name="Rechthoek 1"/>
          <p:cNvSpPr/>
          <p:nvPr userDrawn="1"/>
        </p:nvSpPr>
        <p:spPr>
          <a:xfrm>
            <a:off x="1109" y="-1"/>
            <a:ext cx="12190892" cy="6327092"/>
          </a:xfrm>
          <a:prstGeom prst="rect">
            <a:avLst/>
          </a:prstGeom>
          <a:solidFill>
            <a:srgbClr val="0069B4"/>
          </a:solidFill>
          <a:ln>
            <a:noFill/>
          </a:ln>
        </p:spPr>
        <p:style>
          <a:lnRef idx="2">
            <a:schemeClr val="accent1">
              <a:shade val="50000"/>
            </a:schemeClr>
          </a:lnRef>
          <a:fillRef idx="1">
            <a:schemeClr val="accent1"/>
          </a:fillRef>
          <a:effectRef idx="0">
            <a:schemeClr val="accent1"/>
          </a:effectRef>
          <a:fontRef idx="minor">
            <a:schemeClr val="lt1"/>
          </a:fontRef>
        </p:style>
        <p:txBody>
          <a:bodyPr lIns="117212" tIns="58605" rIns="117212" bIns="58605" rtlCol="0" anchor="ctr"/>
          <a:lstStyle/>
          <a:p>
            <a:pPr algn="ctr"/>
            <a:endParaRPr lang="nl-NL" sz="2267"/>
          </a:p>
        </p:txBody>
      </p:sp>
      <p:sp>
        <p:nvSpPr>
          <p:cNvPr id="22" name="Tijdelijke aanduiding voor tekst 16"/>
          <p:cNvSpPr>
            <a:spLocks noGrp="1"/>
          </p:cNvSpPr>
          <p:nvPr>
            <p:ph type="body" sz="quarter" idx="12" hasCustomPrompt="1"/>
          </p:nvPr>
        </p:nvSpPr>
        <p:spPr>
          <a:xfrm>
            <a:off x="635489" y="1050923"/>
            <a:ext cx="10938933" cy="4892676"/>
          </a:xfrm>
          <a:prstGeom prst="rect">
            <a:avLst/>
          </a:prstGeom>
        </p:spPr>
        <p:txBody>
          <a:bodyPr lIns="0" tIns="0" rIns="0" bIns="0"/>
          <a:lstStyle>
            <a:lvl1pPr marL="0" indent="0">
              <a:lnSpc>
                <a:spcPct val="100000"/>
              </a:lnSpc>
              <a:spcBef>
                <a:spcPts val="128"/>
              </a:spcBef>
              <a:buNone/>
              <a:defRPr sz="1333">
                <a:solidFill>
                  <a:schemeClr val="bg1"/>
                </a:solidFill>
                <a:latin typeface="+mj-lt"/>
                <a:ea typeface="Verdana" panose="020B0604030504040204" pitchFamily="34" charset="0"/>
                <a:cs typeface="Verdana" panose="020B0604030504040204" pitchFamily="34" charset="0"/>
              </a:defRPr>
            </a:lvl1pPr>
            <a:lvl2pPr marL="58604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172083"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758125"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344167" indent="0">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 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a:p>
            <a:pPr lvl="0"/>
            <a:endParaRPr lang="nl-NL"/>
          </a:p>
          <a:p>
            <a:pPr lvl="0"/>
            <a:r>
              <a:rPr lang="nl-NL"/>
              <a:t>Dit is een faketekst. Alles wat hier staat is slechts om een indruk te geven van het grafische effect van tekst op deze plek. Wat u hier leest is een voorbeeld tekst. Deze wordt later vervangen door de uiteindelijke tekst, die nu nog niet bekend is. De faketekst is dus een tekst die eigenlijk nergens over gaat.</a:t>
            </a:r>
          </a:p>
        </p:txBody>
      </p:sp>
      <p:sp>
        <p:nvSpPr>
          <p:cNvPr id="12" name="Tijdelijke aanduiding voor tekst 14"/>
          <p:cNvSpPr>
            <a:spLocks noGrp="1"/>
          </p:cNvSpPr>
          <p:nvPr>
            <p:ph type="body" sz="quarter" idx="16" hasCustomPrompt="1"/>
          </p:nvPr>
        </p:nvSpPr>
        <p:spPr>
          <a:xfrm>
            <a:off x="645262" y="365126"/>
            <a:ext cx="10907945" cy="515863"/>
          </a:xfrm>
          <a:prstGeom prst="rect">
            <a:avLst/>
          </a:prstGeom>
        </p:spPr>
        <p:txBody>
          <a:bodyPr lIns="0" tIns="0" rIns="0" bIns="0" anchor="b" anchorCtr="0"/>
          <a:lstStyle>
            <a:lvl1pPr marL="0" indent="0">
              <a:lnSpc>
                <a:spcPts val="3863"/>
              </a:lnSpc>
              <a:spcBef>
                <a:spcPts val="0"/>
              </a:spcBef>
              <a:buNone/>
              <a:defRPr sz="3467" b="0" baseline="0">
                <a:solidFill>
                  <a:schemeClr val="bg1"/>
                </a:solidFill>
                <a:latin typeface="+mj-lt"/>
                <a:ea typeface="Verdana" panose="020B0604030504040204" pitchFamily="34" charset="0"/>
                <a:cs typeface="Verdana" panose="020B0604030504040204" pitchFamily="34" charset="0"/>
              </a:defRPr>
            </a:lvl1pPr>
            <a:lvl2pPr marL="586043" indent="0">
              <a:buNone/>
              <a:defRPr>
                <a:latin typeface="Verdana" panose="020B0604030504040204" pitchFamily="34" charset="0"/>
                <a:ea typeface="Verdana" panose="020B0604030504040204" pitchFamily="34" charset="0"/>
                <a:cs typeface="Verdana" panose="020B0604030504040204" pitchFamily="34" charset="0"/>
              </a:defRPr>
            </a:lvl2pPr>
            <a:lvl3pPr marL="1172083" indent="0">
              <a:buNone/>
              <a:defRPr>
                <a:latin typeface="Verdana" panose="020B0604030504040204" pitchFamily="34" charset="0"/>
                <a:ea typeface="Verdana" panose="020B0604030504040204" pitchFamily="34" charset="0"/>
                <a:cs typeface="Verdana" panose="020B0604030504040204" pitchFamily="34" charset="0"/>
              </a:defRPr>
            </a:lvl3pPr>
            <a:lvl4pPr marL="1758125" indent="0">
              <a:buNone/>
              <a:defRPr>
                <a:latin typeface="Verdana" panose="020B0604030504040204" pitchFamily="34" charset="0"/>
                <a:ea typeface="Verdana" panose="020B0604030504040204" pitchFamily="34" charset="0"/>
                <a:cs typeface="Verdana" panose="020B0604030504040204" pitchFamily="34" charset="0"/>
              </a:defRPr>
            </a:lvl4pPr>
            <a:lvl5pPr marL="2344167"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functional) title style</a:t>
            </a:r>
          </a:p>
        </p:txBody>
      </p:sp>
      <p:sp>
        <p:nvSpPr>
          <p:cNvPr id="11" name="Text Box 27"/>
          <p:cNvSpPr txBox="1">
            <a:spLocks noChangeArrowheads="1"/>
          </p:cNvSpPr>
          <p:nvPr userDrawn="1"/>
        </p:nvSpPr>
        <p:spPr bwMode="auto">
          <a:xfrm>
            <a:off x="11023601" y="6399957"/>
            <a:ext cx="992963" cy="360481"/>
          </a:xfrm>
          <a:prstGeom prst="rect">
            <a:avLst/>
          </a:prstGeom>
          <a:noFill/>
          <a:ln w="9525" algn="ctr">
            <a:noFill/>
            <a:miter lim="800000"/>
            <a:headEnd/>
            <a:tailEnd/>
          </a:ln>
          <a:effectLst/>
        </p:spPr>
        <p:txBody>
          <a:bodyPr wrap="square" lIns="137540" tIns="68769" rIns="137540" bIns="68769" anchor="b">
            <a:spAutoFit/>
          </a:bodyPr>
          <a:lstStyle/>
          <a:p>
            <a:pPr algn="l">
              <a:lnSpc>
                <a:spcPct val="90000"/>
              </a:lnSpc>
            </a:pPr>
            <a:r>
              <a:rPr lang="en-US" sz="1600" baseline="0">
                <a:solidFill>
                  <a:schemeClr val="tx1"/>
                </a:solidFill>
              </a:rPr>
              <a:t>    </a:t>
            </a:r>
            <a:r>
              <a:rPr lang="en-US" sz="1600">
                <a:solidFill>
                  <a:schemeClr val="tx1"/>
                </a:solidFill>
              </a:rPr>
              <a:t> </a:t>
            </a:r>
            <a:fld id="{27E0A068-2F96-4452-B6AF-D7C6C78D01BA}" type="slidenum">
              <a:rPr lang="en-US" sz="1600" smtClean="0">
                <a:solidFill>
                  <a:schemeClr val="tx1"/>
                </a:solidFill>
                <a:latin typeface="+mn-lt"/>
              </a:rPr>
              <a:pPr algn="l">
                <a:lnSpc>
                  <a:spcPct val="90000"/>
                </a:lnSpc>
              </a:pPr>
              <a:t>‹#›</a:t>
            </a:fld>
            <a:endParaRPr lang="en-US" sz="1600">
              <a:solidFill>
                <a:schemeClr val="tx1"/>
              </a:solidFill>
              <a:latin typeface="+mn-lt"/>
            </a:endParaRPr>
          </a:p>
        </p:txBody>
      </p:sp>
      <p:sp>
        <p:nvSpPr>
          <p:cNvPr id="14" name="Tijdelijke aanduiding voor voettekst 7"/>
          <p:cNvSpPr>
            <a:spLocks noGrp="1"/>
          </p:cNvSpPr>
          <p:nvPr>
            <p:ph type="ftr" sz="quarter" idx="11"/>
          </p:nvPr>
        </p:nvSpPr>
        <p:spPr>
          <a:xfrm>
            <a:off x="6741160" y="6404564"/>
            <a:ext cx="4508501" cy="331200"/>
          </a:xfrm>
          <a:prstGeom prst="rect">
            <a:avLst/>
          </a:prstGeom>
        </p:spPr>
        <p:txBody>
          <a:bodyPr anchor="ctr" anchorCtr="0"/>
          <a:lstStyle>
            <a:lvl1pPr algn="r">
              <a:defRPr sz="1600"/>
            </a:lvl1pPr>
          </a:lstStyle>
          <a:p>
            <a:r>
              <a:rPr lang="en-US"/>
              <a:t>Click to edit footer project title</a:t>
            </a:r>
            <a:endParaRPr lang="nl-NL"/>
          </a:p>
        </p:txBody>
      </p:sp>
      <p:pic>
        <p:nvPicPr>
          <p:cNvPr id="8" name="Afbeelding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231257"/>
            <a:ext cx="12192000" cy="635000"/>
          </a:xfrm>
          <a:prstGeom prst="rect">
            <a:avLst/>
          </a:prstGeom>
        </p:spPr>
      </p:pic>
    </p:spTree>
    <p:extLst>
      <p:ext uri="{BB962C8B-B14F-4D97-AF65-F5344CB8AC3E}">
        <p14:creationId xmlns:p14="http://schemas.microsoft.com/office/powerpoint/2010/main" val="2249954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ullets with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6" name="Text Placeholder 5">
            <a:extLst>
              <a:ext uri="{FF2B5EF4-FFF2-40B4-BE49-F238E27FC236}">
                <a16:creationId xmlns:a16="http://schemas.microsoft.com/office/drawing/2014/main" id="{D080D343-9626-4395-BD76-3B90D4250DD5}"/>
              </a:ext>
            </a:extLst>
          </p:cNvPr>
          <p:cNvSpPr>
            <a:spLocks noGrp="1"/>
          </p:cNvSpPr>
          <p:nvPr>
            <p:ph type="body" sz="quarter" idx="11" hasCustomPrompt="1"/>
          </p:nvPr>
        </p:nvSpPr>
        <p:spPr>
          <a:xfrm>
            <a:off x="579438" y="1203769"/>
            <a:ext cx="10515600" cy="462986"/>
          </a:xfrm>
          <a:prstGeom prst="rect">
            <a:avLst/>
          </a:prstGeom>
        </p:spPr>
        <p:txBody>
          <a:bodyPr lIns="0"/>
          <a:lstStyle>
            <a:lvl1pPr marL="0" indent="0">
              <a:buNone/>
              <a:defRPr sz="2000" b="1">
                <a:solidFill>
                  <a:schemeClr val="tx2"/>
                </a:solidFill>
              </a:defRPr>
            </a:lvl1pPr>
          </a:lstStyle>
          <a:p>
            <a:pPr lvl="0"/>
            <a:r>
              <a:rPr lang="en-US"/>
              <a:t>Click to edit sub title style</a:t>
            </a:r>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944546"/>
            <a:ext cx="10531475" cy="4120588"/>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7393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guide id="2" orient="horz" pos="323">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err="1"/>
              <a:t>consectetur</a:t>
            </a:r>
            <a:r>
              <a:rPr lang="nl-NL"/>
              <a:t> </a:t>
            </a:r>
            <a:r>
              <a:rPr lang="nl-NL" err="1"/>
              <a:t>adipiscing</a:t>
            </a:r>
            <a:r>
              <a:rPr lang="nl-NL"/>
              <a:t> </a:t>
            </a:r>
            <a:r>
              <a:rPr lang="nl-NL" err="1"/>
              <a:t>elit</a:t>
            </a:r>
            <a:r>
              <a:rPr lang="nl-NL"/>
              <a:t>. </a:t>
            </a:r>
            <a:r>
              <a:rPr lang="nl-NL" err="1"/>
              <a:t>Donec</a:t>
            </a:r>
            <a:r>
              <a:rPr lang="nl-NL"/>
              <a:t> </a:t>
            </a:r>
            <a:r>
              <a:rPr lang="nl-NL" err="1"/>
              <a:t>mauris</a:t>
            </a:r>
            <a:r>
              <a:rPr lang="nl-NL"/>
              <a:t> </a:t>
            </a:r>
            <a:r>
              <a:rPr lang="nl-NL" err="1"/>
              <a:t>lorem</a:t>
            </a:r>
            <a:r>
              <a:rPr lang="nl-NL"/>
              <a:t>, vestibulum </a:t>
            </a:r>
            <a:r>
              <a:rPr lang="nl-NL" err="1"/>
              <a:t>ac</a:t>
            </a:r>
            <a:r>
              <a:rPr lang="nl-NL"/>
              <a:t> </a:t>
            </a:r>
            <a:r>
              <a:rPr lang="nl-NL" err="1"/>
              <a:t>rutrum</a:t>
            </a:r>
            <a:r>
              <a:rPr lang="nl-NL"/>
              <a:t> </a:t>
            </a:r>
            <a:r>
              <a:rPr lang="nl-NL" err="1"/>
              <a:t>id</a:t>
            </a:r>
            <a:r>
              <a:rPr lang="nl-NL"/>
              <a:t>, </a:t>
            </a:r>
            <a:r>
              <a:rPr lang="nl-NL" err="1"/>
              <a:t>suscipit</a:t>
            </a:r>
            <a:r>
              <a:rPr lang="nl-NL"/>
              <a:t> in </a:t>
            </a:r>
            <a:r>
              <a:rPr lang="nl-NL" err="1"/>
              <a:t>dui.</a:t>
            </a:r>
            <a:r>
              <a:rPr lang="nl-NL"/>
              <a:t> </a:t>
            </a:r>
            <a:r>
              <a:rPr lang="nl-NL" err="1"/>
              <a:t>Donec</a:t>
            </a:r>
            <a:r>
              <a:rPr lang="nl-NL"/>
              <a:t> vitae </a:t>
            </a:r>
            <a:r>
              <a:rPr lang="nl-NL" err="1"/>
              <a:t>dapibus</a:t>
            </a:r>
            <a:r>
              <a:rPr lang="nl-NL"/>
              <a:t> </a:t>
            </a:r>
            <a:r>
              <a:rPr lang="nl-NL" err="1"/>
              <a:t>tellus</a:t>
            </a:r>
            <a:r>
              <a:rPr lang="nl-NL"/>
              <a:t>. Vestibulum </a:t>
            </a:r>
            <a:r>
              <a:rPr lang="nl-NL" err="1"/>
              <a:t>nunc</a:t>
            </a:r>
            <a:r>
              <a:rPr lang="nl-NL"/>
              <a:t> </a:t>
            </a:r>
            <a:r>
              <a:rPr lang="nl-NL" err="1"/>
              <a:t>sem</a:t>
            </a:r>
            <a:r>
              <a:rPr lang="nl-NL"/>
              <a:t>, </a:t>
            </a:r>
            <a:r>
              <a:rPr lang="nl-NL" err="1"/>
              <a:t>finibus</a:t>
            </a:r>
            <a:r>
              <a:rPr lang="nl-NL"/>
              <a:t> </a:t>
            </a:r>
            <a:r>
              <a:rPr lang="nl-NL" err="1"/>
              <a:t>quis</a:t>
            </a:r>
            <a:r>
              <a:rPr lang="nl-NL"/>
              <a:t> </a:t>
            </a:r>
            <a:r>
              <a:rPr lang="nl-NL" err="1"/>
              <a:t>elementum</a:t>
            </a:r>
            <a:r>
              <a:rPr lang="nl-NL"/>
              <a:t> </a:t>
            </a:r>
            <a:r>
              <a:rPr lang="nl-NL" err="1"/>
              <a:t>ac</a:t>
            </a:r>
            <a:r>
              <a:rPr lang="nl-NL"/>
              <a:t>, </a:t>
            </a:r>
            <a:r>
              <a:rPr lang="nl-NL" err="1"/>
              <a:t>varius</a:t>
            </a:r>
            <a:r>
              <a:rPr lang="nl-NL"/>
              <a:t> </a:t>
            </a:r>
            <a:r>
              <a:rPr lang="nl-NL" err="1"/>
              <a:t>ac</a:t>
            </a:r>
            <a:r>
              <a:rPr lang="nl-NL"/>
              <a:t> </a:t>
            </a:r>
            <a:r>
              <a:rPr lang="nl-NL" err="1"/>
              <a:t>tellus</a:t>
            </a:r>
            <a:r>
              <a:rPr lang="nl-NL"/>
              <a:t>. Nam </a:t>
            </a:r>
            <a:r>
              <a:rPr lang="nl-NL" err="1"/>
              <a:t>faucibus</a:t>
            </a:r>
            <a:r>
              <a:rPr lang="nl-NL"/>
              <a:t> </a:t>
            </a:r>
            <a:r>
              <a:rPr lang="nl-NL" err="1"/>
              <a:t>faucibus</a:t>
            </a:r>
            <a:r>
              <a:rPr lang="nl-NL"/>
              <a:t> </a:t>
            </a:r>
            <a:r>
              <a:rPr lang="nl-NL" err="1"/>
              <a:t>venenatis</a:t>
            </a:r>
            <a:r>
              <a:rPr lang="nl-NL"/>
              <a:t>. </a:t>
            </a:r>
            <a:r>
              <a:rPr lang="nl-NL" err="1"/>
              <a:t>Donec</a:t>
            </a:r>
            <a:r>
              <a:rPr lang="nl-NL"/>
              <a:t> </a:t>
            </a:r>
            <a:r>
              <a:rPr lang="nl-NL" err="1"/>
              <a:t>nec</a:t>
            </a:r>
            <a:r>
              <a:rPr lang="nl-NL"/>
              <a:t> </a:t>
            </a:r>
            <a:r>
              <a:rPr lang="nl-NL" err="1"/>
              <a:t>arcu</a:t>
            </a:r>
            <a:r>
              <a:rPr lang="nl-NL"/>
              <a:t> </a:t>
            </a:r>
            <a:r>
              <a:rPr lang="nl-NL" err="1"/>
              <a:t>velit</a:t>
            </a:r>
            <a:r>
              <a:rPr lang="nl-NL"/>
              <a:t>. </a:t>
            </a:r>
            <a:r>
              <a:rPr lang="nl-NL" err="1"/>
              <a:t>Fusce</a:t>
            </a:r>
            <a:r>
              <a:rPr lang="nl-NL"/>
              <a:t> </a:t>
            </a:r>
            <a:r>
              <a:rPr lang="nl-NL" err="1"/>
              <a:t>viverra</a:t>
            </a:r>
            <a:r>
              <a:rPr lang="nl-NL"/>
              <a:t>, </a:t>
            </a:r>
            <a:r>
              <a:rPr lang="nl-NL" err="1"/>
              <a:t>dui</a:t>
            </a:r>
            <a:r>
              <a:rPr lang="nl-NL"/>
              <a:t> vitae </a:t>
            </a:r>
            <a:r>
              <a:rPr lang="nl-NL" err="1"/>
              <a:t>euismod</a:t>
            </a:r>
            <a:r>
              <a:rPr lang="nl-NL"/>
              <a:t> </a:t>
            </a:r>
            <a:r>
              <a:rPr lang="nl-NL" err="1"/>
              <a:t>mollis</a:t>
            </a:r>
            <a:r>
              <a:rPr lang="nl-NL"/>
              <a:t>, </a:t>
            </a:r>
            <a:r>
              <a:rPr lang="nl-NL" err="1"/>
              <a:t>tortor</a:t>
            </a:r>
            <a:r>
              <a:rPr lang="nl-NL"/>
              <a:t> magna </a:t>
            </a:r>
            <a:r>
              <a:rPr lang="nl-NL" err="1"/>
              <a:t>egestas</a:t>
            </a:r>
            <a:r>
              <a:rPr lang="nl-NL"/>
              <a:t> </a:t>
            </a:r>
            <a:r>
              <a:rPr lang="nl-NL" err="1"/>
              <a:t>nunc</a:t>
            </a:r>
            <a:r>
              <a:rPr lang="nl-NL"/>
              <a:t>, et </a:t>
            </a:r>
            <a:r>
              <a:rPr lang="nl-NL" err="1"/>
              <a:t>suscipit</a:t>
            </a:r>
            <a:r>
              <a:rPr lang="nl-NL"/>
              <a:t> </a:t>
            </a:r>
            <a:r>
              <a:rPr lang="nl-NL" err="1"/>
              <a:t>nunc</a:t>
            </a:r>
            <a:r>
              <a:rPr lang="nl-NL"/>
              <a:t> ex </a:t>
            </a:r>
            <a:r>
              <a:rPr lang="nl-NL" err="1"/>
              <a:t>quis</a:t>
            </a:r>
            <a:r>
              <a:rPr lang="nl-NL"/>
              <a:t> </a:t>
            </a:r>
            <a:r>
              <a:rPr lang="nl-NL" err="1"/>
              <a:t>nunc</a:t>
            </a:r>
            <a:r>
              <a:rPr lang="nl-NL"/>
              <a:t>. </a:t>
            </a:r>
            <a:r>
              <a:rPr lang="nl-NL" err="1"/>
              <a:t>Pellentesque</a:t>
            </a:r>
            <a:r>
              <a:rPr lang="nl-NL"/>
              <a:t> </a:t>
            </a:r>
            <a:r>
              <a:rPr lang="nl-NL" err="1"/>
              <a:t>habitant</a:t>
            </a:r>
            <a:r>
              <a:rPr lang="nl-NL"/>
              <a:t> </a:t>
            </a:r>
            <a:r>
              <a:rPr lang="nl-NL" err="1"/>
              <a:t>morbi</a:t>
            </a:r>
            <a:r>
              <a:rPr lang="nl-NL"/>
              <a:t> </a:t>
            </a:r>
            <a:r>
              <a:rPr lang="nl-NL" err="1"/>
              <a:t>tristique</a:t>
            </a:r>
            <a:r>
              <a:rPr lang="nl-NL"/>
              <a:t> </a:t>
            </a:r>
            <a:r>
              <a:rPr lang="nl-NL" err="1"/>
              <a:t>senectus</a:t>
            </a:r>
            <a:r>
              <a:rPr lang="nl-NL"/>
              <a:t> et </a:t>
            </a:r>
            <a:r>
              <a:rPr lang="nl-NL" err="1"/>
              <a:t>netus</a:t>
            </a:r>
            <a:r>
              <a:rPr lang="nl-NL"/>
              <a:t> et </a:t>
            </a:r>
            <a:r>
              <a:rPr lang="nl-NL" err="1"/>
              <a:t>malesuada</a:t>
            </a:r>
            <a:r>
              <a:rPr lang="nl-NL"/>
              <a:t> </a:t>
            </a:r>
            <a:r>
              <a:rPr lang="nl-NL" err="1"/>
              <a:t>fames</a:t>
            </a:r>
            <a:r>
              <a:rPr lang="nl-NL"/>
              <a:t> </a:t>
            </a:r>
            <a:r>
              <a:rPr lang="nl-NL" err="1"/>
              <a:t>ac</a:t>
            </a:r>
            <a:r>
              <a:rPr lang="nl-NL"/>
              <a:t> </a:t>
            </a:r>
            <a:r>
              <a:rPr lang="nl-NL" err="1"/>
              <a:t>turpis</a:t>
            </a:r>
            <a:r>
              <a:rPr lang="nl-NL"/>
              <a:t> </a:t>
            </a:r>
            <a:r>
              <a:rPr lang="nl-NL" err="1"/>
              <a:t>egestas</a:t>
            </a:r>
            <a:r>
              <a:rPr lang="nl-NL"/>
              <a:t>. Integer </a:t>
            </a:r>
            <a:r>
              <a:rPr lang="nl-NL" err="1"/>
              <a:t>eget</a:t>
            </a:r>
            <a:r>
              <a:rPr lang="nl-NL"/>
              <a:t> auctor </a:t>
            </a:r>
            <a:r>
              <a:rPr lang="nl-NL" err="1"/>
              <a:t>nunc</a:t>
            </a:r>
            <a:r>
              <a:rPr lang="nl-NL"/>
              <a:t>. </a:t>
            </a:r>
          </a:p>
          <a:p>
            <a:pPr lvl="0"/>
            <a:endParaRPr lang="nl-NL"/>
          </a:p>
          <a:p>
            <a:pPr lvl="0"/>
            <a:r>
              <a:rPr lang="nl-NL"/>
              <a:t>Maecenas tincidunt eleifend consequat. </a:t>
            </a:r>
            <a:r>
              <a:rPr lang="nl-NL" err="1"/>
              <a:t>Nulla</a:t>
            </a:r>
            <a:r>
              <a:rPr lang="nl-NL"/>
              <a:t> </a:t>
            </a:r>
            <a:r>
              <a:rPr lang="nl-NL" err="1"/>
              <a:t>efficitur</a:t>
            </a:r>
            <a:r>
              <a:rPr lang="nl-NL"/>
              <a:t> </a:t>
            </a:r>
            <a:r>
              <a:rPr lang="nl-NL" err="1"/>
              <a:t>urna</a:t>
            </a:r>
            <a:r>
              <a:rPr lang="nl-NL"/>
              <a:t> et massa </a:t>
            </a:r>
            <a:r>
              <a:rPr lang="nl-NL" err="1"/>
              <a:t>dapibus</a:t>
            </a:r>
            <a:r>
              <a:rPr lang="nl-NL"/>
              <a:t> maximus. </a:t>
            </a:r>
            <a:r>
              <a:rPr lang="nl-NL" err="1"/>
              <a:t>Maecenas</a:t>
            </a:r>
            <a:r>
              <a:rPr lang="nl-NL"/>
              <a:t> </a:t>
            </a:r>
            <a:r>
              <a:rPr lang="nl-NL" err="1"/>
              <a:t>sit</a:t>
            </a:r>
            <a:r>
              <a:rPr lang="nl-NL"/>
              <a:t> </a:t>
            </a:r>
            <a:r>
              <a:rPr lang="nl-NL" err="1"/>
              <a:t>amet</a:t>
            </a:r>
            <a:r>
              <a:rPr lang="nl-NL"/>
              <a:t> </a:t>
            </a:r>
            <a:r>
              <a:rPr lang="nl-NL" err="1"/>
              <a:t>risus</a:t>
            </a:r>
            <a:r>
              <a:rPr lang="nl-NL"/>
              <a:t> </a:t>
            </a:r>
            <a:r>
              <a:rPr lang="nl-NL" err="1"/>
              <a:t>pretium</a:t>
            </a:r>
            <a:r>
              <a:rPr lang="nl-NL"/>
              <a:t>, </a:t>
            </a:r>
            <a:r>
              <a:rPr lang="nl-NL" err="1"/>
              <a:t>sagittis</a:t>
            </a:r>
            <a:r>
              <a:rPr lang="nl-NL"/>
              <a:t> </a:t>
            </a:r>
            <a:r>
              <a:rPr lang="nl-NL" err="1"/>
              <a:t>dui</a:t>
            </a:r>
            <a:r>
              <a:rPr lang="nl-NL"/>
              <a:t> ut, </a:t>
            </a:r>
            <a:r>
              <a:rPr lang="nl-NL" err="1"/>
              <a:t>consectetur</a:t>
            </a:r>
            <a:r>
              <a:rPr lang="nl-NL"/>
              <a:t> </a:t>
            </a:r>
            <a:r>
              <a:rPr lang="nl-NL" err="1"/>
              <a:t>purus</a:t>
            </a:r>
            <a:r>
              <a:rPr lang="nl-NL"/>
              <a:t>. </a:t>
            </a:r>
            <a:r>
              <a:rPr lang="nl-NL" err="1"/>
              <a:t>Phasellus</a:t>
            </a:r>
            <a:r>
              <a:rPr lang="nl-NL"/>
              <a:t> auctor </a:t>
            </a:r>
            <a:r>
              <a:rPr lang="nl-NL" err="1"/>
              <a:t>consectetur</a:t>
            </a:r>
            <a:r>
              <a:rPr lang="nl-NL"/>
              <a:t> </a:t>
            </a:r>
            <a:r>
              <a:rPr lang="nl-NL" err="1"/>
              <a:t>arcu</a:t>
            </a:r>
            <a:r>
              <a:rPr lang="nl-NL"/>
              <a:t> a </a:t>
            </a:r>
            <a:r>
              <a:rPr lang="nl-NL" err="1"/>
              <a:t>consequat</a:t>
            </a:r>
            <a:r>
              <a:rPr lang="nl-NL"/>
              <a:t>. Vestibulum </a:t>
            </a:r>
            <a:r>
              <a:rPr lang="nl-NL" err="1"/>
              <a:t>congue</a:t>
            </a:r>
            <a:r>
              <a:rPr lang="nl-NL"/>
              <a:t> </a:t>
            </a:r>
            <a:r>
              <a:rPr lang="nl-NL" err="1"/>
              <a:t>sed</a:t>
            </a:r>
            <a:r>
              <a:rPr lang="nl-NL"/>
              <a:t> </a:t>
            </a:r>
            <a:r>
              <a:rPr lang="nl-NL" err="1"/>
              <a:t>orci</a:t>
            </a:r>
            <a:r>
              <a:rPr lang="nl-NL"/>
              <a:t> </a:t>
            </a:r>
            <a:r>
              <a:rPr lang="nl-NL" err="1"/>
              <a:t>efficitur</a:t>
            </a:r>
            <a:r>
              <a:rPr lang="nl-NL"/>
              <a:t> </a:t>
            </a:r>
            <a:r>
              <a:rPr lang="nl-NL" err="1"/>
              <a:t>finibus</a:t>
            </a:r>
            <a:r>
              <a:rPr lang="nl-NL"/>
              <a:t>. Integer </a:t>
            </a:r>
            <a:r>
              <a:rPr lang="nl-NL" err="1"/>
              <a:t>malesuada</a:t>
            </a:r>
            <a:r>
              <a:rPr lang="nl-NL"/>
              <a:t> </a:t>
            </a:r>
            <a:r>
              <a:rPr lang="nl-NL" err="1"/>
              <a:t>finibus</a:t>
            </a:r>
            <a:r>
              <a:rPr lang="nl-NL"/>
              <a:t> </a:t>
            </a:r>
            <a:r>
              <a:rPr lang="nl-NL" err="1"/>
              <a:t>ligula</a:t>
            </a:r>
            <a:r>
              <a:rPr lang="nl-NL"/>
              <a:t>, </a:t>
            </a:r>
            <a:r>
              <a:rPr lang="nl-NL" err="1"/>
              <a:t>aliquet</a:t>
            </a:r>
            <a:r>
              <a:rPr lang="nl-NL"/>
              <a:t> </a:t>
            </a:r>
            <a:r>
              <a:rPr lang="nl-NL" err="1"/>
              <a:t>lobortis</a:t>
            </a:r>
            <a:r>
              <a:rPr lang="nl-NL"/>
              <a:t> </a:t>
            </a:r>
            <a:r>
              <a:rPr lang="nl-NL" err="1"/>
              <a:t>nulla</a:t>
            </a:r>
            <a:r>
              <a:rPr lang="nl-NL"/>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err="1"/>
              <a:t>Edit</a:t>
            </a:r>
            <a:r>
              <a:rPr lang="nl-NL"/>
              <a:t> </a:t>
            </a:r>
            <a:r>
              <a:rPr lang="nl-NL" err="1"/>
              <a:t>footnote</a:t>
            </a:r>
            <a:endParaRPr lang="nl-NL"/>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err="1"/>
              <a:t>Edit</a:t>
            </a:r>
            <a:r>
              <a:rPr lang="nl-NL"/>
              <a:t> header style</a:t>
            </a:r>
            <a:endParaRPr lang="en-US"/>
          </a:p>
        </p:txBody>
      </p:sp>
    </p:spTree>
    <p:extLst>
      <p:ext uri="{BB962C8B-B14F-4D97-AF65-F5344CB8AC3E}">
        <p14:creationId xmlns:p14="http://schemas.microsoft.com/office/powerpoint/2010/main" val="2112475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579438" y="1"/>
            <a:ext cx="10515600" cy="1180618"/>
          </a:xfrm>
          <a:prstGeom prst="rect">
            <a:avLst/>
          </a:prstGeom>
        </p:spPr>
        <p:txBody>
          <a:bodyPr lIns="0" tIns="0" rIns="0" bIns="72000" anchor="b" anchorCtr="0"/>
          <a:lstStyle>
            <a:lvl1pPr>
              <a:defRPr sz="3600">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588818" y="6318000"/>
            <a:ext cx="8518525" cy="304800"/>
          </a:xfrm>
          <a:prstGeom prst="rect">
            <a:avLst/>
          </a:prstGeom>
        </p:spPr>
        <p:txBody>
          <a:bodyPr lIns="0"/>
          <a:lstStyle>
            <a:lvl1pPr marL="0" indent="0">
              <a:buNone/>
              <a:defRPr sz="800" i="1"/>
            </a:lvl1pPr>
            <a:lvl2pPr marL="457200" indent="0">
              <a:buNone/>
              <a:defRPr sz="800" i="1"/>
            </a:lvl2pPr>
            <a:lvl3pPr marL="914400" indent="0">
              <a:buNone/>
              <a:defRPr sz="800" i="1"/>
            </a:lvl3pPr>
            <a:lvl4pPr marL="1371600" indent="0">
              <a:buNone/>
              <a:defRPr sz="800" i="1"/>
            </a:lvl4pPr>
            <a:lvl5pPr marL="1828800" indent="0">
              <a:buNone/>
              <a:defRPr sz="80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579438" y="1435261"/>
            <a:ext cx="10531475" cy="4629873"/>
          </a:xfrm>
          <a:prstGeom prst="rect">
            <a:avLst/>
          </a:prstGeom>
        </p:spPr>
        <p:txBody>
          <a:bodyPr lIns="0" tIns="0" rIns="0" bIns="0"/>
          <a:lstStyle>
            <a:lvl1pPr marL="266700" indent="-266700">
              <a:buClr>
                <a:schemeClr val="accent1"/>
              </a:buClr>
              <a:defRPr sz="2000">
                <a:solidFill>
                  <a:schemeClr val="tx1"/>
                </a:solidFill>
              </a:defRPr>
            </a:lvl1pPr>
            <a:lvl2pPr marL="625475" indent="-266700">
              <a:buClr>
                <a:schemeClr val="accent1"/>
              </a:buClr>
              <a:buFont typeface="Calibri" panose="020F0502020204030204" pitchFamily="34" charset="0"/>
              <a:buChar char="-"/>
              <a:defRPr sz="1800">
                <a:solidFill>
                  <a:schemeClr val="tx1">
                    <a:lumMod val="50000"/>
                    <a:lumOff val="50000"/>
                  </a:schemeClr>
                </a:solidFill>
              </a:defRPr>
            </a:lvl2pPr>
            <a:lvl3pPr marL="890588" indent="-265113">
              <a:buClr>
                <a:schemeClr val="accent1"/>
              </a:buClr>
              <a:buFont typeface="Wingdings" panose="05000000000000000000" pitchFamily="2" charset="2"/>
              <a:buChar char="§"/>
              <a:defRPr sz="16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219580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image" Target="../media/image6.emf"/><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ags" Target="../tags/tag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heme" Target="../theme/theme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image" Target="../media/image6.emf"/><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9" Type="http://schemas.openxmlformats.org/officeDocument/2006/relationships/slideLayout" Target="../slideLayouts/slideLayout96.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34" Type="http://schemas.openxmlformats.org/officeDocument/2006/relationships/slideLayout" Target="../slideLayouts/slideLayout91.xml"/><Relationship Id="rId42" Type="http://schemas.openxmlformats.org/officeDocument/2006/relationships/slideLayout" Target="../slideLayouts/slideLayout99.xml"/><Relationship Id="rId47" Type="http://schemas.openxmlformats.org/officeDocument/2006/relationships/slideLayout" Target="../slideLayouts/slideLayout104.xml"/><Relationship Id="rId50" Type="http://schemas.openxmlformats.org/officeDocument/2006/relationships/slideLayout" Target="../slideLayouts/slideLayout107.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slideLayout" Target="../slideLayouts/slideLayout90.xml"/><Relationship Id="rId38" Type="http://schemas.openxmlformats.org/officeDocument/2006/relationships/slideLayout" Target="../slideLayouts/slideLayout95.xml"/><Relationship Id="rId46" Type="http://schemas.openxmlformats.org/officeDocument/2006/relationships/slideLayout" Target="../slideLayouts/slideLayout103.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41" Type="http://schemas.openxmlformats.org/officeDocument/2006/relationships/slideLayout" Target="../slideLayouts/slideLayout98.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37" Type="http://schemas.openxmlformats.org/officeDocument/2006/relationships/slideLayout" Target="../slideLayouts/slideLayout94.xml"/><Relationship Id="rId40" Type="http://schemas.openxmlformats.org/officeDocument/2006/relationships/slideLayout" Target="../slideLayouts/slideLayout97.xml"/><Relationship Id="rId45" Type="http://schemas.openxmlformats.org/officeDocument/2006/relationships/slideLayout" Target="../slideLayouts/slideLayout102.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36" Type="http://schemas.openxmlformats.org/officeDocument/2006/relationships/slideLayout" Target="../slideLayouts/slideLayout93.xml"/><Relationship Id="rId49" Type="http://schemas.openxmlformats.org/officeDocument/2006/relationships/slideLayout" Target="../slideLayouts/slideLayout106.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4" Type="http://schemas.openxmlformats.org/officeDocument/2006/relationships/slideLayout" Target="../slideLayouts/slideLayout101.xml"/><Relationship Id="rId52" Type="http://schemas.openxmlformats.org/officeDocument/2006/relationships/theme" Target="../theme/theme4.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 Id="rId35" Type="http://schemas.openxmlformats.org/officeDocument/2006/relationships/slideLayout" Target="../slideLayouts/slideLayout92.xml"/><Relationship Id="rId43" Type="http://schemas.openxmlformats.org/officeDocument/2006/relationships/slideLayout" Target="../slideLayouts/slideLayout100.xml"/><Relationship Id="rId48" Type="http://schemas.openxmlformats.org/officeDocument/2006/relationships/slideLayout" Target="../slideLayouts/slideLayout105.xml"/><Relationship Id="rId8" Type="http://schemas.openxmlformats.org/officeDocument/2006/relationships/slideLayout" Target="../slideLayouts/slideLayout65.xml"/><Relationship Id="rId51"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theme" Target="../theme/theme5.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image" Target="../media/image27.emf"/><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oleObject" Target="../embeddings/oleObject11.bin"/><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tags" Target="../tags/tag60.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theme" Target="../theme/theme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tags" Target="../tags/tag63.xml"/><Relationship Id="rId39" Type="http://schemas.openxmlformats.org/officeDocument/2006/relationships/tags" Target="../tags/tag76.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34" Type="http://schemas.openxmlformats.org/officeDocument/2006/relationships/tags" Target="../tags/tag71.xml"/><Relationship Id="rId42" Type="http://schemas.openxmlformats.org/officeDocument/2006/relationships/tags" Target="../tags/tag79.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tags" Target="../tags/tag62.xml"/><Relationship Id="rId33" Type="http://schemas.openxmlformats.org/officeDocument/2006/relationships/tags" Target="../tags/tag70.xml"/><Relationship Id="rId38" Type="http://schemas.openxmlformats.org/officeDocument/2006/relationships/tags" Target="../tags/tag75.xml"/><Relationship Id="rId46" Type="http://schemas.openxmlformats.org/officeDocument/2006/relationships/image" Target="../media/image29.emf"/><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tags" Target="../tags/tag66.xml"/><Relationship Id="rId41" Type="http://schemas.openxmlformats.org/officeDocument/2006/relationships/tags" Target="../tags/tag78.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tags" Target="../tags/tag61.xml"/><Relationship Id="rId32" Type="http://schemas.openxmlformats.org/officeDocument/2006/relationships/tags" Target="../tags/tag69.xml"/><Relationship Id="rId37" Type="http://schemas.openxmlformats.org/officeDocument/2006/relationships/tags" Target="../tags/tag74.xml"/><Relationship Id="rId40" Type="http://schemas.openxmlformats.org/officeDocument/2006/relationships/tags" Target="../tags/tag77.xml"/><Relationship Id="rId45" Type="http://schemas.openxmlformats.org/officeDocument/2006/relationships/oleObject" Target="../embeddings/oleObject12.bin"/><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theme" Target="../theme/theme7.xml"/><Relationship Id="rId28" Type="http://schemas.openxmlformats.org/officeDocument/2006/relationships/tags" Target="../tags/tag65.xml"/><Relationship Id="rId36" Type="http://schemas.openxmlformats.org/officeDocument/2006/relationships/tags" Target="../tags/tag73.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tags" Target="../tags/tag68.xml"/><Relationship Id="rId44" Type="http://schemas.openxmlformats.org/officeDocument/2006/relationships/tags" Target="../tags/tag81.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tags" Target="../tags/tag72.xml"/><Relationship Id="rId43" Type="http://schemas.openxmlformats.org/officeDocument/2006/relationships/tags" Target="../tags/tag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40FABA-AD84-4684-96B6-60A8D0870D06}"/>
              </a:ext>
            </a:extLst>
          </p:cNvPr>
          <p:cNvGraphicFramePr>
            <a:graphicFrameLocks noChangeAspect="1"/>
          </p:cNvGraphicFramePr>
          <p:nvPr userDrawn="1">
            <p:custDataLst>
              <p:tags r:id="rId21"/>
            </p:custDataLst>
            <p:extLst>
              <p:ext uri="{D42A27DB-BD31-4B8C-83A1-F6EECF244321}">
                <p14:modId xmlns:p14="http://schemas.microsoft.com/office/powerpoint/2010/main" val="1217212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2" name="Object 1" hidden="1">
                        <a:extLst>
                          <a:ext uri="{FF2B5EF4-FFF2-40B4-BE49-F238E27FC236}">
                            <a16:creationId xmlns:a16="http://schemas.microsoft.com/office/drawing/2014/main" id="{0240FABA-AD84-4684-96B6-60A8D0870D0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8573C6A-ECFF-44EA-A4CF-E12EDCC25545}"/>
              </a:ext>
            </a:extLst>
          </p:cNvPr>
          <p:cNvSpPr/>
          <p:nvPr userDrawn="1"/>
        </p:nvSpPr>
        <p:spPr>
          <a:xfrm>
            <a:off x="11212946"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 name="Rechthoek 6"/>
          <p:cNvSpPr/>
          <p:nvPr/>
        </p:nvSpPr>
        <p:spPr>
          <a:xfrm>
            <a:off x="11330202" y="6259337"/>
            <a:ext cx="861798" cy="276999"/>
          </a:xfrm>
          <a:prstGeom prst="rect">
            <a:avLst/>
          </a:prstGeom>
        </p:spPr>
        <p:txBody>
          <a:bodyPr wrap="square">
            <a:spAutoFit/>
          </a:bodyPr>
          <a:lstStyle/>
          <a:p>
            <a:pPr algn="ctr" fontAlgn="auto">
              <a:spcBef>
                <a:spcPts val="0"/>
              </a:spcBef>
              <a:spcAft>
                <a:spcPts val="0"/>
              </a:spcAft>
              <a:defRPr/>
            </a:pPr>
            <a:fld id="{478F02DA-AB65-4DE3-8C32-C1DFFF12922F}" type="slidenum">
              <a:rPr lang="nl-NL" sz="1199" b="0">
                <a:solidFill>
                  <a:schemeClr val="bg1"/>
                </a:solidFill>
                <a:cs typeface="Arial" pitchFamily="34" charset="0"/>
              </a:rPr>
              <a:pPr algn="ctr" fontAlgn="auto">
                <a:spcBef>
                  <a:spcPts val="0"/>
                </a:spcBef>
                <a:spcAft>
                  <a:spcPts val="0"/>
                </a:spcAft>
                <a:defRPr/>
              </a:pPr>
              <a:t>‹#›</a:t>
            </a:fld>
            <a:endParaRPr lang="nl-NL" sz="1199" b="0">
              <a:solidFill>
                <a:schemeClr val="bg1"/>
              </a:solidFill>
              <a:cs typeface="Arial" pitchFamily="34" charset="0"/>
            </a:endParaRPr>
          </a:p>
        </p:txBody>
      </p:sp>
      <p:grpSp>
        <p:nvGrpSpPr>
          <p:cNvPr id="20" name="Group 19">
            <a:extLst>
              <a:ext uri="{FF2B5EF4-FFF2-40B4-BE49-F238E27FC236}">
                <a16:creationId xmlns:a16="http://schemas.microsoft.com/office/drawing/2014/main" id="{F16CBE51-40AB-4568-9DCB-FCB109138947}"/>
              </a:ext>
            </a:extLst>
          </p:cNvPr>
          <p:cNvGrpSpPr/>
          <p:nvPr userDrawn="1"/>
        </p:nvGrpSpPr>
        <p:grpSpPr>
          <a:xfrm>
            <a:off x="10422255" y="6286500"/>
            <a:ext cx="693334" cy="249834"/>
            <a:chOff x="3078163" y="2341563"/>
            <a:chExt cx="6035676" cy="2174875"/>
          </a:xfrm>
        </p:grpSpPr>
        <p:sp>
          <p:nvSpPr>
            <p:cNvPr id="13" name="Freeform 5">
              <a:extLst>
                <a:ext uri="{FF2B5EF4-FFF2-40B4-BE49-F238E27FC236}">
                  <a16:creationId xmlns:a16="http://schemas.microsoft.com/office/drawing/2014/main" id="{9452363F-1EFC-41A6-A737-A30BA29AD628}"/>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sp>
          <p:nvSpPr>
            <p:cNvPr id="14" name="Freeform 6">
              <a:extLst>
                <a:ext uri="{FF2B5EF4-FFF2-40B4-BE49-F238E27FC236}">
                  <a16:creationId xmlns:a16="http://schemas.microsoft.com/office/drawing/2014/main" id="{90741357-AF3D-4487-8E2E-903F3D698D06}"/>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sp>
          <p:nvSpPr>
            <p:cNvPr id="15" name="Freeform 7">
              <a:extLst>
                <a:ext uri="{FF2B5EF4-FFF2-40B4-BE49-F238E27FC236}">
                  <a16:creationId xmlns:a16="http://schemas.microsoft.com/office/drawing/2014/main" id="{339E072B-CDEA-4BFC-A57D-D60C1DB25528}"/>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sp>
          <p:nvSpPr>
            <p:cNvPr id="16" name="Freeform 8">
              <a:extLst>
                <a:ext uri="{FF2B5EF4-FFF2-40B4-BE49-F238E27FC236}">
                  <a16:creationId xmlns:a16="http://schemas.microsoft.com/office/drawing/2014/main" id="{AA42E0B3-A1AA-413E-BA8A-91CD2518B99D}"/>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sp>
          <p:nvSpPr>
            <p:cNvPr id="17" name="Freeform 9">
              <a:extLst>
                <a:ext uri="{FF2B5EF4-FFF2-40B4-BE49-F238E27FC236}">
                  <a16:creationId xmlns:a16="http://schemas.microsoft.com/office/drawing/2014/main" id="{62F609CD-A9A0-4640-8BB9-1BFF9CC1E492}"/>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sp>
          <p:nvSpPr>
            <p:cNvPr id="18" name="Freeform 10">
              <a:extLst>
                <a:ext uri="{FF2B5EF4-FFF2-40B4-BE49-F238E27FC236}">
                  <a16:creationId xmlns:a16="http://schemas.microsoft.com/office/drawing/2014/main" id="{BBC7F87D-E711-471F-981C-717663BF0CCB}"/>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sp>
          <p:nvSpPr>
            <p:cNvPr id="19" name="Freeform 11">
              <a:extLst>
                <a:ext uri="{FF2B5EF4-FFF2-40B4-BE49-F238E27FC236}">
                  <a16:creationId xmlns:a16="http://schemas.microsoft.com/office/drawing/2014/main" id="{1F2A9AF7-A4DE-47FC-80BA-D2C540E32503}"/>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grpSp>
    </p:spTree>
    <p:extLst>
      <p:ext uri="{BB962C8B-B14F-4D97-AF65-F5344CB8AC3E}">
        <p14:creationId xmlns:p14="http://schemas.microsoft.com/office/powerpoint/2010/main" val="327548577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3943" rtl="0" eaLnBrk="1" latinLnBrk="0" hangingPunct="1">
        <a:lnSpc>
          <a:spcPct val="90000"/>
        </a:lnSpc>
        <a:spcBef>
          <a:spcPct val="0"/>
        </a:spcBef>
        <a:buNone/>
        <a:defRPr sz="4398" kern="1200">
          <a:solidFill>
            <a:schemeClr val="tx1"/>
          </a:solidFill>
          <a:latin typeface="+mj-lt"/>
          <a:ea typeface="+mj-ea"/>
          <a:cs typeface="+mj-cs"/>
        </a:defRPr>
      </a:lvl1pPr>
    </p:titleStyle>
    <p:bodyStyle>
      <a:lvl1pPr marL="228486" indent="-228486" algn="l" defTabSz="913943" rtl="0" eaLnBrk="1" latinLnBrk="0" hangingPunct="1">
        <a:lnSpc>
          <a:spcPct val="90000"/>
        </a:lnSpc>
        <a:spcBef>
          <a:spcPts val="999"/>
        </a:spcBef>
        <a:buFont typeface="Arial" panose="020B0604020202020204" pitchFamily="34" charset="0"/>
        <a:buChar char="•"/>
        <a:defRPr sz="2799" kern="1200">
          <a:solidFill>
            <a:schemeClr val="tx1"/>
          </a:solidFill>
          <a:latin typeface="+mn-lt"/>
          <a:ea typeface="+mn-ea"/>
          <a:cs typeface="+mn-cs"/>
        </a:defRPr>
      </a:lvl1pPr>
      <a:lvl2pPr marL="685457" indent="-228486" algn="l" defTabSz="913943"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429" indent="-228486" algn="l" defTabSz="913943"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400"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371"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343"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14"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286"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57"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
          <p15:clr>
            <a:srgbClr val="F26B43"/>
          </p15:clr>
        </p15:guide>
        <p15:guide id="2" pos="3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BE76E2-1259-4CB4-80C5-73515B09383B}"/>
              </a:ext>
            </a:extLst>
          </p:cNvPr>
          <p:cNvGraphicFramePr>
            <a:graphicFrameLocks noChangeAspect="1"/>
          </p:cNvGraphicFramePr>
          <p:nvPr userDrawn="1">
            <p:custDataLst>
              <p:tags r:id="rId21"/>
            </p:custDataLst>
            <p:extLst>
              <p:ext uri="{D42A27DB-BD31-4B8C-83A1-F6EECF244321}">
                <p14:modId xmlns:p14="http://schemas.microsoft.com/office/powerpoint/2010/main" val="3708058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07" imgH="307" progId="TCLayout.ActiveDocument.1">
                  <p:embed/>
                </p:oleObj>
              </mc:Choice>
              <mc:Fallback>
                <p:oleObj name="think-cell Slide" r:id="rId22" imgW="307" imgH="307" progId="TCLayout.ActiveDocument.1">
                  <p:embed/>
                  <p:pic>
                    <p:nvPicPr>
                      <p:cNvPr id="2" name="Object 1" hidden="1">
                        <a:extLst>
                          <a:ext uri="{FF2B5EF4-FFF2-40B4-BE49-F238E27FC236}">
                            <a16:creationId xmlns:a16="http://schemas.microsoft.com/office/drawing/2014/main" id="{17BE76E2-1259-4CB4-80C5-73515B09383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8573C6A-ECFF-44EA-A4CF-E12EDCC25545}"/>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330202" y="6259335"/>
            <a:ext cx="861798" cy="276999"/>
          </a:xfrm>
          <a:prstGeom prst="rect">
            <a:avLst/>
          </a:prstGeom>
        </p:spPr>
        <p:txBody>
          <a:bodyPr wrap="squar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a:solidFill>
                <a:schemeClr val="bg1"/>
              </a:solidFill>
              <a:cs typeface="Arial" pitchFamily="34" charset="0"/>
            </a:endParaRPr>
          </a:p>
        </p:txBody>
      </p:sp>
      <p:grpSp>
        <p:nvGrpSpPr>
          <p:cNvPr id="20" name="Group 19">
            <a:extLst>
              <a:ext uri="{FF2B5EF4-FFF2-40B4-BE49-F238E27FC236}">
                <a16:creationId xmlns:a16="http://schemas.microsoft.com/office/drawing/2014/main" id="{F16CBE51-40AB-4568-9DCB-FCB109138947}"/>
              </a:ext>
            </a:extLst>
          </p:cNvPr>
          <p:cNvGrpSpPr/>
          <p:nvPr userDrawn="1"/>
        </p:nvGrpSpPr>
        <p:grpSpPr>
          <a:xfrm>
            <a:off x="10422255" y="6286500"/>
            <a:ext cx="693334" cy="249834"/>
            <a:chOff x="3078163" y="2341563"/>
            <a:chExt cx="6035676" cy="2174875"/>
          </a:xfrm>
        </p:grpSpPr>
        <p:sp>
          <p:nvSpPr>
            <p:cNvPr id="13" name="Freeform 5">
              <a:extLst>
                <a:ext uri="{FF2B5EF4-FFF2-40B4-BE49-F238E27FC236}">
                  <a16:creationId xmlns:a16="http://schemas.microsoft.com/office/drawing/2014/main" id="{9452363F-1EFC-41A6-A737-A30BA29AD628}"/>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4" name="Freeform 6">
              <a:extLst>
                <a:ext uri="{FF2B5EF4-FFF2-40B4-BE49-F238E27FC236}">
                  <a16:creationId xmlns:a16="http://schemas.microsoft.com/office/drawing/2014/main" id="{90741357-AF3D-4487-8E2E-903F3D698D06}"/>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5" name="Freeform 7">
              <a:extLst>
                <a:ext uri="{FF2B5EF4-FFF2-40B4-BE49-F238E27FC236}">
                  <a16:creationId xmlns:a16="http://schemas.microsoft.com/office/drawing/2014/main" id="{339E072B-CDEA-4BFC-A57D-D60C1DB25528}"/>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Freeform 8">
              <a:extLst>
                <a:ext uri="{FF2B5EF4-FFF2-40B4-BE49-F238E27FC236}">
                  <a16:creationId xmlns:a16="http://schemas.microsoft.com/office/drawing/2014/main" id="{AA42E0B3-A1AA-413E-BA8A-91CD2518B99D}"/>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7" name="Freeform 9">
              <a:extLst>
                <a:ext uri="{FF2B5EF4-FFF2-40B4-BE49-F238E27FC236}">
                  <a16:creationId xmlns:a16="http://schemas.microsoft.com/office/drawing/2014/main" id="{62F609CD-A9A0-4640-8BB9-1BFF9CC1E492}"/>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8" name="Freeform 10">
              <a:extLst>
                <a:ext uri="{FF2B5EF4-FFF2-40B4-BE49-F238E27FC236}">
                  <a16:creationId xmlns:a16="http://schemas.microsoft.com/office/drawing/2014/main" id="{BBC7F87D-E711-471F-981C-717663BF0CCB}"/>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9" name="Freeform 11">
              <a:extLst>
                <a:ext uri="{FF2B5EF4-FFF2-40B4-BE49-F238E27FC236}">
                  <a16:creationId xmlns:a16="http://schemas.microsoft.com/office/drawing/2014/main" id="{1F2A9AF7-A4DE-47FC-80BA-D2C540E32503}"/>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Tree>
    <p:extLst>
      <p:ext uri="{BB962C8B-B14F-4D97-AF65-F5344CB8AC3E}">
        <p14:creationId xmlns:p14="http://schemas.microsoft.com/office/powerpoint/2010/main" val="2817634201"/>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
          <p15:clr>
            <a:srgbClr val="F26B43"/>
          </p15:clr>
        </p15:guide>
        <p15:guide id="2" pos="3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BE76E2-1259-4CB4-80C5-73515B09383B}"/>
              </a:ext>
            </a:extLst>
          </p:cNvPr>
          <p:cNvGraphicFramePr>
            <a:graphicFrameLocks noChangeAspect="1"/>
          </p:cNvGraphicFramePr>
          <p:nvPr userDrawn="1">
            <p:custDataLst>
              <p:tags r:id="rId21"/>
            </p:custDataLst>
            <p:extLst>
              <p:ext uri="{D42A27DB-BD31-4B8C-83A1-F6EECF244321}">
                <p14:modId xmlns:p14="http://schemas.microsoft.com/office/powerpoint/2010/main" val="332499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07" imgH="307" progId="TCLayout.ActiveDocument.1">
                  <p:embed/>
                </p:oleObj>
              </mc:Choice>
              <mc:Fallback>
                <p:oleObj name="think-cell Slide" r:id="rId22" imgW="307" imgH="307" progId="TCLayout.ActiveDocument.1">
                  <p:embed/>
                  <p:pic>
                    <p:nvPicPr>
                      <p:cNvPr id="2" name="Object 1" hidden="1">
                        <a:extLst>
                          <a:ext uri="{FF2B5EF4-FFF2-40B4-BE49-F238E27FC236}">
                            <a16:creationId xmlns:a16="http://schemas.microsoft.com/office/drawing/2014/main" id="{17BE76E2-1259-4CB4-80C5-73515B09383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8573C6A-ECFF-44EA-A4CF-E12EDCC25545}"/>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330202" y="6259335"/>
            <a:ext cx="861798" cy="276999"/>
          </a:xfrm>
          <a:prstGeom prst="rect">
            <a:avLst/>
          </a:prstGeom>
        </p:spPr>
        <p:txBody>
          <a:bodyPr wrap="squar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a:solidFill>
                <a:schemeClr val="bg1"/>
              </a:solidFill>
              <a:cs typeface="Arial" pitchFamily="34" charset="0"/>
            </a:endParaRPr>
          </a:p>
        </p:txBody>
      </p:sp>
      <p:grpSp>
        <p:nvGrpSpPr>
          <p:cNvPr id="20" name="Group 19">
            <a:extLst>
              <a:ext uri="{FF2B5EF4-FFF2-40B4-BE49-F238E27FC236}">
                <a16:creationId xmlns:a16="http://schemas.microsoft.com/office/drawing/2014/main" id="{F16CBE51-40AB-4568-9DCB-FCB109138947}"/>
              </a:ext>
            </a:extLst>
          </p:cNvPr>
          <p:cNvGrpSpPr/>
          <p:nvPr userDrawn="1"/>
        </p:nvGrpSpPr>
        <p:grpSpPr>
          <a:xfrm>
            <a:off x="10422255" y="6286500"/>
            <a:ext cx="693334" cy="249834"/>
            <a:chOff x="3078163" y="2341563"/>
            <a:chExt cx="6035676" cy="2174875"/>
          </a:xfrm>
        </p:grpSpPr>
        <p:sp>
          <p:nvSpPr>
            <p:cNvPr id="13" name="Freeform 5">
              <a:extLst>
                <a:ext uri="{FF2B5EF4-FFF2-40B4-BE49-F238E27FC236}">
                  <a16:creationId xmlns:a16="http://schemas.microsoft.com/office/drawing/2014/main" id="{9452363F-1EFC-41A6-A737-A30BA29AD628}"/>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4" name="Freeform 6">
              <a:extLst>
                <a:ext uri="{FF2B5EF4-FFF2-40B4-BE49-F238E27FC236}">
                  <a16:creationId xmlns:a16="http://schemas.microsoft.com/office/drawing/2014/main" id="{90741357-AF3D-4487-8E2E-903F3D698D06}"/>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5" name="Freeform 7">
              <a:extLst>
                <a:ext uri="{FF2B5EF4-FFF2-40B4-BE49-F238E27FC236}">
                  <a16:creationId xmlns:a16="http://schemas.microsoft.com/office/drawing/2014/main" id="{339E072B-CDEA-4BFC-A57D-D60C1DB25528}"/>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Freeform 8">
              <a:extLst>
                <a:ext uri="{FF2B5EF4-FFF2-40B4-BE49-F238E27FC236}">
                  <a16:creationId xmlns:a16="http://schemas.microsoft.com/office/drawing/2014/main" id="{AA42E0B3-A1AA-413E-BA8A-91CD2518B99D}"/>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7" name="Freeform 9">
              <a:extLst>
                <a:ext uri="{FF2B5EF4-FFF2-40B4-BE49-F238E27FC236}">
                  <a16:creationId xmlns:a16="http://schemas.microsoft.com/office/drawing/2014/main" id="{62F609CD-A9A0-4640-8BB9-1BFF9CC1E492}"/>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8" name="Freeform 10">
              <a:extLst>
                <a:ext uri="{FF2B5EF4-FFF2-40B4-BE49-F238E27FC236}">
                  <a16:creationId xmlns:a16="http://schemas.microsoft.com/office/drawing/2014/main" id="{BBC7F87D-E711-471F-981C-717663BF0CCB}"/>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9" name="Freeform 11">
              <a:extLst>
                <a:ext uri="{FF2B5EF4-FFF2-40B4-BE49-F238E27FC236}">
                  <a16:creationId xmlns:a16="http://schemas.microsoft.com/office/drawing/2014/main" id="{1F2A9AF7-A4DE-47FC-80BA-D2C540E32503}"/>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Tree>
    <p:extLst>
      <p:ext uri="{BB962C8B-B14F-4D97-AF65-F5344CB8AC3E}">
        <p14:creationId xmlns:p14="http://schemas.microsoft.com/office/powerpoint/2010/main" val="11791356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
          <p15:clr>
            <a:srgbClr val="F26B43"/>
          </p15:clr>
        </p15:guide>
        <p15:guide id="2" pos="36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EEB6802-0C46-435B-B5E0-86B8E23CB407}"/>
              </a:ext>
            </a:extLst>
          </p:cNvPr>
          <p:cNvSpPr txBox="1"/>
          <p:nvPr userDrawn="1"/>
        </p:nvSpPr>
        <p:spPr>
          <a:xfrm>
            <a:off x="4825299" y="6526924"/>
            <a:ext cx="2541402" cy="153888"/>
          </a:xfrm>
          <a:prstGeom prst="rect">
            <a:avLst/>
          </a:prstGeom>
        </p:spPr>
        <p:txBody>
          <a:bodyPr wrap="square" lIns="0" tIns="0" rIns="0" bIns="0" rtlCol="0" anchor="t" anchorCtr="0">
            <a:spAutoFit/>
          </a:bodyPr>
          <a:lstStyle/>
          <a:p>
            <a:pPr algn="ctr"/>
            <a:r>
              <a:rPr lang="en-US" sz="1000" b="1">
                <a:solidFill>
                  <a:schemeClr val="accent1">
                    <a:lumMod val="40000"/>
                    <a:lumOff val="60000"/>
                  </a:schemeClr>
                </a:solidFill>
              </a:rPr>
              <a:t>confidential</a:t>
            </a:r>
          </a:p>
        </p:txBody>
      </p:sp>
    </p:spTree>
    <p:extLst>
      <p:ext uri="{BB962C8B-B14F-4D97-AF65-F5344CB8AC3E}">
        <p14:creationId xmlns:p14="http://schemas.microsoft.com/office/powerpoint/2010/main" val="93199925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59" r:id="rId27"/>
    <p:sldLayoutId id="2147483760" r:id="rId28"/>
    <p:sldLayoutId id="2147483761" r:id="rId29"/>
    <p:sldLayoutId id="2147483762" r:id="rId30"/>
    <p:sldLayoutId id="2147483763" r:id="rId31"/>
    <p:sldLayoutId id="2147483764" r:id="rId32"/>
    <p:sldLayoutId id="2147483765" r:id="rId33"/>
    <p:sldLayoutId id="2147483766" r:id="rId34"/>
    <p:sldLayoutId id="2147483767" r:id="rId35"/>
    <p:sldLayoutId id="2147483768" r:id="rId36"/>
    <p:sldLayoutId id="2147483769" r:id="rId37"/>
    <p:sldLayoutId id="2147483770" r:id="rId38"/>
    <p:sldLayoutId id="2147483771" r:id="rId39"/>
    <p:sldLayoutId id="2147483772" r:id="rId40"/>
    <p:sldLayoutId id="2147483773" r:id="rId41"/>
    <p:sldLayoutId id="2147483774" r:id="rId42"/>
    <p:sldLayoutId id="2147483775" r:id="rId43"/>
    <p:sldLayoutId id="2147483776" r:id="rId44"/>
    <p:sldLayoutId id="2147483777" r:id="rId45"/>
    <p:sldLayoutId id="2147483778" r:id="rId46"/>
    <p:sldLayoutId id="2147483779" r:id="rId47"/>
    <p:sldLayoutId id="2147483780" r:id="rId48"/>
    <p:sldLayoutId id="2147483781" r:id="rId49"/>
    <p:sldLayoutId id="2147483782" r:id="rId50"/>
    <p:sldLayoutId id="2147483808" r:id="rId51"/>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2002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Lst>
  <p:hf hdr="0" ftr="0" dt="0"/>
  <p:txStyles>
    <p:titleStyle>
      <a:lvl1pPr algn="l" defTabSz="685783" rtl="0" eaLnBrk="1" latinLnBrk="0" hangingPunct="1">
        <a:lnSpc>
          <a:spcPct val="90000"/>
        </a:lnSpc>
        <a:spcBef>
          <a:spcPct val="0"/>
        </a:spcBef>
        <a:buNone/>
        <a:defRPr sz="3200" b="0" i="0" kern="1200" baseline="0">
          <a:solidFill>
            <a:srgbClr val="3C287C"/>
          </a:solidFill>
          <a:latin typeface="Calibri" panose="020F0502020204030204" pitchFamily="34" charset="0"/>
          <a:ea typeface="+mj-ea"/>
          <a:cs typeface="Calibri" panose="020F0502020204030204" pitchFamily="34" charset="0"/>
        </a:defRPr>
      </a:lvl1pPr>
    </p:titleStyle>
    <p:bodyStyle>
      <a:lvl1pPr marL="288000" indent="-288000" algn="l" defTabSz="685783" rtl="0" eaLnBrk="1" latinLnBrk="0" hangingPunct="1">
        <a:lnSpc>
          <a:spcPct val="108000"/>
        </a:lnSpc>
        <a:spcBef>
          <a:spcPts val="750"/>
        </a:spcBef>
        <a:buClr>
          <a:schemeClr val="accent1"/>
        </a:buClr>
        <a:buSzPct val="100000"/>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32">
          <p15:clr>
            <a:srgbClr val="F26B43"/>
          </p15:clr>
        </p15:guide>
        <p15:guide id="3" orient="horz" pos="4156">
          <p15:clr>
            <a:srgbClr val="F26B43"/>
          </p15:clr>
        </p15:guide>
        <p15:guide id="4" orient="horz" pos="981">
          <p15:clr>
            <a:srgbClr val="F26B43"/>
          </p15:clr>
        </p15:guide>
        <p15:guide id="5" orient="horz" pos="600">
          <p15:clr>
            <a:srgbClr val="F26B43"/>
          </p15:clr>
        </p15:guide>
        <p15:guide id="6" pos="3840">
          <p15:clr>
            <a:srgbClr val="F26B43"/>
          </p15:clr>
        </p15:guide>
        <p15:guide id="7" pos="363">
          <p15:clr>
            <a:srgbClr val="F26B43"/>
          </p15:clr>
        </p15:guide>
        <p15:guide id="8" pos="7317">
          <p15:clr>
            <a:srgbClr val="F26B43"/>
          </p15:clr>
        </p15:guide>
        <p15:guide id="9" orient="horz" pos="157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738E2D-B2D5-448D-823D-D7AC35E21AC8}"/>
              </a:ext>
            </a:extLst>
          </p:cNvPr>
          <p:cNvGraphicFramePr>
            <a:graphicFrameLocks noChangeAspect="1"/>
          </p:cNvGraphicFramePr>
          <p:nvPr userDrawn="1">
            <p:custDataLst>
              <p:tags r:id="rId24"/>
            </p:custDataLst>
            <p:extLst>
              <p:ext uri="{D42A27DB-BD31-4B8C-83A1-F6EECF244321}">
                <p14:modId xmlns:p14="http://schemas.microsoft.com/office/powerpoint/2010/main" val="3915617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4" imgH="344" progId="TCLayout.ActiveDocument.1">
                  <p:embed/>
                </p:oleObj>
              </mc:Choice>
              <mc:Fallback>
                <p:oleObj name="think-cell Slide" r:id="rId25" imgW="344" imgH="344" progId="TCLayout.ActiveDocument.1">
                  <p:embed/>
                  <p:pic>
                    <p:nvPicPr>
                      <p:cNvPr id="2" name="Object 1" hidden="1">
                        <a:extLst>
                          <a:ext uri="{FF2B5EF4-FFF2-40B4-BE49-F238E27FC236}">
                            <a16:creationId xmlns:a16="http://schemas.microsoft.com/office/drawing/2014/main" id="{F8738E2D-B2D5-448D-823D-D7AC35E21AC8}"/>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8573C6A-ECFF-44EA-A4CF-E12EDCC25545}"/>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330202" y="6259335"/>
            <a:ext cx="861798" cy="276999"/>
          </a:xfrm>
          <a:prstGeom prst="rect">
            <a:avLst/>
          </a:prstGeom>
        </p:spPr>
        <p:txBody>
          <a:bodyPr wrap="squar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a:solidFill>
                <a:schemeClr val="bg1"/>
              </a:solidFill>
              <a:cs typeface="Arial" pitchFamily="34" charset="0"/>
            </a:endParaRPr>
          </a:p>
        </p:txBody>
      </p:sp>
      <p:grpSp>
        <p:nvGrpSpPr>
          <p:cNvPr id="20" name="Group 19">
            <a:extLst>
              <a:ext uri="{FF2B5EF4-FFF2-40B4-BE49-F238E27FC236}">
                <a16:creationId xmlns:a16="http://schemas.microsoft.com/office/drawing/2014/main" id="{F16CBE51-40AB-4568-9DCB-FCB109138947}"/>
              </a:ext>
            </a:extLst>
          </p:cNvPr>
          <p:cNvGrpSpPr/>
          <p:nvPr userDrawn="1"/>
        </p:nvGrpSpPr>
        <p:grpSpPr>
          <a:xfrm>
            <a:off x="10422255" y="6286500"/>
            <a:ext cx="693334" cy="249834"/>
            <a:chOff x="3078163" y="2341563"/>
            <a:chExt cx="6035676" cy="2174875"/>
          </a:xfrm>
        </p:grpSpPr>
        <p:sp>
          <p:nvSpPr>
            <p:cNvPr id="13" name="Freeform 5">
              <a:extLst>
                <a:ext uri="{FF2B5EF4-FFF2-40B4-BE49-F238E27FC236}">
                  <a16:creationId xmlns:a16="http://schemas.microsoft.com/office/drawing/2014/main" id="{9452363F-1EFC-41A6-A737-A30BA29AD628}"/>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4" name="Freeform 6">
              <a:extLst>
                <a:ext uri="{FF2B5EF4-FFF2-40B4-BE49-F238E27FC236}">
                  <a16:creationId xmlns:a16="http://schemas.microsoft.com/office/drawing/2014/main" id="{90741357-AF3D-4487-8E2E-903F3D698D06}"/>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5" name="Freeform 7">
              <a:extLst>
                <a:ext uri="{FF2B5EF4-FFF2-40B4-BE49-F238E27FC236}">
                  <a16:creationId xmlns:a16="http://schemas.microsoft.com/office/drawing/2014/main" id="{339E072B-CDEA-4BFC-A57D-D60C1DB25528}"/>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Freeform 8">
              <a:extLst>
                <a:ext uri="{FF2B5EF4-FFF2-40B4-BE49-F238E27FC236}">
                  <a16:creationId xmlns:a16="http://schemas.microsoft.com/office/drawing/2014/main" id="{AA42E0B3-A1AA-413E-BA8A-91CD2518B99D}"/>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7" name="Freeform 9">
              <a:extLst>
                <a:ext uri="{FF2B5EF4-FFF2-40B4-BE49-F238E27FC236}">
                  <a16:creationId xmlns:a16="http://schemas.microsoft.com/office/drawing/2014/main" id="{62F609CD-A9A0-4640-8BB9-1BFF9CC1E492}"/>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8" name="Freeform 10">
              <a:extLst>
                <a:ext uri="{FF2B5EF4-FFF2-40B4-BE49-F238E27FC236}">
                  <a16:creationId xmlns:a16="http://schemas.microsoft.com/office/drawing/2014/main" id="{BBC7F87D-E711-471F-981C-717663BF0CCB}"/>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9" name="Freeform 11">
              <a:extLst>
                <a:ext uri="{FF2B5EF4-FFF2-40B4-BE49-F238E27FC236}">
                  <a16:creationId xmlns:a16="http://schemas.microsoft.com/office/drawing/2014/main" id="{1F2A9AF7-A4DE-47FC-80BA-D2C540E32503}"/>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Tree>
    <p:extLst>
      <p:ext uri="{BB962C8B-B14F-4D97-AF65-F5344CB8AC3E}">
        <p14:creationId xmlns:p14="http://schemas.microsoft.com/office/powerpoint/2010/main" val="1797531569"/>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
          <p15:clr>
            <a:srgbClr val="F26B43"/>
          </p15:clr>
        </p15:guide>
        <p15:guide id="2" pos="3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3622016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13" imgH="416" progId="TCLayout.ActiveDocument.1">
                  <p:embed/>
                </p:oleObj>
              </mc:Choice>
              <mc:Fallback>
                <p:oleObj name="think-cell Slide" r:id="rId4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49" name="Rectangle 3">
            <a:extLst>
              <a:ext uri="{FF2B5EF4-FFF2-40B4-BE49-F238E27FC236}">
                <a16:creationId xmlns:a16="http://schemas.microsoft.com/office/drawing/2014/main" id="{9EDEC6AF-C63F-4AAA-851C-4DCCA97D76A1}"/>
              </a:ext>
            </a:extLst>
          </p:cNvPr>
          <p:cNvSpPr/>
          <p:nvPr userDrawn="1"/>
        </p:nvSpPr>
        <p:spPr>
          <a:xfrm>
            <a:off x="11212945" y="3995738"/>
            <a:ext cx="979055" cy="2862262"/>
          </a:xfrm>
          <a:custGeom>
            <a:avLst/>
            <a:gdLst>
              <a:gd name="connsiteX0" fmla="*/ 0 w 979055"/>
              <a:gd name="connsiteY0" fmla="*/ 0 h 3403600"/>
              <a:gd name="connsiteX1" fmla="*/ 979055 w 979055"/>
              <a:gd name="connsiteY1" fmla="*/ 0 h 3403600"/>
              <a:gd name="connsiteX2" fmla="*/ 979055 w 979055"/>
              <a:gd name="connsiteY2" fmla="*/ 3403600 h 3403600"/>
              <a:gd name="connsiteX3" fmla="*/ 0 w 979055"/>
              <a:gd name="connsiteY3" fmla="*/ 3403600 h 3403600"/>
              <a:gd name="connsiteX4" fmla="*/ 0 w 979055"/>
              <a:gd name="connsiteY4" fmla="*/ 0 h 3403600"/>
              <a:gd name="connsiteX0" fmla="*/ 0 w 979055"/>
              <a:gd name="connsiteY0" fmla="*/ 3403600 h 3403600"/>
              <a:gd name="connsiteX1" fmla="*/ 979055 w 979055"/>
              <a:gd name="connsiteY1" fmla="*/ 0 h 3403600"/>
              <a:gd name="connsiteX2" fmla="*/ 979055 w 979055"/>
              <a:gd name="connsiteY2" fmla="*/ 3403600 h 3403600"/>
              <a:gd name="connsiteX3" fmla="*/ 0 w 979055"/>
              <a:gd name="connsiteY3" fmla="*/ 3403600 h 3403600"/>
            </a:gdLst>
            <a:ahLst/>
            <a:cxnLst>
              <a:cxn ang="0">
                <a:pos x="connsiteX0" y="connsiteY0"/>
              </a:cxn>
              <a:cxn ang="0">
                <a:pos x="connsiteX1" y="connsiteY1"/>
              </a:cxn>
              <a:cxn ang="0">
                <a:pos x="connsiteX2" y="connsiteY2"/>
              </a:cxn>
              <a:cxn ang="0">
                <a:pos x="connsiteX3" y="connsiteY3"/>
              </a:cxn>
            </a:cxnLst>
            <a:rect l="l" t="t" r="r" b="b"/>
            <a:pathLst>
              <a:path w="979055" h="3403600">
                <a:moveTo>
                  <a:pt x="0" y="3403600"/>
                </a:moveTo>
                <a:lnTo>
                  <a:pt x="979055" y="0"/>
                </a:lnTo>
                <a:lnTo>
                  <a:pt x="979055" y="3403600"/>
                </a:lnTo>
                <a:lnTo>
                  <a:pt x="0" y="3403600"/>
                </a:lnTo>
                <a:close/>
              </a:path>
            </a:pathLst>
          </a:custGeom>
          <a:solidFill>
            <a:srgbClr val="0069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556932"/>
            <a:ext cx="11082528" cy="384721"/>
          </a:xfrm>
          <a:prstGeom prst="rect">
            <a:avLst/>
          </a:prstGeom>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D8BE73A1-BBBF-4FC6-B5FE-756631E9BB87}"/>
              </a:ext>
            </a:extLst>
          </p:cNvPr>
          <p:cNvGrpSpPr/>
          <p:nvPr userDrawn="1"/>
        </p:nvGrpSpPr>
        <p:grpSpPr>
          <a:xfrm>
            <a:off x="10317304" y="2577860"/>
            <a:ext cx="1319960" cy="958286"/>
            <a:chOff x="10162879" y="3243772"/>
            <a:chExt cx="1319960" cy="958286"/>
          </a:xfrm>
        </p:grpSpPr>
        <p:sp>
          <p:nvSpPr>
            <p:cNvPr id="171" name="Legend1">
              <a:extLst>
                <a:ext uri="{FF2B5EF4-FFF2-40B4-BE49-F238E27FC236}">
                  <a16:creationId xmlns:a16="http://schemas.microsoft.com/office/drawing/2014/main" id="{9F2C8197-B8AA-4E74-9BED-47A78D2CEF1D}"/>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CA6E9896-B402-4F9A-9C88-DA6A7327287C}"/>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2E48D762-BD75-4B62-99AA-2EE631CB7048}"/>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8730509A-4864-4BD2-9EB0-54817A01F291}"/>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527F7A96-7623-4B21-BFA6-BBCD1388DC6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8F55884B-2B47-4DD0-8489-FDA38660E7F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0D0A9142-F0D8-477E-9E65-1B11C9B373EB}"/>
              </a:ext>
            </a:extLst>
          </p:cNvPr>
          <p:cNvGrpSpPr/>
          <p:nvPr userDrawn="1"/>
        </p:nvGrpSpPr>
        <p:grpSpPr>
          <a:xfrm>
            <a:off x="10688315" y="573010"/>
            <a:ext cx="948949" cy="1731859"/>
            <a:chOff x="7723680" y="1702457"/>
            <a:chExt cx="948949" cy="1731859"/>
          </a:xfrm>
        </p:grpSpPr>
        <p:sp>
          <p:nvSpPr>
            <p:cNvPr id="178" name="Legend1">
              <a:extLst>
                <a:ext uri="{FF2B5EF4-FFF2-40B4-BE49-F238E27FC236}">
                  <a16:creationId xmlns:a16="http://schemas.microsoft.com/office/drawing/2014/main" id="{5A9377AC-09E8-4921-9A01-FC685AA43D9B}"/>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E3DAC993-282E-40D8-9646-F7238ED6DC4F}"/>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EE971CD8-9351-4EE5-AA3E-4DEC4020A700}"/>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4FBC6A37-3100-4067-9901-A5894420A6A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BEEEA36C-CA5B-4FAF-A151-08B99337D10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F2500C12-9265-4134-875C-27D32BACB8CC}"/>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AF362F19-23DD-41F8-985A-D47498650AAE}"/>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B28D7620-3588-4B6D-B3BE-A9EFF0F0121B}"/>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0B48B1AA-4F30-429E-8D3A-D4A2685AAD47}"/>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965D6F6E-4157-4A2F-989F-422D2B4BA1EC}"/>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34BA75A8-0587-4339-A30D-CAEDF371A885}"/>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3AAEF71C-855C-4C42-A481-5F1271103EE0}"/>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F751202-75D2-44E5-89F3-BA85FAD938C9}"/>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C200CE35-86B3-45C5-81F5-7AE76535B6D4}"/>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1AC60B9F-C837-4684-BEFA-91E0FD1162D6}"/>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8354B976-9573-4821-BA16-0CD07970A08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9B7F1EC8-3B64-4EB3-8DFB-5855975FD133}"/>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4CFFB1E8-D83F-4134-8BD0-0EB52446E731}"/>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1F8FE662-8B18-42EB-A202-9257FA43C14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C7B2FA36-93D5-48A3-BF18-CEC6C4D2E2C9}"/>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7B98DBF7-E546-4F2B-BE26-245BB07AC302}"/>
              </a:ext>
            </a:extLst>
          </p:cNvPr>
          <p:cNvGrpSpPr/>
          <p:nvPr userDrawn="1"/>
        </p:nvGrpSpPr>
        <p:grpSpPr>
          <a:xfrm>
            <a:off x="10714801" y="3809137"/>
            <a:ext cx="922463" cy="1717282"/>
            <a:chOff x="10652400" y="4322824"/>
            <a:chExt cx="922463" cy="1717282"/>
          </a:xfrm>
        </p:grpSpPr>
        <p:sp>
          <p:nvSpPr>
            <p:cNvPr id="217" name="RectangleLegend1">
              <a:extLst>
                <a:ext uri="{FF2B5EF4-FFF2-40B4-BE49-F238E27FC236}">
                  <a16:creationId xmlns:a16="http://schemas.microsoft.com/office/drawing/2014/main" id="{7281E4C5-C5C2-4BE7-BC83-91A8FC9854A4}"/>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D0B8BA38-0397-45BD-9A42-6CF04B5DB93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8D2EBD8F-40D1-4F53-94C4-DADADE998A1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915B5B7F-5E83-4387-B49D-81D1C44D84DE}"/>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751B9902-2548-4E83-A520-EEED544F8CC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8F5C567E-22D4-419A-84E1-87071DD87DFB}"/>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F2616E2C-EF7E-4374-8530-4326D9BE2545}"/>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12D5C904-F150-43C4-ACD7-E9AECBE817BB}"/>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13ACE78A-DAE9-4D78-83C7-49AB5A52D82E}"/>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910EE914-3E3A-423D-8107-B478BA1749FE}"/>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grpSp>
        <p:nvGrpSpPr>
          <p:cNvPr id="158" name="Group 157">
            <a:extLst>
              <a:ext uri="{FF2B5EF4-FFF2-40B4-BE49-F238E27FC236}">
                <a16:creationId xmlns:a16="http://schemas.microsoft.com/office/drawing/2014/main" id="{D7B14F72-4587-4AED-8A90-5251A11EEA10}"/>
              </a:ext>
            </a:extLst>
          </p:cNvPr>
          <p:cNvGrpSpPr/>
          <p:nvPr userDrawn="1"/>
        </p:nvGrpSpPr>
        <p:grpSpPr>
          <a:xfrm>
            <a:off x="10422255" y="6415243"/>
            <a:ext cx="693334" cy="249834"/>
            <a:chOff x="3078163" y="2341563"/>
            <a:chExt cx="6035676" cy="2174875"/>
          </a:xfrm>
        </p:grpSpPr>
        <p:sp>
          <p:nvSpPr>
            <p:cNvPr id="159" name="Freeform 5">
              <a:extLst>
                <a:ext uri="{FF2B5EF4-FFF2-40B4-BE49-F238E27FC236}">
                  <a16:creationId xmlns:a16="http://schemas.microsoft.com/office/drawing/2014/main" id="{C95098C6-7BB5-439F-A801-C3F4EC6EFF6B}"/>
                </a:ext>
              </a:extLst>
            </p:cNvPr>
            <p:cNvSpPr>
              <a:spLocks/>
            </p:cNvSpPr>
            <p:nvPr userDrawn="1"/>
          </p:nvSpPr>
          <p:spPr bwMode="auto">
            <a:xfrm>
              <a:off x="3078163" y="2341563"/>
              <a:ext cx="1968500" cy="2174875"/>
            </a:xfrm>
            <a:custGeom>
              <a:avLst/>
              <a:gdLst>
                <a:gd name="T0" fmla="*/ 1025 w 1240"/>
                <a:gd name="T1" fmla="*/ 0 h 1370"/>
                <a:gd name="T2" fmla="*/ 0 w 1240"/>
                <a:gd name="T3" fmla="*/ 337 h 1370"/>
                <a:gd name="T4" fmla="*/ 338 w 1240"/>
                <a:gd name="T5" fmla="*/ 1370 h 1370"/>
                <a:gd name="T6" fmla="*/ 1240 w 1240"/>
                <a:gd name="T7" fmla="*/ 1073 h 1370"/>
                <a:gd name="T8" fmla="*/ 1163 w 1240"/>
                <a:gd name="T9" fmla="*/ 825 h 1370"/>
                <a:gd name="T10" fmla="*/ 878 w 1240"/>
                <a:gd name="T11" fmla="*/ 825 h 1370"/>
                <a:gd name="T12" fmla="*/ 846 w 1240"/>
                <a:gd name="T13" fmla="*/ 939 h 1370"/>
                <a:gd name="T14" fmla="*/ 699 w 1240"/>
                <a:gd name="T15" fmla="*/ 939 h 1370"/>
                <a:gd name="T16" fmla="*/ 943 w 1240"/>
                <a:gd name="T17" fmla="*/ 207 h 1370"/>
                <a:gd name="T18" fmla="*/ 1094 w 1240"/>
                <a:gd name="T19" fmla="*/ 207 h 1370"/>
                <a:gd name="T20" fmla="*/ 1025 w 1240"/>
                <a:gd name="T21" fmla="*/ 0 h 1370"/>
                <a:gd name="T22" fmla="*/ 1025 w 1240"/>
                <a:gd name="T23"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0" h="1370">
                  <a:moveTo>
                    <a:pt x="1025" y="0"/>
                  </a:moveTo>
                  <a:lnTo>
                    <a:pt x="0" y="337"/>
                  </a:lnTo>
                  <a:lnTo>
                    <a:pt x="338" y="1370"/>
                  </a:lnTo>
                  <a:lnTo>
                    <a:pt x="1240" y="1073"/>
                  </a:lnTo>
                  <a:lnTo>
                    <a:pt x="1163" y="825"/>
                  </a:lnTo>
                  <a:lnTo>
                    <a:pt x="878" y="825"/>
                  </a:lnTo>
                  <a:lnTo>
                    <a:pt x="846" y="939"/>
                  </a:lnTo>
                  <a:lnTo>
                    <a:pt x="699" y="939"/>
                  </a:lnTo>
                  <a:lnTo>
                    <a:pt x="943" y="207"/>
                  </a:lnTo>
                  <a:lnTo>
                    <a:pt x="1094" y="207"/>
                  </a:lnTo>
                  <a:lnTo>
                    <a:pt x="1025" y="0"/>
                  </a:lnTo>
                  <a:lnTo>
                    <a:pt x="1025" y="0"/>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0" name="Freeform 6">
              <a:extLst>
                <a:ext uri="{FF2B5EF4-FFF2-40B4-BE49-F238E27FC236}">
                  <a16:creationId xmlns:a16="http://schemas.microsoft.com/office/drawing/2014/main" id="{39B60AB2-1611-4575-9073-F9A0BD0EEA53}"/>
                </a:ext>
              </a:extLst>
            </p:cNvPr>
            <p:cNvSpPr>
              <a:spLocks/>
            </p:cNvSpPr>
            <p:nvPr userDrawn="1"/>
          </p:nvSpPr>
          <p:spPr bwMode="auto">
            <a:xfrm>
              <a:off x="4530726" y="2947988"/>
              <a:ext cx="328613" cy="515938"/>
            </a:xfrm>
            <a:custGeom>
              <a:avLst/>
              <a:gdLst>
                <a:gd name="T0" fmla="*/ 0 w 207"/>
                <a:gd name="T1" fmla="*/ 321 h 325"/>
                <a:gd name="T2" fmla="*/ 102 w 207"/>
                <a:gd name="T3" fmla="*/ 0 h 325"/>
                <a:gd name="T4" fmla="*/ 207 w 207"/>
                <a:gd name="T5" fmla="*/ 325 h 325"/>
                <a:gd name="T6" fmla="*/ 0 w 207"/>
                <a:gd name="T7" fmla="*/ 321 h 325"/>
                <a:gd name="T8" fmla="*/ 0 w 207"/>
                <a:gd name="T9" fmla="*/ 321 h 325"/>
              </a:gdLst>
              <a:ahLst/>
              <a:cxnLst>
                <a:cxn ang="0">
                  <a:pos x="T0" y="T1"/>
                </a:cxn>
                <a:cxn ang="0">
                  <a:pos x="T2" y="T3"/>
                </a:cxn>
                <a:cxn ang="0">
                  <a:pos x="T4" y="T5"/>
                </a:cxn>
                <a:cxn ang="0">
                  <a:pos x="T6" y="T7"/>
                </a:cxn>
                <a:cxn ang="0">
                  <a:pos x="T8" y="T9"/>
                </a:cxn>
              </a:cxnLst>
              <a:rect l="0" t="0" r="r" b="b"/>
              <a:pathLst>
                <a:path w="207" h="325">
                  <a:moveTo>
                    <a:pt x="0" y="321"/>
                  </a:moveTo>
                  <a:lnTo>
                    <a:pt x="102" y="0"/>
                  </a:lnTo>
                  <a:lnTo>
                    <a:pt x="207" y="325"/>
                  </a:lnTo>
                  <a:lnTo>
                    <a:pt x="0" y="321"/>
                  </a:lnTo>
                  <a:lnTo>
                    <a:pt x="0" y="321"/>
                  </a:lnTo>
                  <a:close/>
                </a:path>
              </a:pathLst>
            </a:custGeom>
            <a:solidFill>
              <a:srgbClr val="0069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1" name="Freeform 7">
              <a:extLst>
                <a:ext uri="{FF2B5EF4-FFF2-40B4-BE49-F238E27FC236}">
                  <a16:creationId xmlns:a16="http://schemas.microsoft.com/office/drawing/2014/main" id="{5C1AC872-FD56-4DAD-9623-3094FE29AB6C}"/>
                </a:ext>
              </a:extLst>
            </p:cNvPr>
            <p:cNvSpPr>
              <a:spLocks/>
            </p:cNvSpPr>
            <p:nvPr userDrawn="1"/>
          </p:nvSpPr>
          <p:spPr bwMode="auto">
            <a:xfrm>
              <a:off x="5002213" y="2684463"/>
              <a:ext cx="838200" cy="1141413"/>
            </a:xfrm>
            <a:custGeom>
              <a:avLst/>
              <a:gdLst>
                <a:gd name="T0" fmla="*/ 504 w 528"/>
                <a:gd name="T1" fmla="*/ 0 h 719"/>
                <a:gd name="T2" fmla="*/ 0 w 528"/>
                <a:gd name="T3" fmla="*/ 0 h 719"/>
                <a:gd name="T4" fmla="*/ 0 w 528"/>
                <a:gd name="T5" fmla="*/ 333 h 719"/>
                <a:gd name="T6" fmla="*/ 126 w 528"/>
                <a:gd name="T7" fmla="*/ 719 h 719"/>
                <a:gd name="T8" fmla="*/ 528 w 528"/>
                <a:gd name="T9" fmla="*/ 719 h 719"/>
                <a:gd name="T10" fmla="*/ 528 w 528"/>
                <a:gd name="T11" fmla="*/ 593 h 719"/>
                <a:gd name="T12" fmla="*/ 126 w 528"/>
                <a:gd name="T13" fmla="*/ 593 h 719"/>
                <a:gd name="T14" fmla="*/ 126 w 528"/>
                <a:gd name="T15" fmla="*/ 394 h 719"/>
                <a:gd name="T16" fmla="*/ 410 w 528"/>
                <a:gd name="T17" fmla="*/ 394 h 719"/>
                <a:gd name="T18" fmla="*/ 410 w 528"/>
                <a:gd name="T19" fmla="*/ 272 h 719"/>
                <a:gd name="T20" fmla="*/ 126 w 528"/>
                <a:gd name="T21" fmla="*/ 272 h 719"/>
                <a:gd name="T22" fmla="*/ 126 w 528"/>
                <a:gd name="T23" fmla="*/ 117 h 719"/>
                <a:gd name="T24" fmla="*/ 504 w 528"/>
                <a:gd name="T25" fmla="*/ 117 h 719"/>
                <a:gd name="T26" fmla="*/ 504 w 528"/>
                <a:gd name="T27" fmla="*/ 0 h 719"/>
                <a:gd name="T28" fmla="*/ 504 w 528"/>
                <a:gd name="T29"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8" h="719">
                  <a:moveTo>
                    <a:pt x="504" y="0"/>
                  </a:moveTo>
                  <a:lnTo>
                    <a:pt x="0" y="0"/>
                  </a:lnTo>
                  <a:lnTo>
                    <a:pt x="0" y="333"/>
                  </a:lnTo>
                  <a:lnTo>
                    <a:pt x="126" y="719"/>
                  </a:lnTo>
                  <a:lnTo>
                    <a:pt x="528" y="719"/>
                  </a:lnTo>
                  <a:lnTo>
                    <a:pt x="528" y="593"/>
                  </a:lnTo>
                  <a:lnTo>
                    <a:pt x="126" y="593"/>
                  </a:lnTo>
                  <a:lnTo>
                    <a:pt x="126" y="394"/>
                  </a:lnTo>
                  <a:lnTo>
                    <a:pt x="410" y="394"/>
                  </a:lnTo>
                  <a:lnTo>
                    <a:pt x="410" y="272"/>
                  </a:lnTo>
                  <a:lnTo>
                    <a:pt x="126" y="272"/>
                  </a:lnTo>
                  <a:lnTo>
                    <a:pt x="126" y="117"/>
                  </a:lnTo>
                  <a:lnTo>
                    <a:pt x="504" y="117"/>
                  </a:lnTo>
                  <a:lnTo>
                    <a:pt x="504" y="0"/>
                  </a:lnTo>
                  <a:lnTo>
                    <a:pt x="5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2" name="Freeform 8">
              <a:extLst>
                <a:ext uri="{FF2B5EF4-FFF2-40B4-BE49-F238E27FC236}">
                  <a16:creationId xmlns:a16="http://schemas.microsoft.com/office/drawing/2014/main" id="{DE8C09DF-390A-40CD-B920-6AD080E2969A}"/>
                </a:ext>
              </a:extLst>
            </p:cNvPr>
            <p:cNvSpPr>
              <a:spLocks/>
            </p:cNvSpPr>
            <p:nvPr userDrawn="1"/>
          </p:nvSpPr>
          <p:spPr bwMode="auto">
            <a:xfrm>
              <a:off x="8216901" y="2684463"/>
              <a:ext cx="896938" cy="1135063"/>
            </a:xfrm>
            <a:custGeom>
              <a:avLst/>
              <a:gdLst>
                <a:gd name="T0" fmla="*/ 0 w 565"/>
                <a:gd name="T1" fmla="*/ 715 h 715"/>
                <a:gd name="T2" fmla="*/ 0 w 565"/>
                <a:gd name="T3" fmla="*/ 0 h 715"/>
                <a:gd name="T4" fmla="*/ 130 w 565"/>
                <a:gd name="T5" fmla="*/ 0 h 715"/>
                <a:gd name="T6" fmla="*/ 435 w 565"/>
                <a:gd name="T7" fmla="*/ 475 h 715"/>
                <a:gd name="T8" fmla="*/ 435 w 565"/>
                <a:gd name="T9" fmla="*/ 0 h 715"/>
                <a:gd name="T10" fmla="*/ 565 w 565"/>
                <a:gd name="T11" fmla="*/ 0 h 715"/>
                <a:gd name="T12" fmla="*/ 565 w 565"/>
                <a:gd name="T13" fmla="*/ 715 h 715"/>
                <a:gd name="T14" fmla="*/ 435 w 565"/>
                <a:gd name="T15" fmla="*/ 715 h 715"/>
                <a:gd name="T16" fmla="*/ 130 w 565"/>
                <a:gd name="T17" fmla="*/ 231 h 715"/>
                <a:gd name="T18" fmla="*/ 130 w 565"/>
                <a:gd name="T19" fmla="*/ 715 h 715"/>
                <a:gd name="T20" fmla="*/ 0 w 565"/>
                <a:gd name="T21" fmla="*/ 715 h 715"/>
                <a:gd name="T22" fmla="*/ 0 w 565"/>
                <a:gd name="T23"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5" h="715">
                  <a:moveTo>
                    <a:pt x="0" y="715"/>
                  </a:moveTo>
                  <a:lnTo>
                    <a:pt x="0" y="0"/>
                  </a:lnTo>
                  <a:lnTo>
                    <a:pt x="130" y="0"/>
                  </a:lnTo>
                  <a:lnTo>
                    <a:pt x="435" y="475"/>
                  </a:lnTo>
                  <a:lnTo>
                    <a:pt x="435" y="0"/>
                  </a:lnTo>
                  <a:lnTo>
                    <a:pt x="565" y="0"/>
                  </a:lnTo>
                  <a:lnTo>
                    <a:pt x="565" y="715"/>
                  </a:lnTo>
                  <a:lnTo>
                    <a:pt x="435" y="715"/>
                  </a:lnTo>
                  <a:lnTo>
                    <a:pt x="130" y="231"/>
                  </a:lnTo>
                  <a:lnTo>
                    <a:pt x="130" y="715"/>
                  </a:lnTo>
                  <a:lnTo>
                    <a:pt x="0" y="715"/>
                  </a:lnTo>
                  <a:lnTo>
                    <a:pt x="0" y="7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3" name="Freeform 9">
              <a:extLst>
                <a:ext uri="{FF2B5EF4-FFF2-40B4-BE49-F238E27FC236}">
                  <a16:creationId xmlns:a16="http://schemas.microsoft.com/office/drawing/2014/main" id="{B12AB8E9-FF2D-4627-9FAA-197102AE811E}"/>
                </a:ext>
              </a:extLst>
            </p:cNvPr>
            <p:cNvSpPr>
              <a:spLocks/>
            </p:cNvSpPr>
            <p:nvPr userDrawn="1"/>
          </p:nvSpPr>
          <p:spPr bwMode="auto">
            <a:xfrm>
              <a:off x="5854701" y="2651126"/>
              <a:ext cx="1006475" cy="1200150"/>
            </a:xfrm>
            <a:custGeom>
              <a:avLst/>
              <a:gdLst>
                <a:gd name="T0" fmla="*/ 386 w 634"/>
                <a:gd name="T1" fmla="*/ 4 h 756"/>
                <a:gd name="T2" fmla="*/ 479 w 634"/>
                <a:gd name="T3" fmla="*/ 37 h 756"/>
                <a:gd name="T4" fmla="*/ 557 w 634"/>
                <a:gd name="T5" fmla="*/ 90 h 756"/>
                <a:gd name="T6" fmla="*/ 614 w 634"/>
                <a:gd name="T7" fmla="*/ 159 h 756"/>
                <a:gd name="T8" fmla="*/ 516 w 634"/>
                <a:gd name="T9" fmla="*/ 260 h 756"/>
                <a:gd name="T10" fmla="*/ 504 w 634"/>
                <a:gd name="T11" fmla="*/ 236 h 756"/>
                <a:gd name="T12" fmla="*/ 475 w 634"/>
                <a:gd name="T13" fmla="*/ 191 h 756"/>
                <a:gd name="T14" fmla="*/ 422 w 634"/>
                <a:gd name="T15" fmla="*/ 147 h 756"/>
                <a:gd name="T16" fmla="*/ 341 w 634"/>
                <a:gd name="T17" fmla="*/ 126 h 756"/>
                <a:gd name="T18" fmla="*/ 256 w 634"/>
                <a:gd name="T19" fmla="*/ 142 h 756"/>
                <a:gd name="T20" fmla="*/ 191 w 634"/>
                <a:gd name="T21" fmla="*/ 195 h 756"/>
                <a:gd name="T22" fmla="*/ 150 w 634"/>
                <a:gd name="T23" fmla="*/ 277 h 756"/>
                <a:gd name="T24" fmla="*/ 138 w 634"/>
                <a:gd name="T25" fmla="*/ 386 h 756"/>
                <a:gd name="T26" fmla="*/ 154 w 634"/>
                <a:gd name="T27" fmla="*/ 496 h 756"/>
                <a:gd name="T28" fmla="*/ 199 w 634"/>
                <a:gd name="T29" fmla="*/ 569 h 756"/>
                <a:gd name="T30" fmla="*/ 264 w 634"/>
                <a:gd name="T31" fmla="*/ 614 h 756"/>
                <a:gd name="T32" fmla="*/ 341 w 634"/>
                <a:gd name="T33" fmla="*/ 630 h 756"/>
                <a:gd name="T34" fmla="*/ 414 w 634"/>
                <a:gd name="T35" fmla="*/ 614 h 756"/>
                <a:gd name="T36" fmla="*/ 467 w 634"/>
                <a:gd name="T37" fmla="*/ 582 h 756"/>
                <a:gd name="T38" fmla="*/ 504 w 634"/>
                <a:gd name="T39" fmla="*/ 529 h 756"/>
                <a:gd name="T40" fmla="*/ 516 w 634"/>
                <a:gd name="T41" fmla="*/ 468 h 756"/>
                <a:gd name="T42" fmla="*/ 341 w 634"/>
                <a:gd name="T43" fmla="*/ 346 h 756"/>
                <a:gd name="T44" fmla="*/ 634 w 634"/>
                <a:gd name="T45" fmla="*/ 740 h 756"/>
                <a:gd name="T46" fmla="*/ 520 w 634"/>
                <a:gd name="T47" fmla="*/ 675 h 756"/>
                <a:gd name="T48" fmla="*/ 516 w 634"/>
                <a:gd name="T49" fmla="*/ 687 h 756"/>
                <a:gd name="T50" fmla="*/ 483 w 634"/>
                <a:gd name="T51" fmla="*/ 716 h 756"/>
                <a:gd name="T52" fmla="*/ 427 w 634"/>
                <a:gd name="T53" fmla="*/ 744 h 756"/>
                <a:gd name="T54" fmla="*/ 337 w 634"/>
                <a:gd name="T55" fmla="*/ 756 h 756"/>
                <a:gd name="T56" fmla="*/ 219 w 634"/>
                <a:gd name="T57" fmla="*/ 736 h 756"/>
                <a:gd name="T58" fmla="*/ 113 w 634"/>
                <a:gd name="T59" fmla="*/ 675 h 756"/>
                <a:gd name="T60" fmla="*/ 32 w 634"/>
                <a:gd name="T61" fmla="*/ 561 h 756"/>
                <a:gd name="T62" fmla="*/ 0 w 634"/>
                <a:gd name="T63" fmla="*/ 386 h 756"/>
                <a:gd name="T64" fmla="*/ 28 w 634"/>
                <a:gd name="T65" fmla="*/ 212 h 756"/>
                <a:gd name="T66" fmla="*/ 109 w 634"/>
                <a:gd name="T67" fmla="*/ 90 h 756"/>
                <a:gd name="T68" fmla="*/ 219 w 634"/>
                <a:gd name="T69" fmla="*/ 25 h 756"/>
                <a:gd name="T70" fmla="*/ 337 w 634"/>
                <a:gd name="T71"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756">
                  <a:moveTo>
                    <a:pt x="337" y="0"/>
                  </a:moveTo>
                  <a:lnTo>
                    <a:pt x="386" y="4"/>
                  </a:lnTo>
                  <a:lnTo>
                    <a:pt x="435" y="16"/>
                  </a:lnTo>
                  <a:lnTo>
                    <a:pt x="479" y="37"/>
                  </a:lnTo>
                  <a:lnTo>
                    <a:pt x="520" y="57"/>
                  </a:lnTo>
                  <a:lnTo>
                    <a:pt x="557" y="90"/>
                  </a:lnTo>
                  <a:lnTo>
                    <a:pt x="589" y="122"/>
                  </a:lnTo>
                  <a:lnTo>
                    <a:pt x="614" y="159"/>
                  </a:lnTo>
                  <a:lnTo>
                    <a:pt x="630" y="199"/>
                  </a:lnTo>
                  <a:lnTo>
                    <a:pt x="516" y="260"/>
                  </a:lnTo>
                  <a:lnTo>
                    <a:pt x="512" y="252"/>
                  </a:lnTo>
                  <a:lnTo>
                    <a:pt x="504" y="236"/>
                  </a:lnTo>
                  <a:lnTo>
                    <a:pt x="496" y="216"/>
                  </a:lnTo>
                  <a:lnTo>
                    <a:pt x="475" y="191"/>
                  </a:lnTo>
                  <a:lnTo>
                    <a:pt x="451" y="167"/>
                  </a:lnTo>
                  <a:lnTo>
                    <a:pt x="422" y="147"/>
                  </a:lnTo>
                  <a:lnTo>
                    <a:pt x="386" y="130"/>
                  </a:lnTo>
                  <a:lnTo>
                    <a:pt x="341" y="126"/>
                  </a:lnTo>
                  <a:lnTo>
                    <a:pt x="296" y="126"/>
                  </a:lnTo>
                  <a:lnTo>
                    <a:pt x="256" y="142"/>
                  </a:lnTo>
                  <a:lnTo>
                    <a:pt x="219" y="167"/>
                  </a:lnTo>
                  <a:lnTo>
                    <a:pt x="191" y="195"/>
                  </a:lnTo>
                  <a:lnTo>
                    <a:pt x="166" y="232"/>
                  </a:lnTo>
                  <a:lnTo>
                    <a:pt x="150" y="277"/>
                  </a:lnTo>
                  <a:lnTo>
                    <a:pt x="142" y="329"/>
                  </a:lnTo>
                  <a:lnTo>
                    <a:pt x="138" y="386"/>
                  </a:lnTo>
                  <a:lnTo>
                    <a:pt x="142" y="443"/>
                  </a:lnTo>
                  <a:lnTo>
                    <a:pt x="154" y="496"/>
                  </a:lnTo>
                  <a:lnTo>
                    <a:pt x="174" y="537"/>
                  </a:lnTo>
                  <a:lnTo>
                    <a:pt x="199" y="569"/>
                  </a:lnTo>
                  <a:lnTo>
                    <a:pt x="231" y="598"/>
                  </a:lnTo>
                  <a:lnTo>
                    <a:pt x="264" y="614"/>
                  </a:lnTo>
                  <a:lnTo>
                    <a:pt x="300" y="626"/>
                  </a:lnTo>
                  <a:lnTo>
                    <a:pt x="341" y="630"/>
                  </a:lnTo>
                  <a:lnTo>
                    <a:pt x="378" y="626"/>
                  </a:lnTo>
                  <a:lnTo>
                    <a:pt x="414" y="614"/>
                  </a:lnTo>
                  <a:lnTo>
                    <a:pt x="443" y="602"/>
                  </a:lnTo>
                  <a:lnTo>
                    <a:pt x="467" y="582"/>
                  </a:lnTo>
                  <a:lnTo>
                    <a:pt x="488" y="557"/>
                  </a:lnTo>
                  <a:lnTo>
                    <a:pt x="504" y="529"/>
                  </a:lnTo>
                  <a:lnTo>
                    <a:pt x="512" y="500"/>
                  </a:lnTo>
                  <a:lnTo>
                    <a:pt x="516" y="468"/>
                  </a:lnTo>
                  <a:lnTo>
                    <a:pt x="341" y="468"/>
                  </a:lnTo>
                  <a:lnTo>
                    <a:pt x="341" y="346"/>
                  </a:lnTo>
                  <a:lnTo>
                    <a:pt x="634" y="346"/>
                  </a:lnTo>
                  <a:lnTo>
                    <a:pt x="634" y="740"/>
                  </a:lnTo>
                  <a:lnTo>
                    <a:pt x="520" y="740"/>
                  </a:lnTo>
                  <a:lnTo>
                    <a:pt x="520" y="675"/>
                  </a:lnTo>
                  <a:lnTo>
                    <a:pt x="520" y="679"/>
                  </a:lnTo>
                  <a:lnTo>
                    <a:pt x="516" y="687"/>
                  </a:lnTo>
                  <a:lnTo>
                    <a:pt x="500" y="699"/>
                  </a:lnTo>
                  <a:lnTo>
                    <a:pt x="483" y="716"/>
                  </a:lnTo>
                  <a:lnTo>
                    <a:pt x="459" y="732"/>
                  </a:lnTo>
                  <a:lnTo>
                    <a:pt x="427" y="744"/>
                  </a:lnTo>
                  <a:lnTo>
                    <a:pt x="386" y="752"/>
                  </a:lnTo>
                  <a:lnTo>
                    <a:pt x="337" y="756"/>
                  </a:lnTo>
                  <a:lnTo>
                    <a:pt x="280" y="752"/>
                  </a:lnTo>
                  <a:lnTo>
                    <a:pt x="219" y="736"/>
                  </a:lnTo>
                  <a:lnTo>
                    <a:pt x="166" y="712"/>
                  </a:lnTo>
                  <a:lnTo>
                    <a:pt x="113" y="675"/>
                  </a:lnTo>
                  <a:lnTo>
                    <a:pt x="69" y="622"/>
                  </a:lnTo>
                  <a:lnTo>
                    <a:pt x="32" y="561"/>
                  </a:lnTo>
                  <a:lnTo>
                    <a:pt x="8" y="480"/>
                  </a:lnTo>
                  <a:lnTo>
                    <a:pt x="0" y="386"/>
                  </a:lnTo>
                  <a:lnTo>
                    <a:pt x="8" y="293"/>
                  </a:lnTo>
                  <a:lnTo>
                    <a:pt x="28" y="212"/>
                  </a:lnTo>
                  <a:lnTo>
                    <a:pt x="65" y="147"/>
                  </a:lnTo>
                  <a:lnTo>
                    <a:pt x="109" y="90"/>
                  </a:lnTo>
                  <a:lnTo>
                    <a:pt x="162" y="53"/>
                  </a:lnTo>
                  <a:lnTo>
                    <a:pt x="219" y="25"/>
                  </a:lnTo>
                  <a:lnTo>
                    <a:pt x="276" y="8"/>
                  </a:lnTo>
                  <a:lnTo>
                    <a:pt x="337" y="0"/>
                  </a:lnTo>
                  <a:lnTo>
                    <a:pt x="3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4" name="Freeform 10">
              <a:extLst>
                <a:ext uri="{FF2B5EF4-FFF2-40B4-BE49-F238E27FC236}">
                  <a16:creationId xmlns:a16="http://schemas.microsoft.com/office/drawing/2014/main" id="{EBF3FE34-2142-4E39-9863-F7E4D87F6F73}"/>
                </a:ext>
              </a:extLst>
            </p:cNvPr>
            <p:cNvSpPr>
              <a:spLocks/>
            </p:cNvSpPr>
            <p:nvPr userDrawn="1"/>
          </p:nvSpPr>
          <p:spPr bwMode="auto">
            <a:xfrm>
              <a:off x="6996113" y="2644776"/>
              <a:ext cx="1077913" cy="1200150"/>
            </a:xfrm>
            <a:custGeom>
              <a:avLst/>
              <a:gdLst>
                <a:gd name="T0" fmla="*/ 220 w 679"/>
                <a:gd name="T1" fmla="*/ 590 h 756"/>
                <a:gd name="T2" fmla="*/ 248 w 679"/>
                <a:gd name="T3" fmla="*/ 610 h 756"/>
                <a:gd name="T4" fmla="*/ 281 w 679"/>
                <a:gd name="T5" fmla="*/ 622 h 756"/>
                <a:gd name="T6" fmla="*/ 313 w 679"/>
                <a:gd name="T7" fmla="*/ 630 h 756"/>
                <a:gd name="T8" fmla="*/ 383 w 679"/>
                <a:gd name="T9" fmla="*/ 626 h 756"/>
                <a:gd name="T10" fmla="*/ 464 w 679"/>
                <a:gd name="T11" fmla="*/ 586 h 756"/>
                <a:gd name="T12" fmla="*/ 517 w 679"/>
                <a:gd name="T13" fmla="*/ 516 h 756"/>
                <a:gd name="T14" fmla="*/ 541 w 679"/>
                <a:gd name="T15" fmla="*/ 431 h 756"/>
                <a:gd name="T16" fmla="*/ 541 w 679"/>
                <a:gd name="T17" fmla="*/ 333 h 756"/>
                <a:gd name="T18" fmla="*/ 517 w 679"/>
                <a:gd name="T19" fmla="*/ 244 h 756"/>
                <a:gd name="T20" fmla="*/ 460 w 679"/>
                <a:gd name="T21" fmla="*/ 171 h 756"/>
                <a:gd name="T22" fmla="*/ 383 w 679"/>
                <a:gd name="T23" fmla="*/ 130 h 756"/>
                <a:gd name="T24" fmla="*/ 285 w 679"/>
                <a:gd name="T25" fmla="*/ 130 h 756"/>
                <a:gd name="T26" fmla="*/ 208 w 679"/>
                <a:gd name="T27" fmla="*/ 171 h 756"/>
                <a:gd name="T28" fmla="*/ 159 w 679"/>
                <a:gd name="T29" fmla="*/ 248 h 756"/>
                <a:gd name="T30" fmla="*/ 139 w 679"/>
                <a:gd name="T31" fmla="*/ 338 h 756"/>
                <a:gd name="T32" fmla="*/ 139 w 679"/>
                <a:gd name="T33" fmla="*/ 415 h 756"/>
                <a:gd name="T34" fmla="*/ 147 w 679"/>
                <a:gd name="T35" fmla="*/ 468 h 756"/>
                <a:gd name="T36" fmla="*/ 163 w 679"/>
                <a:gd name="T37" fmla="*/ 516 h 756"/>
                <a:gd name="T38" fmla="*/ 187 w 679"/>
                <a:gd name="T39" fmla="*/ 561 h 756"/>
                <a:gd name="T40" fmla="*/ 151 w 679"/>
                <a:gd name="T41" fmla="*/ 703 h 756"/>
                <a:gd name="T42" fmla="*/ 90 w 679"/>
                <a:gd name="T43" fmla="*/ 651 h 756"/>
                <a:gd name="T44" fmla="*/ 41 w 679"/>
                <a:gd name="T45" fmla="*/ 577 h 756"/>
                <a:gd name="T46" fmla="*/ 8 w 679"/>
                <a:gd name="T47" fmla="*/ 488 h 756"/>
                <a:gd name="T48" fmla="*/ 0 w 679"/>
                <a:gd name="T49" fmla="*/ 382 h 756"/>
                <a:gd name="T50" fmla="*/ 25 w 679"/>
                <a:gd name="T51" fmla="*/ 216 h 756"/>
                <a:gd name="T52" fmla="*/ 98 w 679"/>
                <a:gd name="T53" fmla="*/ 94 h 756"/>
                <a:gd name="T54" fmla="*/ 208 w 679"/>
                <a:gd name="T55" fmla="*/ 25 h 756"/>
                <a:gd name="T56" fmla="*/ 338 w 679"/>
                <a:gd name="T57" fmla="*/ 0 h 756"/>
                <a:gd name="T58" fmla="*/ 456 w 679"/>
                <a:gd name="T59" fmla="*/ 20 h 756"/>
                <a:gd name="T60" fmla="*/ 565 w 679"/>
                <a:gd name="T61" fmla="*/ 90 h 756"/>
                <a:gd name="T62" fmla="*/ 647 w 679"/>
                <a:gd name="T63" fmla="*/ 207 h 756"/>
                <a:gd name="T64" fmla="*/ 679 w 679"/>
                <a:gd name="T65" fmla="*/ 382 h 756"/>
                <a:gd name="T66" fmla="*/ 659 w 679"/>
                <a:gd name="T67" fmla="*/ 537 h 756"/>
                <a:gd name="T68" fmla="*/ 586 w 679"/>
                <a:gd name="T69" fmla="*/ 651 h 756"/>
                <a:gd name="T70" fmla="*/ 480 w 679"/>
                <a:gd name="T71" fmla="*/ 728 h 756"/>
                <a:gd name="T72" fmla="*/ 338 w 679"/>
                <a:gd name="T73" fmla="*/ 756 h 756"/>
                <a:gd name="T74" fmla="*/ 289 w 679"/>
                <a:gd name="T75" fmla="*/ 752 h 756"/>
                <a:gd name="T76" fmla="*/ 240 w 679"/>
                <a:gd name="T77" fmla="*/ 744 h 756"/>
                <a:gd name="T78" fmla="*/ 191 w 679"/>
                <a:gd name="T79" fmla="*/ 724 h 756"/>
                <a:gd name="T80" fmla="*/ 151 w 679"/>
                <a:gd name="T81" fmla="*/ 703 h 756"/>
                <a:gd name="T82" fmla="*/ 204 w 679"/>
                <a:gd name="T83" fmla="*/ 577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756">
                  <a:moveTo>
                    <a:pt x="204" y="577"/>
                  </a:moveTo>
                  <a:lnTo>
                    <a:pt x="220" y="590"/>
                  </a:lnTo>
                  <a:lnTo>
                    <a:pt x="232" y="598"/>
                  </a:lnTo>
                  <a:lnTo>
                    <a:pt x="248" y="610"/>
                  </a:lnTo>
                  <a:lnTo>
                    <a:pt x="265" y="618"/>
                  </a:lnTo>
                  <a:lnTo>
                    <a:pt x="281" y="622"/>
                  </a:lnTo>
                  <a:lnTo>
                    <a:pt x="297" y="626"/>
                  </a:lnTo>
                  <a:lnTo>
                    <a:pt x="313" y="630"/>
                  </a:lnTo>
                  <a:lnTo>
                    <a:pt x="334" y="630"/>
                  </a:lnTo>
                  <a:lnTo>
                    <a:pt x="383" y="626"/>
                  </a:lnTo>
                  <a:lnTo>
                    <a:pt x="427" y="610"/>
                  </a:lnTo>
                  <a:lnTo>
                    <a:pt x="464" y="586"/>
                  </a:lnTo>
                  <a:lnTo>
                    <a:pt x="492" y="553"/>
                  </a:lnTo>
                  <a:lnTo>
                    <a:pt x="517" y="516"/>
                  </a:lnTo>
                  <a:lnTo>
                    <a:pt x="533" y="476"/>
                  </a:lnTo>
                  <a:lnTo>
                    <a:pt x="541" y="431"/>
                  </a:lnTo>
                  <a:lnTo>
                    <a:pt x="545" y="382"/>
                  </a:lnTo>
                  <a:lnTo>
                    <a:pt x="541" y="333"/>
                  </a:lnTo>
                  <a:lnTo>
                    <a:pt x="533" y="285"/>
                  </a:lnTo>
                  <a:lnTo>
                    <a:pt x="517" y="244"/>
                  </a:lnTo>
                  <a:lnTo>
                    <a:pt x="492" y="203"/>
                  </a:lnTo>
                  <a:lnTo>
                    <a:pt x="460" y="171"/>
                  </a:lnTo>
                  <a:lnTo>
                    <a:pt x="427" y="146"/>
                  </a:lnTo>
                  <a:lnTo>
                    <a:pt x="383" y="130"/>
                  </a:lnTo>
                  <a:lnTo>
                    <a:pt x="334" y="122"/>
                  </a:lnTo>
                  <a:lnTo>
                    <a:pt x="285" y="130"/>
                  </a:lnTo>
                  <a:lnTo>
                    <a:pt x="244" y="146"/>
                  </a:lnTo>
                  <a:lnTo>
                    <a:pt x="208" y="171"/>
                  </a:lnTo>
                  <a:lnTo>
                    <a:pt x="179" y="207"/>
                  </a:lnTo>
                  <a:lnTo>
                    <a:pt x="159" y="248"/>
                  </a:lnTo>
                  <a:lnTo>
                    <a:pt x="147" y="293"/>
                  </a:lnTo>
                  <a:lnTo>
                    <a:pt x="139" y="338"/>
                  </a:lnTo>
                  <a:lnTo>
                    <a:pt x="134" y="386"/>
                  </a:lnTo>
                  <a:lnTo>
                    <a:pt x="139" y="415"/>
                  </a:lnTo>
                  <a:lnTo>
                    <a:pt x="139" y="443"/>
                  </a:lnTo>
                  <a:lnTo>
                    <a:pt x="147" y="468"/>
                  </a:lnTo>
                  <a:lnTo>
                    <a:pt x="155" y="492"/>
                  </a:lnTo>
                  <a:lnTo>
                    <a:pt x="163" y="516"/>
                  </a:lnTo>
                  <a:lnTo>
                    <a:pt x="175" y="537"/>
                  </a:lnTo>
                  <a:lnTo>
                    <a:pt x="187" y="561"/>
                  </a:lnTo>
                  <a:lnTo>
                    <a:pt x="204" y="577"/>
                  </a:lnTo>
                  <a:lnTo>
                    <a:pt x="151" y="703"/>
                  </a:lnTo>
                  <a:lnTo>
                    <a:pt x="118" y="679"/>
                  </a:lnTo>
                  <a:lnTo>
                    <a:pt x="90" y="651"/>
                  </a:lnTo>
                  <a:lnTo>
                    <a:pt x="61" y="614"/>
                  </a:lnTo>
                  <a:lnTo>
                    <a:pt x="41" y="577"/>
                  </a:lnTo>
                  <a:lnTo>
                    <a:pt x="21" y="537"/>
                  </a:lnTo>
                  <a:lnTo>
                    <a:pt x="8" y="488"/>
                  </a:lnTo>
                  <a:lnTo>
                    <a:pt x="0" y="439"/>
                  </a:lnTo>
                  <a:lnTo>
                    <a:pt x="0" y="382"/>
                  </a:lnTo>
                  <a:lnTo>
                    <a:pt x="4" y="293"/>
                  </a:lnTo>
                  <a:lnTo>
                    <a:pt x="25" y="216"/>
                  </a:lnTo>
                  <a:lnTo>
                    <a:pt x="57" y="151"/>
                  </a:lnTo>
                  <a:lnTo>
                    <a:pt x="98" y="94"/>
                  </a:lnTo>
                  <a:lnTo>
                    <a:pt x="151" y="53"/>
                  </a:lnTo>
                  <a:lnTo>
                    <a:pt x="208" y="25"/>
                  </a:lnTo>
                  <a:lnTo>
                    <a:pt x="273" y="4"/>
                  </a:lnTo>
                  <a:lnTo>
                    <a:pt x="338" y="0"/>
                  </a:lnTo>
                  <a:lnTo>
                    <a:pt x="395" y="4"/>
                  </a:lnTo>
                  <a:lnTo>
                    <a:pt x="456" y="20"/>
                  </a:lnTo>
                  <a:lnTo>
                    <a:pt x="517" y="49"/>
                  </a:lnTo>
                  <a:lnTo>
                    <a:pt x="565" y="90"/>
                  </a:lnTo>
                  <a:lnTo>
                    <a:pt x="614" y="142"/>
                  </a:lnTo>
                  <a:lnTo>
                    <a:pt x="647" y="207"/>
                  </a:lnTo>
                  <a:lnTo>
                    <a:pt x="671" y="289"/>
                  </a:lnTo>
                  <a:lnTo>
                    <a:pt x="679" y="382"/>
                  </a:lnTo>
                  <a:lnTo>
                    <a:pt x="675" y="464"/>
                  </a:lnTo>
                  <a:lnTo>
                    <a:pt x="659" y="537"/>
                  </a:lnTo>
                  <a:lnTo>
                    <a:pt x="626" y="598"/>
                  </a:lnTo>
                  <a:lnTo>
                    <a:pt x="586" y="651"/>
                  </a:lnTo>
                  <a:lnTo>
                    <a:pt x="537" y="695"/>
                  </a:lnTo>
                  <a:lnTo>
                    <a:pt x="480" y="728"/>
                  </a:lnTo>
                  <a:lnTo>
                    <a:pt x="411" y="748"/>
                  </a:lnTo>
                  <a:lnTo>
                    <a:pt x="338" y="756"/>
                  </a:lnTo>
                  <a:lnTo>
                    <a:pt x="313" y="756"/>
                  </a:lnTo>
                  <a:lnTo>
                    <a:pt x="289" y="752"/>
                  </a:lnTo>
                  <a:lnTo>
                    <a:pt x="265" y="748"/>
                  </a:lnTo>
                  <a:lnTo>
                    <a:pt x="240" y="744"/>
                  </a:lnTo>
                  <a:lnTo>
                    <a:pt x="216" y="736"/>
                  </a:lnTo>
                  <a:lnTo>
                    <a:pt x="191" y="724"/>
                  </a:lnTo>
                  <a:lnTo>
                    <a:pt x="171" y="716"/>
                  </a:lnTo>
                  <a:lnTo>
                    <a:pt x="151" y="703"/>
                  </a:lnTo>
                  <a:lnTo>
                    <a:pt x="204" y="577"/>
                  </a:lnTo>
                  <a:lnTo>
                    <a:pt x="204" y="5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5" name="Freeform 11">
              <a:extLst>
                <a:ext uri="{FF2B5EF4-FFF2-40B4-BE49-F238E27FC236}">
                  <a16:creationId xmlns:a16="http://schemas.microsoft.com/office/drawing/2014/main" id="{4DA9B864-6C96-402D-A56B-8DB322073387}"/>
                </a:ext>
              </a:extLst>
            </p:cNvPr>
            <p:cNvSpPr>
              <a:spLocks/>
            </p:cNvSpPr>
            <p:nvPr userDrawn="1"/>
          </p:nvSpPr>
          <p:spPr bwMode="auto">
            <a:xfrm>
              <a:off x="5286376" y="4110038"/>
              <a:ext cx="3130550" cy="115888"/>
            </a:xfrm>
            <a:custGeom>
              <a:avLst/>
              <a:gdLst>
                <a:gd name="T0" fmla="*/ 28 w 1972"/>
                <a:gd name="T1" fmla="*/ 73 h 73"/>
                <a:gd name="T2" fmla="*/ 0 w 1972"/>
                <a:gd name="T3" fmla="*/ 0 h 73"/>
                <a:gd name="T4" fmla="*/ 1972 w 1972"/>
                <a:gd name="T5" fmla="*/ 0 h 73"/>
                <a:gd name="T6" fmla="*/ 1972 w 1972"/>
                <a:gd name="T7" fmla="*/ 73 h 73"/>
                <a:gd name="T8" fmla="*/ 28 w 1972"/>
                <a:gd name="T9" fmla="*/ 73 h 73"/>
                <a:gd name="T10" fmla="*/ 28 w 1972"/>
                <a:gd name="T11" fmla="*/ 73 h 73"/>
              </a:gdLst>
              <a:ahLst/>
              <a:cxnLst>
                <a:cxn ang="0">
                  <a:pos x="T0" y="T1"/>
                </a:cxn>
                <a:cxn ang="0">
                  <a:pos x="T2" y="T3"/>
                </a:cxn>
                <a:cxn ang="0">
                  <a:pos x="T4" y="T5"/>
                </a:cxn>
                <a:cxn ang="0">
                  <a:pos x="T6" y="T7"/>
                </a:cxn>
                <a:cxn ang="0">
                  <a:pos x="T8" y="T9"/>
                </a:cxn>
                <a:cxn ang="0">
                  <a:pos x="T10" y="T11"/>
                </a:cxn>
              </a:cxnLst>
              <a:rect l="0" t="0" r="r" b="b"/>
              <a:pathLst>
                <a:path w="1972" h="73">
                  <a:moveTo>
                    <a:pt x="28" y="73"/>
                  </a:moveTo>
                  <a:lnTo>
                    <a:pt x="0" y="0"/>
                  </a:lnTo>
                  <a:lnTo>
                    <a:pt x="1972" y="0"/>
                  </a:lnTo>
                  <a:lnTo>
                    <a:pt x="1972" y="73"/>
                  </a:lnTo>
                  <a:lnTo>
                    <a:pt x="28" y="73"/>
                  </a:lnTo>
                  <a:lnTo>
                    <a:pt x="28"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50" name="Sticker" hidden="1">
            <a:extLst>
              <a:ext uri="{FF2B5EF4-FFF2-40B4-BE49-F238E27FC236}">
                <a16:creationId xmlns:a16="http://schemas.microsoft.com/office/drawing/2014/main" id="{B7AC9519-43E4-4E5B-A377-4280D951BDE3}"/>
              </a:ext>
            </a:extLst>
          </p:cNvPr>
          <p:cNvSpPr txBox="1"/>
          <p:nvPr userDrawn="1"/>
        </p:nvSpPr>
        <p:spPr>
          <a:xfrm>
            <a:off x="554736" y="128656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grpSp>
        <p:nvGrpSpPr>
          <p:cNvPr id="151" name="StrongCallout" hidden="1">
            <a:extLst>
              <a:ext uri="{FF2B5EF4-FFF2-40B4-BE49-F238E27FC236}">
                <a16:creationId xmlns:a16="http://schemas.microsoft.com/office/drawing/2014/main" id="{3C5DEF36-30E7-4D5A-9E1D-F3C7FD042B8F}"/>
              </a:ext>
            </a:extLst>
          </p:cNvPr>
          <p:cNvGrpSpPr/>
          <p:nvPr userDrawn="1">
            <p:custDataLst>
              <p:tags r:id="rId29"/>
            </p:custDataLst>
          </p:nvPr>
        </p:nvGrpSpPr>
        <p:grpSpPr>
          <a:xfrm>
            <a:off x="3035300" y="4445000"/>
            <a:ext cx="3026228" cy="1497846"/>
            <a:chOff x="1016000" y="1016000"/>
            <a:chExt cx="3026228" cy="1497846"/>
          </a:xfrm>
        </p:grpSpPr>
        <p:sp>
          <p:nvSpPr>
            <p:cNvPr id="152" name="TextBox 151">
              <a:extLst>
                <a:ext uri="{FF2B5EF4-FFF2-40B4-BE49-F238E27FC236}">
                  <a16:creationId xmlns:a16="http://schemas.microsoft.com/office/drawing/2014/main" id="{62AD0F12-E129-458E-9618-06DE92EF0AAD}"/>
                </a:ext>
              </a:extLst>
            </p:cNvPr>
            <p:cNvSpPr txBox="1"/>
            <p:nvPr/>
          </p:nvSpPr>
          <p:spPr>
            <a:xfrm>
              <a:off x="1016000" y="1016000"/>
              <a:ext cx="2645228" cy="1497846"/>
            </a:xfrm>
            <a:prstGeom prst="rect">
              <a:avLst/>
            </a:prstGeom>
            <a:solidFill>
              <a:schemeClr val="accent1"/>
            </a:solidFill>
            <a:ln w="6350">
              <a:solidFill>
                <a:schemeClr val="bg1"/>
              </a:solidFill>
            </a:ln>
          </p:spPr>
          <p:txBody>
            <a:bodyPr vert="horz" wrap="square" lIns="182880" tIns="182880" rIns="182880" bIns="18288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400"/>
                </a:spcAft>
              </a:pPr>
              <a:r>
                <a:rPr lang="en-US" sz="1400" b="1">
                  <a:solidFill>
                    <a:schemeClr val="bg1"/>
                  </a:solidFill>
                </a:rPr>
                <a:t>Callout title</a:t>
              </a:r>
            </a:p>
            <a:p>
              <a:pPr>
                <a:spcBef>
                  <a:spcPts val="0"/>
                </a:spcBef>
                <a:spcAft>
                  <a:spcPts val="600"/>
                </a:spcAft>
              </a:pPr>
              <a:r>
                <a:rPr lang="en-US" sz="1400">
                  <a:solidFill>
                    <a:schemeClr val="bg1"/>
                  </a:solidFill>
                </a:rPr>
                <a:t>Supporting text goes here. Box will automatically adjust to content, adjust type size as needed.</a:t>
              </a:r>
            </a:p>
          </p:txBody>
        </p:sp>
        <p:cxnSp>
          <p:nvCxnSpPr>
            <p:cNvPr id="153" name="Straight Arrow Connector 152">
              <a:extLst>
                <a:ext uri="{FF2B5EF4-FFF2-40B4-BE49-F238E27FC236}">
                  <a16:creationId xmlns:a16="http://schemas.microsoft.com/office/drawing/2014/main" id="{36017761-2F8C-4632-BF5D-A982223504A7}"/>
                </a:ext>
              </a:extLst>
            </p:cNvPr>
            <p:cNvCxnSpPr>
              <a:cxnSpLocks/>
              <a:stCxn id="152" idx="3"/>
            </p:cNvCxnSpPr>
            <p:nvPr/>
          </p:nvCxnSpPr>
          <p:spPr>
            <a:xfrm>
              <a:off x="3661228" y="1764923"/>
              <a:ext cx="381000"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5802776"/>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9.xml"/></Relationships>
</file>

<file path=ppt/slides/_rels/slide10.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notesSlide" Target="../notesSlides/notesSlide4.xml"/><Relationship Id="rId16" Type="http://schemas.openxmlformats.org/officeDocument/2006/relationships/image" Target="../media/image56.png"/><Relationship Id="rId1" Type="http://schemas.openxmlformats.org/officeDocument/2006/relationships/slideLayout" Target="../slideLayouts/slideLayout93.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svg"/><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68.svg"/></Relationships>
</file>

<file path=ppt/slides/_rels/slide11.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notesSlide" Target="../notesSlides/notesSlide5.xml"/><Relationship Id="rId16" Type="http://schemas.openxmlformats.org/officeDocument/2006/relationships/image" Target="../media/image56.png"/><Relationship Id="rId1" Type="http://schemas.openxmlformats.org/officeDocument/2006/relationships/slideLayout" Target="../slideLayouts/slideLayout93.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70.svg"/><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68.svg"/></Relationships>
</file>

<file path=ppt/slides/_rels/slide12.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9.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17" Type="http://schemas.openxmlformats.org/officeDocument/2006/relationships/image" Target="../media/image71.png"/><Relationship Id="rId2" Type="http://schemas.openxmlformats.org/officeDocument/2006/relationships/notesSlide" Target="../notesSlides/notesSlide6.xml"/><Relationship Id="rId16" Type="http://schemas.openxmlformats.org/officeDocument/2006/relationships/image" Target="../media/image68.svg"/><Relationship Id="rId1" Type="http://schemas.openxmlformats.org/officeDocument/2006/relationships/slideLayout" Target="../slideLayouts/slideLayout93.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7.png"/><Relationship Id="rId10" Type="http://schemas.openxmlformats.org/officeDocument/2006/relationships/image" Target="../media/image70.svg"/><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56.png"/></Relationships>
</file>

<file path=ppt/slides/_rels/slide13.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69.png"/><Relationship Id="rId3" Type="http://schemas.openxmlformats.org/officeDocument/2006/relationships/image" Target="../media/image57.png"/><Relationship Id="rId7" Type="http://schemas.openxmlformats.org/officeDocument/2006/relationships/image" Target="../media/image63.png"/><Relationship Id="rId12" Type="http://schemas.openxmlformats.org/officeDocument/2006/relationships/image" Target="../media/image60.svg"/><Relationship Id="rId17" Type="http://schemas.openxmlformats.org/officeDocument/2006/relationships/image" Target="../media/image71.png"/><Relationship Id="rId2" Type="http://schemas.openxmlformats.org/officeDocument/2006/relationships/notesSlide" Target="../notesSlides/notesSlide7.xml"/><Relationship Id="rId16" Type="http://schemas.openxmlformats.org/officeDocument/2006/relationships/image" Target="../media/image68.svg"/><Relationship Id="rId1" Type="http://schemas.openxmlformats.org/officeDocument/2006/relationships/slideLayout" Target="../slideLayouts/slideLayout93.xml"/><Relationship Id="rId6" Type="http://schemas.openxmlformats.org/officeDocument/2006/relationships/image" Target="../media/image62.svg"/><Relationship Id="rId11" Type="http://schemas.openxmlformats.org/officeDocument/2006/relationships/image" Target="../media/image59.png"/><Relationship Id="rId5" Type="http://schemas.openxmlformats.org/officeDocument/2006/relationships/image" Target="../media/image61.png"/><Relationship Id="rId15" Type="http://schemas.openxmlformats.org/officeDocument/2006/relationships/image" Target="../media/image67.png"/><Relationship Id="rId10" Type="http://schemas.openxmlformats.org/officeDocument/2006/relationships/image" Target="../media/image66.svg"/><Relationship Id="rId4" Type="http://schemas.openxmlformats.org/officeDocument/2006/relationships/image" Target="../media/image58.svg"/><Relationship Id="rId9" Type="http://schemas.openxmlformats.org/officeDocument/2006/relationships/image" Target="../media/image65.png"/><Relationship Id="rId14" Type="http://schemas.openxmlformats.org/officeDocument/2006/relationships/image" Target="../media/image56.png"/></Relationships>
</file>

<file path=ppt/slides/_rels/slide14.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63.png"/><Relationship Id="rId7"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77.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0.svg"/><Relationship Id="rId9" Type="http://schemas.openxmlformats.org/officeDocument/2006/relationships/image" Target="../media/image76.png"/></Relationships>
</file>

<file path=ppt/slides/_rels/slide15.xml.rels><?xml version="1.0" encoding="UTF-8" standalone="yes"?>
<Relationships xmlns="http://schemas.openxmlformats.org/package/2006/relationships"><Relationship Id="rId3" Type="http://schemas.openxmlformats.org/officeDocument/2006/relationships/image" Target="../media/image70.svg"/><Relationship Id="rId7" Type="http://schemas.openxmlformats.org/officeDocument/2006/relationships/image" Target="../media/image80.png"/><Relationship Id="rId2" Type="http://schemas.openxmlformats.org/officeDocument/2006/relationships/image" Target="../media/image63.png"/><Relationship Id="rId1" Type="http://schemas.openxmlformats.org/officeDocument/2006/relationships/slideLayout" Target="../slideLayouts/slideLayout77.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16.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notesSlide" Target="../notesSlides/notesSlide9.xml"/><Relationship Id="rId16" Type="http://schemas.openxmlformats.org/officeDocument/2006/relationships/image" Target="../media/image56.png"/><Relationship Id="rId1" Type="http://schemas.openxmlformats.org/officeDocument/2006/relationships/slideLayout" Target="../slideLayouts/slideLayout93.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70.svg"/><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68.svg"/></Relationships>
</file>

<file path=ppt/slides/_rels/slide1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60.xml"/></Relationships>
</file>

<file path=ppt/slides/_rels/slide18.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1.png"/><Relationship Id="rId2" Type="http://schemas.openxmlformats.org/officeDocument/2006/relationships/notesSlide" Target="../notesSlides/notesSlide10.xml"/><Relationship Id="rId1" Type="http://schemas.openxmlformats.org/officeDocument/2006/relationships/slideLayout" Target="../slideLayouts/slideLayout77.xml"/><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s>
</file>

<file path=ppt/slides/_rels/slide19.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84.png"/><Relationship Id="rId3" Type="http://schemas.openxmlformats.org/officeDocument/2006/relationships/image" Target="../media/image58.svg"/><Relationship Id="rId7" Type="http://schemas.openxmlformats.org/officeDocument/2006/relationships/image" Target="../media/image89.svg"/><Relationship Id="rId12" Type="http://schemas.openxmlformats.org/officeDocument/2006/relationships/image" Target="../media/image83.svg"/><Relationship Id="rId2" Type="http://schemas.openxmlformats.org/officeDocument/2006/relationships/image" Target="../media/image57.png"/><Relationship Id="rId1" Type="http://schemas.openxmlformats.org/officeDocument/2006/relationships/slideLayout" Target="../slideLayouts/slideLayout93.xml"/><Relationship Id="rId6" Type="http://schemas.openxmlformats.org/officeDocument/2006/relationships/image" Target="../media/image88.png"/><Relationship Id="rId11" Type="http://schemas.openxmlformats.org/officeDocument/2006/relationships/image" Target="../media/image82.png"/><Relationship Id="rId5" Type="http://schemas.openxmlformats.org/officeDocument/2006/relationships/image" Target="../media/image87.svg"/><Relationship Id="rId10" Type="http://schemas.openxmlformats.org/officeDocument/2006/relationships/image" Target="../media/image81.png"/><Relationship Id="rId4" Type="http://schemas.openxmlformats.org/officeDocument/2006/relationships/image" Target="../media/image86.png"/><Relationship Id="rId9" Type="http://schemas.openxmlformats.org/officeDocument/2006/relationships/image" Target="../media/image91.svg"/><Relationship Id="rId14" Type="http://schemas.openxmlformats.org/officeDocument/2006/relationships/image" Target="../media/image85.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84.png"/><Relationship Id="rId3" Type="http://schemas.openxmlformats.org/officeDocument/2006/relationships/image" Target="../media/image58.svg"/><Relationship Id="rId7" Type="http://schemas.openxmlformats.org/officeDocument/2006/relationships/image" Target="../media/image89.svg"/><Relationship Id="rId12" Type="http://schemas.openxmlformats.org/officeDocument/2006/relationships/image" Target="../media/image83.svg"/><Relationship Id="rId2" Type="http://schemas.openxmlformats.org/officeDocument/2006/relationships/image" Target="../media/image57.png"/><Relationship Id="rId1" Type="http://schemas.openxmlformats.org/officeDocument/2006/relationships/slideLayout" Target="../slideLayouts/slideLayout93.xml"/><Relationship Id="rId6" Type="http://schemas.openxmlformats.org/officeDocument/2006/relationships/image" Target="../media/image88.png"/><Relationship Id="rId11" Type="http://schemas.openxmlformats.org/officeDocument/2006/relationships/image" Target="../media/image82.png"/><Relationship Id="rId5" Type="http://schemas.openxmlformats.org/officeDocument/2006/relationships/image" Target="../media/image87.svg"/><Relationship Id="rId10" Type="http://schemas.openxmlformats.org/officeDocument/2006/relationships/image" Target="../media/image81.png"/><Relationship Id="rId4" Type="http://schemas.openxmlformats.org/officeDocument/2006/relationships/image" Target="../media/image86.png"/><Relationship Id="rId9" Type="http://schemas.openxmlformats.org/officeDocument/2006/relationships/image" Target="../media/image91.svg"/><Relationship Id="rId14" Type="http://schemas.openxmlformats.org/officeDocument/2006/relationships/image" Target="../media/image85.svg"/></Relationships>
</file>

<file path=ppt/slides/_rels/slide21.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82.png"/><Relationship Id="rId3" Type="http://schemas.openxmlformats.org/officeDocument/2006/relationships/image" Target="../media/image58.svg"/><Relationship Id="rId7" Type="http://schemas.openxmlformats.org/officeDocument/2006/relationships/image" Target="../media/image89.svg"/><Relationship Id="rId12" Type="http://schemas.openxmlformats.org/officeDocument/2006/relationships/image" Target="../media/image81.png"/><Relationship Id="rId2" Type="http://schemas.openxmlformats.org/officeDocument/2006/relationships/image" Target="../media/image57.png"/><Relationship Id="rId16" Type="http://schemas.openxmlformats.org/officeDocument/2006/relationships/image" Target="../media/image85.svg"/><Relationship Id="rId1" Type="http://schemas.openxmlformats.org/officeDocument/2006/relationships/slideLayout" Target="../slideLayouts/slideLayout93.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image" Target="../media/image87.svg"/><Relationship Id="rId15" Type="http://schemas.openxmlformats.org/officeDocument/2006/relationships/image" Target="../media/image84.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svg"/><Relationship Id="rId14" Type="http://schemas.openxmlformats.org/officeDocument/2006/relationships/image" Target="../media/image83.svg"/></Relationships>
</file>

<file path=ppt/slides/_rels/slide22.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84.png"/><Relationship Id="rId3" Type="http://schemas.openxmlformats.org/officeDocument/2006/relationships/image" Target="../media/image58.svg"/><Relationship Id="rId7" Type="http://schemas.openxmlformats.org/officeDocument/2006/relationships/image" Target="../media/image89.svg"/><Relationship Id="rId12" Type="http://schemas.openxmlformats.org/officeDocument/2006/relationships/image" Target="../media/image83.svg"/><Relationship Id="rId2" Type="http://schemas.openxmlformats.org/officeDocument/2006/relationships/image" Target="../media/image57.png"/><Relationship Id="rId1" Type="http://schemas.openxmlformats.org/officeDocument/2006/relationships/slideLayout" Target="../slideLayouts/slideLayout93.xml"/><Relationship Id="rId6" Type="http://schemas.openxmlformats.org/officeDocument/2006/relationships/image" Target="../media/image88.png"/><Relationship Id="rId11" Type="http://schemas.openxmlformats.org/officeDocument/2006/relationships/image" Target="../media/image82.png"/><Relationship Id="rId5" Type="http://schemas.openxmlformats.org/officeDocument/2006/relationships/image" Target="../media/image87.svg"/><Relationship Id="rId10" Type="http://schemas.openxmlformats.org/officeDocument/2006/relationships/image" Target="../media/image81.png"/><Relationship Id="rId4" Type="http://schemas.openxmlformats.org/officeDocument/2006/relationships/image" Target="../media/image86.png"/><Relationship Id="rId9" Type="http://schemas.openxmlformats.org/officeDocument/2006/relationships/image" Target="../media/image93.svg"/><Relationship Id="rId14" Type="http://schemas.openxmlformats.org/officeDocument/2006/relationships/image" Target="../media/image85.svg"/></Relationships>
</file>

<file path=ppt/slides/_rels/slide2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jpeg"/><Relationship Id="rId1" Type="http://schemas.openxmlformats.org/officeDocument/2006/relationships/slideLayout" Target="../slideLayouts/slideLayout6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3.xml"/><Relationship Id="rId7" Type="http://schemas.openxmlformats.org/officeDocument/2006/relationships/image" Target="../media/image95.png"/><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96.emf"/><Relationship Id="rId5" Type="http://schemas.openxmlformats.org/officeDocument/2006/relationships/oleObject" Target="../embeddings/oleObject34.bin"/><Relationship Id="rId4" Type="http://schemas.openxmlformats.org/officeDocument/2006/relationships/notesSlide" Target="../notesSlides/notesSlide1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93.xml"/><Relationship Id="rId7" Type="http://schemas.openxmlformats.org/officeDocument/2006/relationships/image" Target="../media/image95.png"/><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image" Target="../media/image96.emf"/><Relationship Id="rId5" Type="http://schemas.openxmlformats.org/officeDocument/2006/relationships/oleObject" Target="../embeddings/oleObject35.bin"/><Relationship Id="rId4" Type="http://schemas.openxmlformats.org/officeDocument/2006/relationships/notesSlide" Target="../notesSlides/notesSlide1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3.xml"/><Relationship Id="rId7" Type="http://schemas.openxmlformats.org/officeDocument/2006/relationships/image" Target="../media/image95.pn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96.emf"/><Relationship Id="rId5" Type="http://schemas.openxmlformats.org/officeDocument/2006/relationships/oleObject" Target="../embeddings/oleObject36.bin"/><Relationship Id="rId4" Type="http://schemas.openxmlformats.org/officeDocument/2006/relationships/notesSlide" Target="../notesSlides/notesSlide1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93.xml"/><Relationship Id="rId7" Type="http://schemas.openxmlformats.org/officeDocument/2006/relationships/image" Target="../media/image95.png"/><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96.emf"/><Relationship Id="rId5" Type="http://schemas.openxmlformats.org/officeDocument/2006/relationships/oleObject" Target="../embeddings/oleObject37.bin"/><Relationship Id="rId4" Type="http://schemas.openxmlformats.org/officeDocument/2006/relationships/notesSlide" Target="../notesSlides/notesSlide14.xml"/></Relationships>
</file>

<file path=ppt/slides/_rels/slide28.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60.xml"/></Relationships>
</file>

<file path=ppt/slides/_rels/slide2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93.xml"/></Relationships>
</file>

<file path=ppt/slides/_rels/slide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77.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93.xml"/><Relationship Id="rId4" Type="http://schemas.openxmlformats.org/officeDocument/2006/relationships/image" Target="../media/image4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3.xml"/></Relationships>
</file>

<file path=ppt/slides/_rels/slide7.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notesSlide" Target="../notesSlides/notesSlide2.xml"/><Relationship Id="rId16" Type="http://schemas.openxmlformats.org/officeDocument/2006/relationships/image" Target="../media/image53.svg"/><Relationship Id="rId1" Type="http://schemas.openxmlformats.org/officeDocument/2006/relationships/slideLayout" Target="../slideLayouts/slideLayout93.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svg"/><Relationship Id="rId4" Type="http://schemas.openxmlformats.org/officeDocument/2006/relationships/image" Target="../media/image39.png"/><Relationship Id="rId9" Type="http://schemas.openxmlformats.org/officeDocument/2006/relationships/image" Target="../media/image46.png"/><Relationship Id="rId14" Type="http://schemas.openxmlformats.org/officeDocument/2006/relationships/image" Target="../media/image51.svg"/></Relationships>
</file>

<file path=ppt/slides/_rels/slide8.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svg"/><Relationship Id="rId3" Type="http://schemas.openxmlformats.org/officeDocument/2006/relationships/image" Target="../media/image40.png"/><Relationship Id="rId7" Type="http://schemas.openxmlformats.org/officeDocument/2006/relationships/image" Target="../media/image45.svg"/><Relationship Id="rId12" Type="http://schemas.openxmlformats.org/officeDocument/2006/relationships/image" Target="../media/image50.png"/><Relationship Id="rId17" Type="http://schemas.openxmlformats.org/officeDocument/2006/relationships/image" Target="../media/image55.svg"/><Relationship Id="rId2" Type="http://schemas.openxmlformats.org/officeDocument/2006/relationships/notesSlide" Target="../notesSlides/notesSlide3.xml"/><Relationship Id="rId16" Type="http://schemas.openxmlformats.org/officeDocument/2006/relationships/image" Target="../media/image54.png"/><Relationship Id="rId1" Type="http://schemas.openxmlformats.org/officeDocument/2006/relationships/slideLayout" Target="../slideLayouts/slideLayout93.xml"/><Relationship Id="rId6" Type="http://schemas.openxmlformats.org/officeDocument/2006/relationships/image" Target="../media/image44.png"/><Relationship Id="rId11" Type="http://schemas.openxmlformats.org/officeDocument/2006/relationships/image" Target="../media/image49.svg"/><Relationship Id="rId5" Type="http://schemas.openxmlformats.org/officeDocument/2006/relationships/image" Target="../media/image43.svg"/><Relationship Id="rId15" Type="http://schemas.openxmlformats.org/officeDocument/2006/relationships/image" Target="../media/image53.sv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svg"/><Relationship Id="rId14" Type="http://schemas.openxmlformats.org/officeDocument/2006/relationships/image" Target="../media/image52.png"/></Relationships>
</file>

<file path=ppt/slides/_rels/slide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8AB7AF0-EEA9-4FF3-8261-1BC1B376059F}"/>
              </a:ext>
            </a:extLst>
          </p:cNvPr>
          <p:cNvSpPr>
            <a:spLocks noGrp="1"/>
          </p:cNvSpPr>
          <p:nvPr>
            <p:ph type="ctrTitle"/>
          </p:nvPr>
        </p:nvSpPr>
        <p:spPr/>
        <p:txBody>
          <a:bodyPr/>
          <a:lstStyle/>
          <a:p>
            <a:r>
              <a:rPr lang="en-US"/>
              <a:t>Building a new data strategy for Aegon Asset Management</a:t>
            </a:r>
          </a:p>
        </p:txBody>
      </p:sp>
      <p:sp>
        <p:nvSpPr>
          <p:cNvPr id="10" name="Text Placeholder 9">
            <a:extLst>
              <a:ext uri="{FF2B5EF4-FFF2-40B4-BE49-F238E27FC236}">
                <a16:creationId xmlns:a16="http://schemas.microsoft.com/office/drawing/2014/main" id="{2CF10346-BB29-4856-A57E-C8B9409971C4}"/>
              </a:ext>
            </a:extLst>
          </p:cNvPr>
          <p:cNvSpPr>
            <a:spLocks noGrp="1"/>
          </p:cNvSpPr>
          <p:nvPr>
            <p:ph type="body" sz="quarter" idx="20"/>
          </p:nvPr>
        </p:nvSpPr>
        <p:spPr>
          <a:xfrm>
            <a:off x="431800" y="2512787"/>
            <a:ext cx="5372652" cy="388459"/>
          </a:xfrm>
        </p:spPr>
        <p:txBody>
          <a:bodyPr/>
          <a:lstStyle/>
          <a:p>
            <a:r>
              <a:rPr lang="en-US"/>
              <a:t>Steering Committee Meeting #3</a:t>
            </a:r>
          </a:p>
        </p:txBody>
      </p:sp>
      <p:sp>
        <p:nvSpPr>
          <p:cNvPr id="4" name="Text Placeholder 9">
            <a:extLst>
              <a:ext uri="{FF2B5EF4-FFF2-40B4-BE49-F238E27FC236}">
                <a16:creationId xmlns:a16="http://schemas.microsoft.com/office/drawing/2014/main" id="{0ED719E8-A8F3-43BC-83A1-412A8B111F3F}"/>
              </a:ext>
            </a:extLst>
          </p:cNvPr>
          <p:cNvSpPr txBox="1">
            <a:spLocks/>
          </p:cNvSpPr>
          <p:nvPr/>
        </p:nvSpPr>
        <p:spPr>
          <a:xfrm>
            <a:off x="431800" y="5073074"/>
            <a:ext cx="5372652" cy="388459"/>
          </a:xfrm>
          <a:prstGeom prst="rect">
            <a:avLst/>
          </a:prstGeom>
        </p:spPr>
        <p:txBody>
          <a:bodyPr lIns="0" tIns="0" rIns="0" bIns="0" anchor="t"/>
          <a:lstStyle>
            <a:lvl1pPr marL="0" indent="0" algn="l" defTabSz="685783" rtl="0" eaLnBrk="1" latinLnBrk="0" hangingPunct="1">
              <a:lnSpc>
                <a:spcPct val="108000"/>
              </a:lnSpc>
              <a:spcBef>
                <a:spcPts val="750"/>
              </a:spcBef>
              <a:buClr>
                <a:schemeClr val="accent1"/>
              </a:buClr>
              <a:buSzPct val="100000"/>
              <a:buFont typeface="Arial" panose="020B0604020202020204" pitchFamily="34" charset="0"/>
              <a:buNone/>
              <a:defRPr sz="2000" b="0" i="0" kern="1200" baseline="0">
                <a:solidFill>
                  <a:schemeClr val="tx1"/>
                </a:solidFill>
                <a:latin typeface="Calibri" panose="020F0502020204030204" pitchFamily="34" charset="0"/>
                <a:ea typeface="+mn-ea"/>
                <a:cs typeface="Calibri" panose="020F0502020204030204" pitchFamily="34" charset="0"/>
              </a:defRPr>
            </a:lvl1pPr>
            <a:lvl2pPr marL="541338" indent="-222250" algn="l" defTabSz="685783" rtl="0" eaLnBrk="1" latinLnBrk="0" hangingPunct="1">
              <a:lnSpc>
                <a:spcPct val="108000"/>
              </a:lnSpc>
              <a:spcBef>
                <a:spcPts val="375"/>
              </a:spcBef>
              <a:buClr>
                <a:schemeClr val="accent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2pPr>
            <a:lvl3pPr marL="719138" indent="-177800" algn="l" defTabSz="685783" rtl="0" eaLnBrk="1" latinLnBrk="0" hangingPunct="1">
              <a:lnSpc>
                <a:spcPct val="108000"/>
              </a:lnSpc>
              <a:spcBef>
                <a:spcPts val="375"/>
              </a:spcBef>
              <a:buClr>
                <a:schemeClr val="tx1"/>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3pPr>
            <a:lvl4pPr marL="719138" indent="-177800" algn="l" defTabSz="685783" rtl="0" eaLnBrk="1" latinLnBrk="0" hangingPunct="1">
              <a:lnSpc>
                <a:spcPct val="108000"/>
              </a:lnSpc>
              <a:spcBef>
                <a:spcPts val="375"/>
              </a:spcBef>
              <a:buClr>
                <a:schemeClr val="tx2"/>
              </a:buClr>
              <a:buFont typeface="Calibri" panose="020F050202020403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543012" indent="-171446" algn="l" defTabSz="685783" rtl="0" eaLnBrk="1" latinLnBrk="0" hangingPunct="1">
              <a:lnSpc>
                <a:spcPct val="90000"/>
              </a:lnSpc>
              <a:spcBef>
                <a:spcPts val="375"/>
              </a:spcBef>
              <a:buClr>
                <a:schemeClr val="tx2"/>
              </a:buClr>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200" dirty="0">
                <a:highlight>
                  <a:srgbClr val="FFFF00"/>
                </a:highlight>
                <a:latin typeface="Calibri"/>
                <a:cs typeface="Calibri"/>
              </a:rPr>
              <a:t>WIP</a:t>
            </a:r>
            <a:r>
              <a:rPr lang="en-US" sz="1200" dirty="0">
                <a:latin typeface="Calibri"/>
                <a:cs typeface="Calibri"/>
              </a:rPr>
              <a:t> 8 March 2022</a:t>
            </a:r>
          </a:p>
        </p:txBody>
      </p:sp>
    </p:spTree>
    <p:extLst>
      <p:ext uri="{BB962C8B-B14F-4D97-AF65-F5344CB8AC3E}">
        <p14:creationId xmlns:p14="http://schemas.microsoft.com/office/powerpoint/2010/main" val="28964741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C7ECA67C-9606-45F6-8EC4-9C26F6CE8F3A}"/>
              </a:ext>
            </a:extLst>
          </p:cNvPr>
          <p:cNvSpPr/>
          <p:nvPr/>
        </p:nvSpPr>
        <p:spPr>
          <a:xfrm>
            <a:off x="2152649" y="1738357"/>
            <a:ext cx="3619501" cy="2193438"/>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685B36B4-0BD9-4EAA-AE5E-F97F02DD7BC0}"/>
              </a:ext>
            </a:extLst>
          </p:cNvPr>
          <p:cNvSpPr txBox="1"/>
          <p:nvPr/>
        </p:nvSpPr>
        <p:spPr>
          <a:xfrm>
            <a:off x="2152647" y="2032301"/>
            <a:ext cx="3619503" cy="1785104"/>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roperly define and implement data management enablers such as data governance, data lineage, data quality and data life cycle management to improve compliance to e.g. SFDR, Solvency II and GDPR; automate where possib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ligning the governance and collaboration between the enabling and controlling functions such as data, privacy, security, compliance and legal</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Understanding the current state of the data operations, dataflows and ownerships</a:t>
            </a:r>
          </a:p>
        </p:txBody>
      </p:sp>
      <p:sp>
        <p:nvSpPr>
          <p:cNvPr id="44" name="Rectangle 43">
            <a:extLst>
              <a:ext uri="{FF2B5EF4-FFF2-40B4-BE49-F238E27FC236}">
                <a16:creationId xmlns:a16="http://schemas.microsoft.com/office/drawing/2014/main" id="{B22B3FF2-3E0F-4602-9D95-ABF4C9939437}"/>
              </a:ext>
            </a:extLst>
          </p:cNvPr>
          <p:cNvSpPr/>
          <p:nvPr/>
        </p:nvSpPr>
        <p:spPr>
          <a:xfrm>
            <a:off x="5879195" y="3210974"/>
            <a:ext cx="5355976" cy="71969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3FFE9F0D-BF89-45BB-A80D-418C611EAB95}"/>
              </a:ext>
            </a:extLst>
          </p:cNvPr>
          <p:cNvSpPr/>
          <p:nvPr/>
        </p:nvSpPr>
        <p:spPr>
          <a:xfrm>
            <a:off x="5879195" y="1738356"/>
            <a:ext cx="5355976" cy="139027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05B8C25-F0DA-4399-B55A-AE66A373AF1E}"/>
              </a:ext>
            </a:extLst>
          </p:cNvPr>
          <p:cNvSpPr/>
          <p:nvPr/>
        </p:nvSpPr>
        <p:spPr>
          <a:xfrm>
            <a:off x="838310" y="1738356"/>
            <a:ext cx="1199976" cy="1338464"/>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9AC5F50E-28EE-4312-88E1-87359E29D14D}"/>
              </a:ext>
            </a:extLst>
          </p:cNvPr>
          <p:cNvSpPr/>
          <p:nvPr/>
        </p:nvSpPr>
        <p:spPr>
          <a:xfrm>
            <a:off x="2600325" y="1281140"/>
            <a:ext cx="8634845"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Improving Data Governance and integrating Data Management into our business for ensuring regulatory compliance and easy/timely access to data</a:t>
            </a:r>
            <a:endParaRPr kumimoji="0" lang="en-US" sz="1400" b="0"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1423B210-1D67-46E0-9991-131C6CE6300F}"/>
              </a:ext>
            </a:extLst>
          </p:cNvPr>
          <p:cNvSpPr/>
          <p:nvPr/>
        </p:nvSpPr>
        <p:spPr>
          <a:xfrm>
            <a:off x="2152648" y="1738357"/>
            <a:ext cx="3632911"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Description</a:t>
            </a:r>
          </a:p>
        </p:txBody>
      </p:sp>
      <p:sp>
        <p:nvSpPr>
          <p:cNvPr id="11" name="Rectangle 10">
            <a:extLst>
              <a:ext uri="{FF2B5EF4-FFF2-40B4-BE49-F238E27FC236}">
                <a16:creationId xmlns:a16="http://schemas.microsoft.com/office/drawing/2014/main" id="{1BDC89DB-996B-483A-BA4D-19EE9B629B46}"/>
              </a:ext>
            </a:extLst>
          </p:cNvPr>
          <p:cNvSpPr/>
          <p:nvPr/>
        </p:nvSpPr>
        <p:spPr>
          <a:xfrm>
            <a:off x="5880100" y="1738358"/>
            <a:ext cx="5355976" cy="288000"/>
          </a:xfrm>
          <a:prstGeom prst="rect">
            <a:avLst/>
          </a:prstGeom>
          <a:solidFill>
            <a:srgbClr val="2BAEA3"/>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Organizational Requirements</a:t>
            </a:r>
          </a:p>
        </p:txBody>
      </p:sp>
      <p:sp>
        <p:nvSpPr>
          <p:cNvPr id="31" name="Rectangle 30">
            <a:extLst>
              <a:ext uri="{FF2B5EF4-FFF2-40B4-BE49-F238E27FC236}">
                <a16:creationId xmlns:a16="http://schemas.microsoft.com/office/drawing/2014/main" id="{A60197FE-1894-45BD-A453-779621B3CEAA}"/>
              </a:ext>
            </a:extLst>
          </p:cNvPr>
          <p:cNvSpPr/>
          <p:nvPr/>
        </p:nvSpPr>
        <p:spPr>
          <a:xfrm>
            <a:off x="838311" y="1738357"/>
            <a:ext cx="1199975"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Owner (s)</a:t>
            </a:r>
          </a:p>
        </p:txBody>
      </p:sp>
      <p:sp>
        <p:nvSpPr>
          <p:cNvPr id="34" name="TextBox 33">
            <a:extLst>
              <a:ext uri="{FF2B5EF4-FFF2-40B4-BE49-F238E27FC236}">
                <a16:creationId xmlns:a16="http://schemas.microsoft.com/office/drawing/2014/main" id="{7212C24E-EDB2-4549-B3DA-085417606D8B}"/>
              </a:ext>
            </a:extLst>
          </p:cNvPr>
          <p:cNvSpPr txBox="1"/>
          <p:nvPr/>
        </p:nvSpPr>
        <p:spPr>
          <a:xfrm>
            <a:off x="852353" y="2032301"/>
            <a:ext cx="1109797" cy="938719"/>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rPr>
              <a:t>CDO, data management office</a:t>
            </a:r>
          </a:p>
          <a:p>
            <a:pPr marL="266700" marR="0" lvl="0" indent="-180975"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nsulted: data owners</a:t>
            </a:r>
          </a:p>
        </p:txBody>
      </p:sp>
      <p:sp>
        <p:nvSpPr>
          <p:cNvPr id="38" name="Rectangle 37">
            <a:extLst>
              <a:ext uri="{FF2B5EF4-FFF2-40B4-BE49-F238E27FC236}">
                <a16:creationId xmlns:a16="http://schemas.microsoft.com/office/drawing/2014/main" id="{14677884-B84C-4112-B064-71BB47E090D9}"/>
              </a:ext>
            </a:extLst>
          </p:cNvPr>
          <p:cNvSpPr/>
          <p:nvPr/>
        </p:nvSpPr>
        <p:spPr>
          <a:xfrm>
            <a:off x="5880100" y="3446942"/>
            <a:ext cx="5355103" cy="288000"/>
          </a:xfrm>
          <a:prstGeom prst="rect">
            <a:avLst/>
          </a:prstGeom>
          <a:solidFill>
            <a:srgbClr val="FFB15E"/>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Data Foundation Requirements</a:t>
            </a:r>
          </a:p>
        </p:txBody>
      </p:sp>
      <p:sp>
        <p:nvSpPr>
          <p:cNvPr id="39" name="TextBox 38">
            <a:extLst>
              <a:ext uri="{FF2B5EF4-FFF2-40B4-BE49-F238E27FC236}">
                <a16:creationId xmlns:a16="http://schemas.microsoft.com/office/drawing/2014/main" id="{82952029-6BB7-4A31-A512-AF8F0BE6EA6C}"/>
              </a:ext>
            </a:extLst>
          </p:cNvPr>
          <p:cNvSpPr txBox="1"/>
          <p:nvPr/>
        </p:nvSpPr>
        <p:spPr>
          <a:xfrm>
            <a:off x="5880100" y="3747066"/>
            <a:ext cx="5355975" cy="261610"/>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ata management tools and enablers to be built/matured/implemented</a:t>
            </a:r>
          </a:p>
        </p:txBody>
      </p:sp>
      <p:sp>
        <p:nvSpPr>
          <p:cNvPr id="32" name="Title 5">
            <a:extLst>
              <a:ext uri="{FF2B5EF4-FFF2-40B4-BE49-F238E27FC236}">
                <a16:creationId xmlns:a16="http://schemas.microsoft.com/office/drawing/2014/main" id="{FA216D96-6C9D-4447-9D4E-C7FC824DD24F}"/>
              </a:ext>
            </a:extLst>
          </p:cNvPr>
          <p:cNvSpPr txBox="1">
            <a:spLocks/>
          </p:cNvSpPr>
          <p:nvPr/>
        </p:nvSpPr>
        <p:spPr>
          <a:xfrm>
            <a:off x="588817" y="221949"/>
            <a:ext cx="10969095" cy="685941"/>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69B4"/>
                </a:solidFill>
                <a:effectLst/>
                <a:uLnTx/>
                <a:uFillTx/>
                <a:latin typeface="Calibri Light" panose="020F0302020204030204"/>
                <a:ea typeface="+mj-ea"/>
                <a:cs typeface="+mj-cs"/>
              </a:rPr>
              <a:t>Strategic Data Objective 1: </a:t>
            </a:r>
            <a:r>
              <a:rPr kumimoji="0" lang="en-US" sz="2400" b="0" i="0" u="none" strike="noStrike" kern="1200" cap="none" spc="20" normalizeH="0" baseline="0" noProof="0">
                <a:ln>
                  <a:noFill/>
                </a:ln>
                <a:solidFill>
                  <a:srgbClr val="0069B4"/>
                </a:solidFill>
                <a:effectLst/>
                <a:uLnTx/>
                <a:uFillTx/>
                <a:latin typeface="Calibri Light" panose="020F0302020204030204"/>
                <a:ea typeface="Times New Roman" panose="02020603050405020304" pitchFamily="18" charset="0"/>
                <a:cs typeface="Times New Roman" panose="02020603050405020304" pitchFamily="18" charset="0"/>
              </a:rPr>
              <a:t>Improving Data Governance and integrating Data Management into our business for ensuring regulatory compliance and easy/timely access to data</a:t>
            </a:r>
          </a:p>
        </p:txBody>
      </p:sp>
      <p:sp>
        <p:nvSpPr>
          <p:cNvPr id="29" name="TextBox 28">
            <a:extLst>
              <a:ext uri="{FF2B5EF4-FFF2-40B4-BE49-F238E27FC236}">
                <a16:creationId xmlns:a16="http://schemas.microsoft.com/office/drawing/2014/main" id="{E4DDC895-4533-43A5-B1D9-A626F73E30A3}"/>
              </a:ext>
            </a:extLst>
          </p:cNvPr>
          <p:cNvSpPr txBox="1"/>
          <p:nvPr/>
        </p:nvSpPr>
        <p:spPr>
          <a:xfrm>
            <a:off x="5880099" y="2032301"/>
            <a:ext cx="5339944" cy="1446550"/>
          </a:xfrm>
          <a:prstGeom prst="rect">
            <a:avLst/>
          </a:prstGeom>
          <a:noFill/>
          <a:ln>
            <a:noFill/>
          </a:ln>
        </p:spPr>
        <p:txBody>
          <a:bodyPr wrap="square" lIns="0" rIns="0" rtlCol="0" anchor="t" anchorCtr="0">
            <a:spAutoFit/>
          </a:bodyPr>
          <a:lstStyle>
            <a:defPPr>
              <a:defRPr lang="en-US"/>
            </a:defPPr>
            <a:lvl1pPr marL="180975"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Identify executive sponsorship</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Standardized data roles and responsibilities across the enterpris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Global data management processes to monitor data consumption, data quality and data life cyc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mmon language across regions for products and client type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Calibri" panose="020F0502020204030204"/>
              </a:rPr>
              <a:t>P</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artnering</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with busines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rovide sufficient training and education to relevant resources to increase Data (Management) literacy and awareness level</a:t>
            </a:r>
          </a:p>
        </p:txBody>
      </p:sp>
      <p:sp>
        <p:nvSpPr>
          <p:cNvPr id="33" name="Rectangle 32">
            <a:extLst>
              <a:ext uri="{FF2B5EF4-FFF2-40B4-BE49-F238E27FC236}">
                <a16:creationId xmlns:a16="http://schemas.microsoft.com/office/drawing/2014/main" id="{085FBE86-E7A2-4E87-A9B0-5C016FDE37E8}"/>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49" name="Graphic 48" descr="Teacher">
            <a:extLst>
              <a:ext uri="{FF2B5EF4-FFF2-40B4-BE49-F238E27FC236}">
                <a16:creationId xmlns:a16="http://schemas.microsoft.com/office/drawing/2014/main" id="{9D25AFB6-D427-44D5-AB06-AFA85EE2045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80319" y="1739044"/>
            <a:ext cx="302899" cy="302899"/>
          </a:xfrm>
          <a:prstGeom prst="rect">
            <a:avLst/>
          </a:prstGeom>
        </p:spPr>
      </p:pic>
      <p:pic>
        <p:nvPicPr>
          <p:cNvPr id="51" name="Graphic 50" descr="User">
            <a:extLst>
              <a:ext uri="{FF2B5EF4-FFF2-40B4-BE49-F238E27FC236}">
                <a16:creationId xmlns:a16="http://schemas.microsoft.com/office/drawing/2014/main" id="{80428B59-E0A7-4DB4-84D7-4747FE039638}"/>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0155" y="1738994"/>
            <a:ext cx="293219" cy="293219"/>
          </a:xfrm>
          <a:prstGeom prst="rect">
            <a:avLst/>
          </a:prstGeom>
        </p:spPr>
      </p:pic>
      <p:pic>
        <p:nvPicPr>
          <p:cNvPr id="56" name="Graphic 55" descr="Venn diagram">
            <a:extLst>
              <a:ext uri="{FF2B5EF4-FFF2-40B4-BE49-F238E27FC236}">
                <a16:creationId xmlns:a16="http://schemas.microsoft.com/office/drawing/2014/main" id="{76B15EF1-54B6-4B6A-B8C6-6DDA513932E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92037" y="1723017"/>
            <a:ext cx="300636" cy="300636"/>
          </a:xfrm>
          <a:prstGeom prst="rect">
            <a:avLst/>
          </a:prstGeom>
        </p:spPr>
      </p:pic>
      <p:grpSp>
        <p:nvGrpSpPr>
          <p:cNvPr id="6" name="Group 5">
            <a:extLst>
              <a:ext uri="{FF2B5EF4-FFF2-40B4-BE49-F238E27FC236}">
                <a16:creationId xmlns:a16="http://schemas.microsoft.com/office/drawing/2014/main" id="{91B7C49F-273D-4EB3-ABF5-00B7C3F7DAF2}"/>
              </a:ext>
            </a:extLst>
          </p:cNvPr>
          <p:cNvGrpSpPr/>
          <p:nvPr/>
        </p:nvGrpSpPr>
        <p:grpSpPr>
          <a:xfrm>
            <a:off x="820135" y="4046481"/>
            <a:ext cx="5467481" cy="2382219"/>
            <a:chOff x="820136" y="4046481"/>
            <a:chExt cx="4911092" cy="2382219"/>
          </a:xfrm>
        </p:grpSpPr>
        <p:sp>
          <p:nvSpPr>
            <p:cNvPr id="45" name="Rectangle 44">
              <a:extLst>
                <a:ext uri="{FF2B5EF4-FFF2-40B4-BE49-F238E27FC236}">
                  <a16:creationId xmlns:a16="http://schemas.microsoft.com/office/drawing/2014/main" id="{4E215F30-5DD1-44D7-B1FC-142444411C31}"/>
                </a:ext>
              </a:extLst>
            </p:cNvPr>
            <p:cNvSpPr/>
            <p:nvPr/>
          </p:nvSpPr>
          <p:spPr>
            <a:xfrm>
              <a:off x="837402" y="4062053"/>
              <a:ext cx="4893826" cy="236664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68BE7FBA-7060-4F3A-B244-2006BF0ECDB4}"/>
                </a:ext>
              </a:extLst>
            </p:cNvPr>
            <p:cNvSpPr txBox="1"/>
            <p:nvPr/>
          </p:nvSpPr>
          <p:spPr>
            <a:xfrm>
              <a:off x="820136" y="4305042"/>
              <a:ext cx="4863259" cy="2123658"/>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314325" indent="-228600">
                <a:buFont typeface="+mj-lt"/>
                <a:buAutoNum type="arabicPeriod"/>
                <a:defRPr/>
              </a:pPr>
              <a:r>
                <a:rPr lang="en-US" dirty="0">
                  <a:solidFill>
                    <a:srgbClr val="000000"/>
                  </a:solidFill>
                </a:rPr>
                <a:t>Assess which data management artifacts with which level of detail are necessary to support the data strategy and to enable appropriate control</a:t>
              </a:r>
            </a:p>
            <a:p>
              <a:pPr marL="314325" indent="-228600">
                <a:buFont typeface="+mj-lt"/>
                <a:buAutoNum type="arabicPeriod"/>
                <a:defRPr/>
              </a:pPr>
              <a:r>
                <a:rPr lang="en-US" dirty="0">
                  <a:solidFill>
                    <a:srgbClr val="000000"/>
                  </a:solidFill>
                </a:rPr>
                <a:t>Data Management maturity assessment and based on results r</a:t>
              </a:r>
              <a:r>
                <a:rPr kumimoji="0" lang="en-US" sz="1100" b="0" i="0" u="none" strike="noStrike" kern="1200" cap="none" spc="0" normalizeH="0" baseline="0" noProof="0" dirty="0" err="1">
                  <a:ln>
                    <a:noFill/>
                  </a:ln>
                  <a:solidFill>
                    <a:srgbClr val="000000"/>
                  </a:solidFill>
                  <a:effectLst/>
                  <a:uLnTx/>
                  <a:uFillTx/>
                  <a:latin typeface="Calibri" panose="020F0502020204030204"/>
                  <a:ea typeface="+mn-ea"/>
                  <a:cs typeface="+mn-cs"/>
                </a:rPr>
                <a:t>evisit</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 update and document the current state data management processes, data governance charter and roles &amp; responsibilities in order to improve</a:t>
              </a:r>
              <a:endParaRPr lang="en-US" dirty="0">
                <a:solidFill>
                  <a:srgbClr val="000000"/>
                </a:solidFill>
                <a:latin typeface="Calibri" panose="020F0502020204030204"/>
              </a:endParaRPr>
            </a:p>
            <a:p>
              <a:pPr marL="314325" indent="-228600">
                <a:buFont typeface="+mj-lt"/>
                <a:buAutoNum type="arabicPeriod"/>
                <a:defRPr/>
              </a:pPr>
              <a:r>
                <a:rPr lang="en-US" dirty="0">
                  <a:solidFill>
                    <a:srgbClr val="000000"/>
                  </a:solidFill>
                </a:rPr>
                <a:t>Define and document data lineage accordingly</a:t>
              </a:r>
            </a:p>
            <a:p>
              <a:pPr marL="314325" indent="-228600">
                <a:buFont typeface="+mj-lt"/>
                <a:buAutoNum type="arabicPeriod"/>
                <a:defRPr/>
              </a:pPr>
              <a:r>
                <a:rPr lang="en-US" dirty="0">
                  <a:solidFill>
                    <a:srgbClr val="000000"/>
                  </a:solidFill>
                </a:rPr>
                <a:t>Set up data delivery agreements between sharing/receiving partie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dirty="0">
                  <a:solidFill>
                    <a:srgbClr val="000000"/>
                  </a:solidFill>
                  <a:latin typeface="Calibri" panose="020F0502020204030204"/>
                </a:rPr>
                <a:t>Align governance and supporting processes with security, privacy, compliance and legal</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dirty="0">
                  <a:solidFill>
                    <a:srgbClr val="000000"/>
                  </a:solidFill>
                  <a:latin typeface="Calibri" panose="020F0502020204030204"/>
                </a:rPr>
                <a:t>Re-launch data governance throughout the global organization based on revisited documents (focus on partnering with business)</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E2E38"/>
                  </a:solidFill>
                  <a:effectLst/>
                  <a:uLnTx/>
                  <a:uFillTx/>
                  <a:latin typeface="Calibri" panose="020F0502020204030204"/>
                  <a:ea typeface="+mn-ea"/>
                  <a:cs typeface="+mn-cs"/>
                </a:rPr>
                <a:t>Assess implementation of data management capabilities for compliance (e.g. SFDR, Solvency II and GDPR), implement and leverage on improved data management capabilities</a:t>
              </a:r>
            </a:p>
          </p:txBody>
        </p:sp>
        <p:sp>
          <p:nvSpPr>
            <p:cNvPr id="14" name="Rectangle 13">
              <a:extLst>
                <a:ext uri="{FF2B5EF4-FFF2-40B4-BE49-F238E27FC236}">
                  <a16:creationId xmlns:a16="http://schemas.microsoft.com/office/drawing/2014/main" id="{D7931A0B-3AFA-4EA6-9C9F-39EBC60F3089}"/>
                </a:ext>
              </a:extLst>
            </p:cNvPr>
            <p:cNvSpPr/>
            <p:nvPr/>
          </p:nvSpPr>
          <p:spPr>
            <a:xfrm>
              <a:off x="838310" y="4056343"/>
              <a:ext cx="4886118" cy="288000"/>
            </a:xfrm>
            <a:prstGeom prst="rect">
              <a:avLst/>
            </a:prstGeom>
            <a:solidFill>
              <a:schemeClr val="accent3"/>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Key Use Cases</a:t>
              </a:r>
            </a:p>
          </p:txBody>
        </p:sp>
        <p:pic>
          <p:nvPicPr>
            <p:cNvPr id="57" name="Graphic 56" descr="Document">
              <a:extLst>
                <a:ext uri="{FF2B5EF4-FFF2-40B4-BE49-F238E27FC236}">
                  <a16:creationId xmlns:a16="http://schemas.microsoft.com/office/drawing/2014/main" id="{C485186D-011E-46F5-B00E-4F1DF5779C8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52353" y="4046481"/>
              <a:ext cx="280553" cy="280553"/>
            </a:xfrm>
            <a:prstGeom prst="rect">
              <a:avLst/>
            </a:prstGeom>
          </p:spPr>
        </p:pic>
      </p:grpSp>
      <p:grpSp>
        <p:nvGrpSpPr>
          <p:cNvPr id="5" name="Group 4">
            <a:extLst>
              <a:ext uri="{FF2B5EF4-FFF2-40B4-BE49-F238E27FC236}">
                <a16:creationId xmlns:a16="http://schemas.microsoft.com/office/drawing/2014/main" id="{63D3387C-33F9-4076-A199-466B48B00F94}"/>
              </a:ext>
            </a:extLst>
          </p:cNvPr>
          <p:cNvGrpSpPr/>
          <p:nvPr/>
        </p:nvGrpSpPr>
        <p:grpSpPr>
          <a:xfrm>
            <a:off x="8618899" y="4027218"/>
            <a:ext cx="2616304" cy="2401480"/>
            <a:chOff x="8039450" y="4027218"/>
            <a:chExt cx="3195753" cy="2401480"/>
          </a:xfrm>
        </p:grpSpPr>
        <p:sp>
          <p:nvSpPr>
            <p:cNvPr id="48" name="Rectangle 47">
              <a:extLst>
                <a:ext uri="{FF2B5EF4-FFF2-40B4-BE49-F238E27FC236}">
                  <a16:creationId xmlns:a16="http://schemas.microsoft.com/office/drawing/2014/main" id="{62549C25-8B51-48C0-98D4-C1550C8B7ACE}"/>
                </a:ext>
              </a:extLst>
            </p:cNvPr>
            <p:cNvSpPr/>
            <p:nvPr/>
          </p:nvSpPr>
          <p:spPr>
            <a:xfrm>
              <a:off x="8039483" y="4051944"/>
              <a:ext cx="3195687" cy="2376754"/>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7524A068-07F3-47C8-8FB5-87E1559D7A3A}"/>
                </a:ext>
              </a:extLst>
            </p:cNvPr>
            <p:cNvSpPr/>
            <p:nvPr/>
          </p:nvSpPr>
          <p:spPr>
            <a:xfrm>
              <a:off x="8040388" y="4056344"/>
              <a:ext cx="3194815"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Estimated effort &amp; resources</a:t>
              </a:r>
            </a:p>
          </p:txBody>
        </p:sp>
        <p:sp>
          <p:nvSpPr>
            <p:cNvPr id="30" name="TextBox 29">
              <a:extLst>
                <a:ext uri="{FF2B5EF4-FFF2-40B4-BE49-F238E27FC236}">
                  <a16:creationId xmlns:a16="http://schemas.microsoft.com/office/drawing/2014/main" id="{F389E858-A470-4C96-B7C1-907C5AF62127}"/>
                </a:ext>
              </a:extLst>
            </p:cNvPr>
            <p:cNvSpPr txBox="1"/>
            <p:nvPr/>
          </p:nvSpPr>
          <p:spPr>
            <a:xfrm>
              <a:off x="8039450" y="4308203"/>
              <a:ext cx="3195688" cy="600164"/>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Populate after specifying use case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8" name="Graphic 57" descr="Boardroom">
              <a:extLst>
                <a:ext uri="{FF2B5EF4-FFF2-40B4-BE49-F238E27FC236}">
                  <a16:creationId xmlns:a16="http://schemas.microsoft.com/office/drawing/2014/main" id="{4E5C24BB-C906-4540-B069-A513F7BFA18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081421" y="4027218"/>
              <a:ext cx="319079" cy="319079"/>
            </a:xfrm>
            <a:prstGeom prst="rect">
              <a:avLst/>
            </a:prstGeom>
          </p:spPr>
        </p:pic>
      </p:grpSp>
      <p:sp>
        <p:nvSpPr>
          <p:cNvPr id="46" name="Rectangle 45">
            <a:extLst>
              <a:ext uri="{FF2B5EF4-FFF2-40B4-BE49-F238E27FC236}">
                <a16:creationId xmlns:a16="http://schemas.microsoft.com/office/drawing/2014/main" id="{738D352E-85BD-482E-B423-E049F1140936}"/>
              </a:ext>
            </a:extLst>
          </p:cNvPr>
          <p:cNvSpPr/>
          <p:nvPr/>
        </p:nvSpPr>
        <p:spPr>
          <a:xfrm>
            <a:off x="6359133" y="4051944"/>
            <a:ext cx="2188276" cy="2376754"/>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AF466AE7-8D20-4536-B357-4FA03FB5853C}"/>
              </a:ext>
            </a:extLst>
          </p:cNvPr>
          <p:cNvSpPr/>
          <p:nvPr/>
        </p:nvSpPr>
        <p:spPr>
          <a:xfrm>
            <a:off x="6351564" y="4056343"/>
            <a:ext cx="2195850"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Timing &amp; Dependencies</a:t>
            </a:r>
          </a:p>
        </p:txBody>
      </p:sp>
      <p:pic>
        <p:nvPicPr>
          <p:cNvPr id="59" name="Graphic 58" descr="Hourglass">
            <a:extLst>
              <a:ext uri="{FF2B5EF4-FFF2-40B4-BE49-F238E27FC236}">
                <a16:creationId xmlns:a16="http://schemas.microsoft.com/office/drawing/2014/main" id="{119FE742-24AE-445A-BF6D-E83A663F2977}"/>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364963" y="4086475"/>
            <a:ext cx="231819" cy="200564"/>
          </a:xfrm>
          <a:prstGeom prst="rect">
            <a:avLst/>
          </a:prstGeom>
        </p:spPr>
      </p:pic>
      <p:cxnSp>
        <p:nvCxnSpPr>
          <p:cNvPr id="13" name="Straight Connector 12">
            <a:extLst>
              <a:ext uri="{FF2B5EF4-FFF2-40B4-BE49-F238E27FC236}">
                <a16:creationId xmlns:a16="http://schemas.microsoft.com/office/drawing/2014/main" id="{9DC6A804-7D66-4F30-AF44-BE367FD9E059}"/>
              </a:ext>
            </a:extLst>
          </p:cNvPr>
          <p:cNvCxnSpPr>
            <a:cxnSpLocks/>
          </p:cNvCxnSpPr>
          <p:nvPr/>
        </p:nvCxnSpPr>
        <p:spPr>
          <a:xfrm>
            <a:off x="820155" y="1590729"/>
            <a:ext cx="10363672"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0" name="Flowchart: Manual Input 59">
            <a:extLst>
              <a:ext uri="{FF2B5EF4-FFF2-40B4-BE49-F238E27FC236}">
                <a16:creationId xmlns:a16="http://schemas.microsoft.com/office/drawing/2014/main" id="{3D42F83C-DCF0-48E4-BF7A-909020AF5DFC}"/>
              </a:ext>
            </a:extLst>
          </p:cNvPr>
          <p:cNvSpPr/>
          <p:nvPr/>
        </p:nvSpPr>
        <p:spPr>
          <a:xfrm>
            <a:off x="820154" y="1261900"/>
            <a:ext cx="1780171"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1</a:t>
            </a:r>
          </a:p>
        </p:txBody>
      </p:sp>
      <p:grpSp>
        <p:nvGrpSpPr>
          <p:cNvPr id="61" name="Group 60">
            <a:extLst>
              <a:ext uri="{FF2B5EF4-FFF2-40B4-BE49-F238E27FC236}">
                <a16:creationId xmlns:a16="http://schemas.microsoft.com/office/drawing/2014/main" id="{78EB94CD-1095-4126-8716-A89389A65961}"/>
              </a:ext>
            </a:extLst>
          </p:cNvPr>
          <p:cNvGrpSpPr/>
          <p:nvPr/>
        </p:nvGrpSpPr>
        <p:grpSpPr>
          <a:xfrm>
            <a:off x="7292037" y="3482335"/>
            <a:ext cx="209550" cy="183264"/>
            <a:chOff x="1149350" y="-1619250"/>
            <a:chExt cx="374650" cy="328613"/>
          </a:xfrm>
          <a:solidFill>
            <a:schemeClr val="bg1"/>
          </a:solidFill>
        </p:grpSpPr>
        <p:sp>
          <p:nvSpPr>
            <p:cNvPr id="62" name="Oval 60833">
              <a:extLst>
                <a:ext uri="{FF2B5EF4-FFF2-40B4-BE49-F238E27FC236}">
                  <a16:creationId xmlns:a16="http://schemas.microsoft.com/office/drawing/2014/main" id="{D04E19AF-9A16-44B1-A4E8-6017A76F5522}"/>
                </a:ext>
              </a:extLst>
            </p:cNvPr>
            <p:cNvSpPr>
              <a:spLocks noChangeArrowheads="1"/>
            </p:cNvSpPr>
            <p:nvPr/>
          </p:nvSpPr>
          <p:spPr bwMode="auto">
            <a:xfrm>
              <a:off x="1341438" y="-1465263"/>
              <a:ext cx="58738" cy="58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3" name="Oval 60834">
              <a:extLst>
                <a:ext uri="{FF2B5EF4-FFF2-40B4-BE49-F238E27FC236}">
                  <a16:creationId xmlns:a16="http://schemas.microsoft.com/office/drawing/2014/main" id="{3234EBD3-82C5-49B0-97CA-2E8B61B77BC5}"/>
                </a:ext>
              </a:extLst>
            </p:cNvPr>
            <p:cNvSpPr>
              <a:spLocks noChangeArrowheads="1"/>
            </p:cNvSpPr>
            <p:nvPr/>
          </p:nvSpPr>
          <p:spPr bwMode="auto">
            <a:xfrm>
              <a:off x="1446213" y="-15652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4" name="Freeform 60835">
              <a:extLst>
                <a:ext uri="{FF2B5EF4-FFF2-40B4-BE49-F238E27FC236}">
                  <a16:creationId xmlns:a16="http://schemas.microsoft.com/office/drawing/2014/main" id="{7F24F43C-B9BC-42F3-9C64-45BE05479B71}"/>
                </a:ext>
              </a:extLst>
            </p:cNvPr>
            <p:cNvSpPr>
              <a:spLocks noEditPoints="1"/>
            </p:cNvSpPr>
            <p:nvPr/>
          </p:nvSpPr>
          <p:spPr bwMode="auto">
            <a:xfrm>
              <a:off x="1149350" y="-1619250"/>
              <a:ext cx="374650" cy="328613"/>
            </a:xfrm>
            <a:custGeom>
              <a:avLst/>
              <a:gdLst>
                <a:gd name="T0" fmla="*/ 70 w 100"/>
                <a:gd name="T1" fmla="*/ 57 h 85"/>
                <a:gd name="T2" fmla="*/ 79 w 100"/>
                <a:gd name="T3" fmla="*/ 24 h 85"/>
                <a:gd name="T4" fmla="*/ 83 w 100"/>
                <a:gd name="T5" fmla="*/ 11 h 85"/>
                <a:gd name="T6" fmla="*/ 67 w 100"/>
                <a:gd name="T7" fmla="*/ 35 h 85"/>
                <a:gd name="T8" fmla="*/ 37 w 100"/>
                <a:gd name="T9" fmla="*/ 12 h 85"/>
                <a:gd name="T10" fmla="*/ 32 w 100"/>
                <a:gd name="T11" fmla="*/ 0 h 85"/>
                <a:gd name="T12" fmla="*/ 35 w 100"/>
                <a:gd name="T13" fmla="*/ 14 h 85"/>
                <a:gd name="T14" fmla="*/ 44 w 100"/>
                <a:gd name="T15" fmla="*/ 43 h 85"/>
                <a:gd name="T16" fmla="*/ 7 w 100"/>
                <a:gd name="T17" fmla="*/ 26 h 85"/>
                <a:gd name="T18" fmla="*/ 7 w 100"/>
                <a:gd name="T19" fmla="*/ 40 h 85"/>
                <a:gd name="T20" fmla="*/ 44 w 100"/>
                <a:gd name="T21" fmla="*/ 45 h 85"/>
                <a:gd name="T22" fmla="*/ 22 w 100"/>
                <a:gd name="T23" fmla="*/ 73 h 85"/>
                <a:gd name="T24" fmla="*/ 9 w 100"/>
                <a:gd name="T25" fmla="*/ 77 h 85"/>
                <a:gd name="T26" fmla="*/ 23 w 100"/>
                <a:gd name="T27" fmla="*/ 75 h 85"/>
                <a:gd name="T28" fmla="*/ 47 w 100"/>
                <a:gd name="T29" fmla="*/ 57 h 85"/>
                <a:gd name="T30" fmla="*/ 87 w 100"/>
                <a:gd name="T31" fmla="*/ 75 h 85"/>
                <a:gd name="T32" fmla="*/ 100 w 100"/>
                <a:gd name="T33" fmla="*/ 78 h 85"/>
                <a:gd name="T34" fmla="*/ 77 w 100"/>
                <a:gd name="T35" fmla="*/ 18 h 85"/>
                <a:gd name="T36" fmla="*/ 88 w 100"/>
                <a:gd name="T37" fmla="*/ 18 h 85"/>
                <a:gd name="T38" fmla="*/ 77 w 100"/>
                <a:gd name="T39" fmla="*/ 18 h 85"/>
                <a:gd name="T40" fmla="*/ 27 w 100"/>
                <a:gd name="T41" fmla="*/ 7 h 85"/>
                <a:gd name="T42" fmla="*/ 38 w 100"/>
                <a:gd name="T43" fmla="*/ 7 h 85"/>
                <a:gd name="T44" fmla="*/ 7 w 100"/>
                <a:gd name="T45" fmla="*/ 38 h 85"/>
                <a:gd name="T46" fmla="*/ 7 w 100"/>
                <a:gd name="T47" fmla="*/ 27 h 85"/>
                <a:gd name="T48" fmla="*/ 7 w 100"/>
                <a:gd name="T49" fmla="*/ 38 h 85"/>
                <a:gd name="T50" fmla="*/ 11 w 100"/>
                <a:gd name="T51" fmla="*/ 77 h 85"/>
                <a:gd name="T52" fmla="*/ 22 w 100"/>
                <a:gd name="T53" fmla="*/ 77 h 85"/>
                <a:gd name="T54" fmla="*/ 59 w 100"/>
                <a:gd name="T55" fmla="*/ 59 h 85"/>
                <a:gd name="T56" fmla="*/ 59 w 100"/>
                <a:gd name="T57" fmla="*/ 36 h 85"/>
                <a:gd name="T58" fmla="*/ 59 w 100"/>
                <a:gd name="T59" fmla="*/ 59 h 85"/>
                <a:gd name="T60" fmla="*/ 87 w 100"/>
                <a:gd name="T61" fmla="*/ 78 h 85"/>
                <a:gd name="T62" fmla="*/ 98 w 100"/>
                <a:gd name="T63"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 h="85">
                  <a:moveTo>
                    <a:pt x="88" y="73"/>
                  </a:moveTo>
                  <a:cubicBezTo>
                    <a:pt x="70" y="57"/>
                    <a:pt x="70" y="57"/>
                    <a:pt x="70" y="57"/>
                  </a:cubicBezTo>
                  <a:cubicBezTo>
                    <a:pt x="76" y="51"/>
                    <a:pt x="75" y="42"/>
                    <a:pt x="69" y="36"/>
                  </a:cubicBezTo>
                  <a:cubicBezTo>
                    <a:pt x="79" y="24"/>
                    <a:pt x="79" y="24"/>
                    <a:pt x="79" y="24"/>
                  </a:cubicBezTo>
                  <a:cubicBezTo>
                    <a:pt x="84" y="26"/>
                    <a:pt x="90" y="23"/>
                    <a:pt x="90" y="18"/>
                  </a:cubicBezTo>
                  <a:cubicBezTo>
                    <a:pt x="90" y="14"/>
                    <a:pt x="86" y="11"/>
                    <a:pt x="83" y="11"/>
                  </a:cubicBezTo>
                  <a:cubicBezTo>
                    <a:pt x="77" y="11"/>
                    <a:pt x="73" y="18"/>
                    <a:pt x="77" y="22"/>
                  </a:cubicBezTo>
                  <a:cubicBezTo>
                    <a:pt x="67" y="35"/>
                    <a:pt x="67" y="35"/>
                    <a:pt x="67" y="35"/>
                  </a:cubicBezTo>
                  <a:cubicBezTo>
                    <a:pt x="62" y="32"/>
                    <a:pt x="56" y="31"/>
                    <a:pt x="52" y="34"/>
                  </a:cubicBezTo>
                  <a:cubicBezTo>
                    <a:pt x="37" y="12"/>
                    <a:pt x="37" y="12"/>
                    <a:pt x="37" y="12"/>
                  </a:cubicBezTo>
                  <a:cubicBezTo>
                    <a:pt x="39" y="11"/>
                    <a:pt x="39" y="9"/>
                    <a:pt x="39" y="7"/>
                  </a:cubicBezTo>
                  <a:cubicBezTo>
                    <a:pt x="39" y="3"/>
                    <a:pt x="36" y="0"/>
                    <a:pt x="32" y="0"/>
                  </a:cubicBezTo>
                  <a:cubicBezTo>
                    <a:pt x="29" y="0"/>
                    <a:pt x="25" y="3"/>
                    <a:pt x="25" y="7"/>
                  </a:cubicBezTo>
                  <a:cubicBezTo>
                    <a:pt x="25" y="12"/>
                    <a:pt x="31" y="16"/>
                    <a:pt x="35" y="14"/>
                  </a:cubicBezTo>
                  <a:cubicBezTo>
                    <a:pt x="49" y="35"/>
                    <a:pt x="49" y="35"/>
                    <a:pt x="49" y="35"/>
                  </a:cubicBezTo>
                  <a:cubicBezTo>
                    <a:pt x="47" y="37"/>
                    <a:pt x="45" y="40"/>
                    <a:pt x="44" y="43"/>
                  </a:cubicBezTo>
                  <a:cubicBezTo>
                    <a:pt x="14" y="34"/>
                    <a:pt x="14" y="34"/>
                    <a:pt x="14" y="34"/>
                  </a:cubicBezTo>
                  <a:cubicBezTo>
                    <a:pt x="14" y="30"/>
                    <a:pt x="11" y="26"/>
                    <a:pt x="7" y="26"/>
                  </a:cubicBezTo>
                  <a:cubicBezTo>
                    <a:pt x="3" y="26"/>
                    <a:pt x="0" y="29"/>
                    <a:pt x="0" y="33"/>
                  </a:cubicBezTo>
                  <a:cubicBezTo>
                    <a:pt x="0" y="37"/>
                    <a:pt x="3" y="40"/>
                    <a:pt x="7" y="40"/>
                  </a:cubicBezTo>
                  <a:cubicBezTo>
                    <a:pt x="9" y="40"/>
                    <a:pt x="12" y="38"/>
                    <a:pt x="13" y="36"/>
                  </a:cubicBezTo>
                  <a:cubicBezTo>
                    <a:pt x="44" y="45"/>
                    <a:pt x="44" y="45"/>
                    <a:pt x="44" y="45"/>
                  </a:cubicBezTo>
                  <a:cubicBezTo>
                    <a:pt x="43" y="49"/>
                    <a:pt x="44" y="53"/>
                    <a:pt x="46" y="56"/>
                  </a:cubicBezTo>
                  <a:cubicBezTo>
                    <a:pt x="22" y="73"/>
                    <a:pt x="22" y="73"/>
                    <a:pt x="22" y="73"/>
                  </a:cubicBezTo>
                  <a:cubicBezTo>
                    <a:pt x="20" y="71"/>
                    <a:pt x="18" y="70"/>
                    <a:pt x="16" y="70"/>
                  </a:cubicBezTo>
                  <a:cubicBezTo>
                    <a:pt x="13" y="70"/>
                    <a:pt x="9" y="73"/>
                    <a:pt x="9" y="77"/>
                  </a:cubicBezTo>
                  <a:cubicBezTo>
                    <a:pt x="9" y="81"/>
                    <a:pt x="13" y="84"/>
                    <a:pt x="16" y="84"/>
                  </a:cubicBezTo>
                  <a:cubicBezTo>
                    <a:pt x="21" y="84"/>
                    <a:pt x="25" y="79"/>
                    <a:pt x="23" y="75"/>
                  </a:cubicBezTo>
                  <a:cubicBezTo>
                    <a:pt x="48" y="58"/>
                    <a:pt x="48" y="58"/>
                    <a:pt x="48" y="58"/>
                  </a:cubicBezTo>
                  <a:cubicBezTo>
                    <a:pt x="47" y="57"/>
                    <a:pt x="47" y="57"/>
                    <a:pt x="47" y="57"/>
                  </a:cubicBezTo>
                  <a:cubicBezTo>
                    <a:pt x="52" y="63"/>
                    <a:pt x="62" y="64"/>
                    <a:pt x="68" y="59"/>
                  </a:cubicBezTo>
                  <a:cubicBezTo>
                    <a:pt x="87" y="75"/>
                    <a:pt x="87" y="75"/>
                    <a:pt x="87" y="75"/>
                  </a:cubicBezTo>
                  <a:cubicBezTo>
                    <a:pt x="84" y="79"/>
                    <a:pt x="87" y="85"/>
                    <a:pt x="93" y="85"/>
                  </a:cubicBezTo>
                  <a:cubicBezTo>
                    <a:pt x="97" y="85"/>
                    <a:pt x="100" y="82"/>
                    <a:pt x="100" y="78"/>
                  </a:cubicBezTo>
                  <a:cubicBezTo>
                    <a:pt x="100" y="73"/>
                    <a:pt x="93" y="69"/>
                    <a:pt x="88" y="73"/>
                  </a:cubicBezTo>
                  <a:close/>
                  <a:moveTo>
                    <a:pt x="77" y="18"/>
                  </a:moveTo>
                  <a:cubicBezTo>
                    <a:pt x="77" y="15"/>
                    <a:pt x="80" y="12"/>
                    <a:pt x="83" y="12"/>
                  </a:cubicBezTo>
                  <a:cubicBezTo>
                    <a:pt x="86" y="12"/>
                    <a:pt x="88" y="15"/>
                    <a:pt x="88" y="18"/>
                  </a:cubicBezTo>
                  <a:cubicBezTo>
                    <a:pt x="88" y="21"/>
                    <a:pt x="86" y="23"/>
                    <a:pt x="83" y="23"/>
                  </a:cubicBezTo>
                  <a:cubicBezTo>
                    <a:pt x="80" y="23"/>
                    <a:pt x="77" y="21"/>
                    <a:pt x="77" y="18"/>
                  </a:cubicBezTo>
                  <a:close/>
                  <a:moveTo>
                    <a:pt x="32" y="13"/>
                  </a:moveTo>
                  <a:cubicBezTo>
                    <a:pt x="29" y="13"/>
                    <a:pt x="27" y="10"/>
                    <a:pt x="27" y="7"/>
                  </a:cubicBezTo>
                  <a:cubicBezTo>
                    <a:pt x="27" y="4"/>
                    <a:pt x="29" y="2"/>
                    <a:pt x="32" y="2"/>
                  </a:cubicBezTo>
                  <a:cubicBezTo>
                    <a:pt x="35" y="2"/>
                    <a:pt x="38" y="4"/>
                    <a:pt x="38" y="7"/>
                  </a:cubicBezTo>
                  <a:cubicBezTo>
                    <a:pt x="38" y="10"/>
                    <a:pt x="35" y="13"/>
                    <a:pt x="32" y="13"/>
                  </a:cubicBezTo>
                  <a:close/>
                  <a:moveTo>
                    <a:pt x="7" y="38"/>
                  </a:moveTo>
                  <a:cubicBezTo>
                    <a:pt x="4" y="38"/>
                    <a:pt x="1" y="36"/>
                    <a:pt x="1" y="33"/>
                  </a:cubicBezTo>
                  <a:cubicBezTo>
                    <a:pt x="1" y="30"/>
                    <a:pt x="4" y="27"/>
                    <a:pt x="7" y="27"/>
                  </a:cubicBezTo>
                  <a:cubicBezTo>
                    <a:pt x="10" y="27"/>
                    <a:pt x="12" y="30"/>
                    <a:pt x="12" y="33"/>
                  </a:cubicBezTo>
                  <a:cubicBezTo>
                    <a:pt x="12" y="36"/>
                    <a:pt x="10" y="38"/>
                    <a:pt x="7" y="38"/>
                  </a:cubicBezTo>
                  <a:close/>
                  <a:moveTo>
                    <a:pt x="16" y="83"/>
                  </a:moveTo>
                  <a:cubicBezTo>
                    <a:pt x="13" y="83"/>
                    <a:pt x="11" y="80"/>
                    <a:pt x="11" y="77"/>
                  </a:cubicBezTo>
                  <a:cubicBezTo>
                    <a:pt x="11" y="74"/>
                    <a:pt x="13" y="72"/>
                    <a:pt x="16" y="72"/>
                  </a:cubicBezTo>
                  <a:cubicBezTo>
                    <a:pt x="19" y="72"/>
                    <a:pt x="22" y="74"/>
                    <a:pt x="22" y="77"/>
                  </a:cubicBezTo>
                  <a:cubicBezTo>
                    <a:pt x="22" y="80"/>
                    <a:pt x="19" y="83"/>
                    <a:pt x="16" y="83"/>
                  </a:cubicBezTo>
                  <a:close/>
                  <a:moveTo>
                    <a:pt x="59" y="59"/>
                  </a:moveTo>
                  <a:cubicBezTo>
                    <a:pt x="52" y="59"/>
                    <a:pt x="47" y="54"/>
                    <a:pt x="47" y="47"/>
                  </a:cubicBezTo>
                  <a:cubicBezTo>
                    <a:pt x="47" y="41"/>
                    <a:pt x="52" y="36"/>
                    <a:pt x="59" y="36"/>
                  </a:cubicBezTo>
                  <a:cubicBezTo>
                    <a:pt x="65" y="36"/>
                    <a:pt x="71" y="41"/>
                    <a:pt x="71" y="47"/>
                  </a:cubicBezTo>
                  <a:cubicBezTo>
                    <a:pt x="71" y="54"/>
                    <a:pt x="65" y="59"/>
                    <a:pt x="59" y="59"/>
                  </a:cubicBezTo>
                  <a:close/>
                  <a:moveTo>
                    <a:pt x="93" y="84"/>
                  </a:moveTo>
                  <a:cubicBezTo>
                    <a:pt x="90" y="84"/>
                    <a:pt x="87" y="81"/>
                    <a:pt x="87" y="78"/>
                  </a:cubicBezTo>
                  <a:cubicBezTo>
                    <a:pt x="87" y="75"/>
                    <a:pt x="90" y="73"/>
                    <a:pt x="93" y="73"/>
                  </a:cubicBezTo>
                  <a:cubicBezTo>
                    <a:pt x="96" y="73"/>
                    <a:pt x="98" y="75"/>
                    <a:pt x="98" y="78"/>
                  </a:cubicBezTo>
                  <a:cubicBezTo>
                    <a:pt x="98" y="81"/>
                    <a:pt x="96" y="84"/>
                    <a:pt x="9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5" name="Oval 60836">
              <a:extLst>
                <a:ext uri="{FF2B5EF4-FFF2-40B4-BE49-F238E27FC236}">
                  <a16:creationId xmlns:a16="http://schemas.microsoft.com/office/drawing/2014/main" id="{058B4A9E-7115-4ECB-984F-512ADB31769D}"/>
                </a:ext>
              </a:extLst>
            </p:cNvPr>
            <p:cNvSpPr>
              <a:spLocks noChangeArrowheads="1"/>
            </p:cNvSpPr>
            <p:nvPr/>
          </p:nvSpPr>
          <p:spPr bwMode="auto">
            <a:xfrm>
              <a:off x="1482725" y="-13303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6" name="Oval 60837">
              <a:extLst>
                <a:ext uri="{FF2B5EF4-FFF2-40B4-BE49-F238E27FC236}">
                  <a16:creationId xmlns:a16="http://schemas.microsoft.com/office/drawing/2014/main" id="{456E5C91-DEEF-431F-9427-466EBD202453}"/>
                </a:ext>
              </a:extLst>
            </p:cNvPr>
            <p:cNvSpPr>
              <a:spLocks noChangeArrowheads="1"/>
            </p:cNvSpPr>
            <p:nvPr/>
          </p:nvSpPr>
          <p:spPr bwMode="auto">
            <a:xfrm>
              <a:off x="1198563" y="-1333500"/>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7" name="Oval 60838">
              <a:extLst>
                <a:ext uri="{FF2B5EF4-FFF2-40B4-BE49-F238E27FC236}">
                  <a16:creationId xmlns:a16="http://schemas.microsoft.com/office/drawing/2014/main" id="{9DA856AD-2BF4-42B8-888C-2AA2EB6A854B}"/>
                </a:ext>
              </a:extLst>
            </p:cNvPr>
            <p:cNvSpPr>
              <a:spLocks noChangeArrowheads="1"/>
            </p:cNvSpPr>
            <p:nvPr/>
          </p:nvSpPr>
          <p:spPr bwMode="auto">
            <a:xfrm>
              <a:off x="1160463" y="-15081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8" name="Oval 60839">
              <a:extLst>
                <a:ext uri="{FF2B5EF4-FFF2-40B4-BE49-F238E27FC236}">
                  <a16:creationId xmlns:a16="http://schemas.microsoft.com/office/drawing/2014/main" id="{E9424620-7FA3-4847-89B6-4DAC4E7F08D8}"/>
                </a:ext>
              </a:extLst>
            </p:cNvPr>
            <p:cNvSpPr>
              <a:spLocks noChangeArrowheads="1"/>
            </p:cNvSpPr>
            <p:nvPr/>
          </p:nvSpPr>
          <p:spPr bwMode="auto">
            <a:xfrm>
              <a:off x="1258888" y="-16033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grpSp>
      <p:sp>
        <p:nvSpPr>
          <p:cNvPr id="69" name="Rectangle 68">
            <a:extLst>
              <a:ext uri="{FF2B5EF4-FFF2-40B4-BE49-F238E27FC236}">
                <a16:creationId xmlns:a16="http://schemas.microsoft.com/office/drawing/2014/main" id="{5E0017BF-BCFA-4276-9DB3-D436F8FBC6CF}"/>
              </a:ext>
            </a:extLst>
          </p:cNvPr>
          <p:cNvSpPr/>
          <p:nvPr/>
        </p:nvSpPr>
        <p:spPr>
          <a:xfrm>
            <a:off x="820137" y="3230213"/>
            <a:ext cx="1198418" cy="701582"/>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DBCAD89-3EBD-41C5-88C3-FCF5F4AA1EF8}"/>
              </a:ext>
            </a:extLst>
          </p:cNvPr>
          <p:cNvSpPr/>
          <p:nvPr/>
        </p:nvSpPr>
        <p:spPr>
          <a:xfrm>
            <a:off x="837403" y="3180592"/>
            <a:ext cx="1181152"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Required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budget</a:t>
            </a:r>
          </a:p>
        </p:txBody>
      </p:sp>
      <p:pic>
        <p:nvPicPr>
          <p:cNvPr id="71" name="Picture 70">
            <a:extLst>
              <a:ext uri="{FF2B5EF4-FFF2-40B4-BE49-F238E27FC236}">
                <a16:creationId xmlns:a16="http://schemas.microsoft.com/office/drawing/2014/main" id="{E3C4C210-1727-4B58-B28E-6980255156FB}"/>
              </a:ext>
            </a:extLst>
          </p:cNvPr>
          <p:cNvPicPr>
            <a:picLocks noChangeAspect="1"/>
          </p:cNvPicPr>
          <p:nvPr/>
        </p:nvPicPr>
        <p:blipFill>
          <a:blip r:embed="rId15"/>
          <a:stretch>
            <a:fillRect/>
          </a:stretch>
        </p:blipFill>
        <p:spPr>
          <a:xfrm>
            <a:off x="888185" y="3206678"/>
            <a:ext cx="254144" cy="234923"/>
          </a:xfrm>
          <a:prstGeom prst="rect">
            <a:avLst/>
          </a:prstGeom>
        </p:spPr>
      </p:pic>
      <p:pic>
        <p:nvPicPr>
          <p:cNvPr id="54" name="Picture 53">
            <a:extLst>
              <a:ext uri="{FF2B5EF4-FFF2-40B4-BE49-F238E27FC236}">
                <a16:creationId xmlns:a16="http://schemas.microsoft.com/office/drawing/2014/main" id="{69370E89-4914-44C2-8CFB-09F338E1F4D4}"/>
              </a:ext>
            </a:extLst>
          </p:cNvPr>
          <p:cNvPicPr>
            <a:picLocks noChangeAspect="1"/>
          </p:cNvPicPr>
          <p:nvPr/>
        </p:nvPicPr>
        <p:blipFill>
          <a:blip r:embed="rId16"/>
          <a:stretch>
            <a:fillRect/>
          </a:stretch>
        </p:blipFill>
        <p:spPr>
          <a:xfrm>
            <a:off x="10853731" y="89663"/>
            <a:ext cx="1183415" cy="552971"/>
          </a:xfrm>
          <a:prstGeom prst="rect">
            <a:avLst/>
          </a:prstGeom>
        </p:spPr>
      </p:pic>
      <p:sp>
        <p:nvSpPr>
          <p:cNvPr id="72" name="TextBox 71">
            <a:extLst>
              <a:ext uri="{FF2B5EF4-FFF2-40B4-BE49-F238E27FC236}">
                <a16:creationId xmlns:a16="http://schemas.microsoft.com/office/drawing/2014/main" id="{42FEDE24-EAB7-428E-9894-DD6495AE6604}"/>
              </a:ext>
            </a:extLst>
          </p:cNvPr>
          <p:cNvSpPr txBox="1"/>
          <p:nvPr/>
        </p:nvSpPr>
        <p:spPr>
          <a:xfrm>
            <a:off x="6344875" y="4336237"/>
            <a:ext cx="2202534" cy="1446550"/>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Calibri" panose="020F0502020204030204"/>
              </a:rPr>
              <a:t>Execute the use cases in given sequential order (not in parallel)</a:t>
            </a:r>
          </a:p>
          <a:p>
            <a:pPr>
              <a:lnSpc>
                <a:spcPct val="100000"/>
              </a:lnSpc>
              <a:spcBef>
                <a:spcPts val="0"/>
              </a:spcBef>
            </a:pPr>
            <a:r>
              <a:rPr lang="en-US"/>
              <a:t>Data Governors </a:t>
            </a:r>
          </a:p>
          <a:p>
            <a:pPr>
              <a:lnSpc>
                <a:spcPct val="100000"/>
              </a:lnSpc>
              <a:spcBef>
                <a:spcPts val="0"/>
              </a:spcBef>
            </a:pPr>
            <a:r>
              <a:rPr lang="en-US"/>
              <a:t>Retention &amp; deletion of personnel data/GDPR </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26888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B22B3FF2-3E0F-4602-9D95-ABF4C9939437}"/>
              </a:ext>
            </a:extLst>
          </p:cNvPr>
          <p:cNvSpPr/>
          <p:nvPr/>
        </p:nvSpPr>
        <p:spPr>
          <a:xfrm>
            <a:off x="5879195" y="2989030"/>
            <a:ext cx="5355976" cy="106795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82952029-6BB7-4A31-A512-AF8F0BE6EA6C}"/>
              </a:ext>
            </a:extLst>
          </p:cNvPr>
          <p:cNvSpPr txBox="1"/>
          <p:nvPr/>
        </p:nvSpPr>
        <p:spPr>
          <a:xfrm>
            <a:off x="5880100" y="3289152"/>
            <a:ext cx="5355975" cy="769441"/>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Shifting from solution to enterprise architecture aligning IT programs and information assets with business strategy</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efine the data architecture and a single source of truth per data domain</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Re-platforming, automated data ingestion and integration/processing</a:t>
            </a:r>
          </a:p>
        </p:txBody>
      </p:sp>
      <p:sp>
        <p:nvSpPr>
          <p:cNvPr id="45" name="Rectangle 44">
            <a:extLst>
              <a:ext uri="{FF2B5EF4-FFF2-40B4-BE49-F238E27FC236}">
                <a16:creationId xmlns:a16="http://schemas.microsoft.com/office/drawing/2014/main" id="{4E215F30-5DD1-44D7-B1FC-142444411C31}"/>
              </a:ext>
            </a:extLst>
          </p:cNvPr>
          <p:cNvSpPr/>
          <p:nvPr/>
        </p:nvSpPr>
        <p:spPr>
          <a:xfrm>
            <a:off x="837402" y="4174041"/>
            <a:ext cx="4863259" cy="203271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68BE7FBA-7060-4F3A-B244-2006BF0ECDB4}"/>
              </a:ext>
            </a:extLst>
          </p:cNvPr>
          <p:cNvSpPr txBox="1"/>
          <p:nvPr/>
        </p:nvSpPr>
        <p:spPr>
          <a:xfrm>
            <a:off x="820136" y="4483694"/>
            <a:ext cx="4863259" cy="1785104"/>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Gather data requirements per business line to communalize and unify the supply and use of external data</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Build global enterprise data model organized per data domain (Finance and HR are already completed?)</a:t>
            </a:r>
          </a:p>
          <a:p>
            <a:pPr marL="314325" indent="-228600">
              <a:buFont typeface="+mj-lt"/>
              <a:buAutoNum type="arabicPeriod"/>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Build out the demand management for future data requirements by for example establishing a ticket system/backlog</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C7ECA67C-9606-45F6-8EC4-9C26F6CE8F3A}"/>
              </a:ext>
            </a:extLst>
          </p:cNvPr>
          <p:cNvSpPr/>
          <p:nvPr/>
        </p:nvSpPr>
        <p:spPr>
          <a:xfrm>
            <a:off x="2152649" y="1516413"/>
            <a:ext cx="3619501" cy="2540576"/>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685B36B4-0BD9-4EAA-AE5E-F97F02DD7BC0}"/>
              </a:ext>
            </a:extLst>
          </p:cNvPr>
          <p:cNvSpPr txBox="1"/>
          <p:nvPr/>
        </p:nvSpPr>
        <p:spPr>
          <a:xfrm>
            <a:off x="2152647" y="1810357"/>
            <a:ext cx="3619503" cy="1446550"/>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spiration to build a global enterprise data model for all data domains unifying and communalizing the data requirements across the business lines and operation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ata requirements should be built based on current as well as future operational, client and regulatory demands which can be served by either internal or external data</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Establish demand management process for future data requirements</a:t>
            </a:r>
          </a:p>
        </p:txBody>
      </p:sp>
      <p:sp>
        <p:nvSpPr>
          <p:cNvPr id="48" name="Rectangle 47">
            <a:extLst>
              <a:ext uri="{FF2B5EF4-FFF2-40B4-BE49-F238E27FC236}">
                <a16:creationId xmlns:a16="http://schemas.microsoft.com/office/drawing/2014/main" id="{62549C25-8B51-48C0-98D4-C1550C8B7ACE}"/>
              </a:ext>
            </a:extLst>
          </p:cNvPr>
          <p:cNvSpPr/>
          <p:nvPr/>
        </p:nvSpPr>
        <p:spPr>
          <a:xfrm>
            <a:off x="8039483" y="4164178"/>
            <a:ext cx="3195687" cy="204257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3FFE9F0D-BF89-45BB-A80D-418C611EAB95}"/>
              </a:ext>
            </a:extLst>
          </p:cNvPr>
          <p:cNvSpPr/>
          <p:nvPr/>
        </p:nvSpPr>
        <p:spPr>
          <a:xfrm>
            <a:off x="5879195" y="1516412"/>
            <a:ext cx="5355976" cy="139027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05B8C25-F0DA-4399-B55A-AE66A373AF1E}"/>
              </a:ext>
            </a:extLst>
          </p:cNvPr>
          <p:cNvSpPr/>
          <p:nvPr/>
        </p:nvSpPr>
        <p:spPr>
          <a:xfrm>
            <a:off x="838310" y="1516412"/>
            <a:ext cx="1199976" cy="1338464"/>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9AC5F50E-28EE-4312-88E1-87359E29D14D}"/>
              </a:ext>
            </a:extLst>
          </p:cNvPr>
          <p:cNvSpPr/>
          <p:nvPr/>
        </p:nvSpPr>
        <p:spPr>
          <a:xfrm>
            <a:off x="2600325" y="1059196"/>
            <a:ext cx="8634845"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Integration of data requirements in one enterprise data model across current and future demands to better serve our clients</a:t>
            </a:r>
            <a:endParaRPr kumimoji="0" lang="en-US" sz="1400" b="0"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1423B210-1D67-46E0-9991-131C6CE6300F}"/>
              </a:ext>
            </a:extLst>
          </p:cNvPr>
          <p:cNvSpPr/>
          <p:nvPr/>
        </p:nvSpPr>
        <p:spPr>
          <a:xfrm>
            <a:off x="2152648" y="1516413"/>
            <a:ext cx="3632911"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Description</a:t>
            </a:r>
          </a:p>
        </p:txBody>
      </p:sp>
      <p:sp>
        <p:nvSpPr>
          <p:cNvPr id="11" name="Rectangle 10">
            <a:extLst>
              <a:ext uri="{FF2B5EF4-FFF2-40B4-BE49-F238E27FC236}">
                <a16:creationId xmlns:a16="http://schemas.microsoft.com/office/drawing/2014/main" id="{1BDC89DB-996B-483A-BA4D-19EE9B629B46}"/>
              </a:ext>
            </a:extLst>
          </p:cNvPr>
          <p:cNvSpPr/>
          <p:nvPr/>
        </p:nvSpPr>
        <p:spPr>
          <a:xfrm>
            <a:off x="5880100" y="1516414"/>
            <a:ext cx="5355976" cy="288000"/>
          </a:xfrm>
          <a:prstGeom prst="rect">
            <a:avLst/>
          </a:prstGeom>
          <a:solidFill>
            <a:srgbClr val="2BAEA3"/>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Organizational Requirements</a:t>
            </a:r>
          </a:p>
        </p:txBody>
      </p:sp>
      <p:sp>
        <p:nvSpPr>
          <p:cNvPr id="14" name="Rectangle 13">
            <a:extLst>
              <a:ext uri="{FF2B5EF4-FFF2-40B4-BE49-F238E27FC236}">
                <a16:creationId xmlns:a16="http://schemas.microsoft.com/office/drawing/2014/main" id="{D7931A0B-3AFA-4EA6-9C9F-39EBC60F3089}"/>
              </a:ext>
            </a:extLst>
          </p:cNvPr>
          <p:cNvSpPr/>
          <p:nvPr/>
        </p:nvSpPr>
        <p:spPr>
          <a:xfrm>
            <a:off x="838310" y="4174041"/>
            <a:ext cx="4886118" cy="288000"/>
          </a:xfrm>
          <a:prstGeom prst="rect">
            <a:avLst/>
          </a:prstGeom>
          <a:solidFill>
            <a:schemeClr val="accent3"/>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Key Use Cases</a:t>
            </a:r>
          </a:p>
        </p:txBody>
      </p:sp>
      <p:sp>
        <p:nvSpPr>
          <p:cNvPr id="15" name="Rectangle 14">
            <a:extLst>
              <a:ext uri="{FF2B5EF4-FFF2-40B4-BE49-F238E27FC236}">
                <a16:creationId xmlns:a16="http://schemas.microsoft.com/office/drawing/2014/main" id="{7524A068-07F3-47C8-8FB5-87E1559D7A3A}"/>
              </a:ext>
            </a:extLst>
          </p:cNvPr>
          <p:cNvSpPr/>
          <p:nvPr/>
        </p:nvSpPr>
        <p:spPr>
          <a:xfrm>
            <a:off x="8040388" y="4174041"/>
            <a:ext cx="3194815"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Estimated effort &amp; resources</a:t>
            </a:r>
          </a:p>
        </p:txBody>
      </p:sp>
      <p:sp>
        <p:nvSpPr>
          <p:cNvPr id="30" name="TextBox 29">
            <a:extLst>
              <a:ext uri="{FF2B5EF4-FFF2-40B4-BE49-F238E27FC236}">
                <a16:creationId xmlns:a16="http://schemas.microsoft.com/office/drawing/2014/main" id="{F389E858-A470-4C96-B7C1-907C5AF62127}"/>
              </a:ext>
            </a:extLst>
          </p:cNvPr>
          <p:cNvSpPr txBox="1"/>
          <p:nvPr/>
        </p:nvSpPr>
        <p:spPr>
          <a:xfrm>
            <a:off x="8039450" y="4483694"/>
            <a:ext cx="3195688" cy="600164"/>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Populate after specifying use case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A60197FE-1894-45BD-A453-779621B3CEAA}"/>
              </a:ext>
            </a:extLst>
          </p:cNvPr>
          <p:cNvSpPr/>
          <p:nvPr/>
        </p:nvSpPr>
        <p:spPr>
          <a:xfrm>
            <a:off x="838311" y="1516413"/>
            <a:ext cx="1199975"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Owner (s)</a:t>
            </a:r>
          </a:p>
        </p:txBody>
      </p:sp>
      <p:sp>
        <p:nvSpPr>
          <p:cNvPr id="34" name="TextBox 33">
            <a:extLst>
              <a:ext uri="{FF2B5EF4-FFF2-40B4-BE49-F238E27FC236}">
                <a16:creationId xmlns:a16="http://schemas.microsoft.com/office/drawing/2014/main" id="{7212C24E-EDB2-4549-B3DA-085417606D8B}"/>
              </a:ext>
            </a:extLst>
          </p:cNvPr>
          <p:cNvSpPr txBox="1"/>
          <p:nvPr/>
        </p:nvSpPr>
        <p:spPr>
          <a:xfrm>
            <a:off x="852353" y="1810357"/>
            <a:ext cx="1109797"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rPr>
              <a:t>CAO, COO, CDO</a:t>
            </a:r>
          </a:p>
        </p:txBody>
      </p:sp>
      <p:sp>
        <p:nvSpPr>
          <p:cNvPr id="38" name="Rectangle 37">
            <a:extLst>
              <a:ext uri="{FF2B5EF4-FFF2-40B4-BE49-F238E27FC236}">
                <a16:creationId xmlns:a16="http://schemas.microsoft.com/office/drawing/2014/main" id="{14677884-B84C-4112-B064-71BB47E090D9}"/>
              </a:ext>
            </a:extLst>
          </p:cNvPr>
          <p:cNvSpPr/>
          <p:nvPr/>
        </p:nvSpPr>
        <p:spPr>
          <a:xfrm>
            <a:off x="5880100" y="2989028"/>
            <a:ext cx="5355103" cy="288000"/>
          </a:xfrm>
          <a:prstGeom prst="rect">
            <a:avLst/>
          </a:prstGeom>
          <a:solidFill>
            <a:srgbClr val="FFB15E"/>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Data Foundation Requirements</a:t>
            </a:r>
          </a:p>
        </p:txBody>
      </p:sp>
      <p:sp>
        <p:nvSpPr>
          <p:cNvPr id="32" name="Title 5">
            <a:extLst>
              <a:ext uri="{FF2B5EF4-FFF2-40B4-BE49-F238E27FC236}">
                <a16:creationId xmlns:a16="http://schemas.microsoft.com/office/drawing/2014/main" id="{FA216D96-6C9D-4447-9D4E-C7FC824DD24F}"/>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69B4"/>
                </a:solidFill>
                <a:effectLst/>
                <a:uLnTx/>
                <a:uFillTx/>
                <a:latin typeface="Calibri Light" panose="020F0302020204030204"/>
                <a:ea typeface="+mj-ea"/>
                <a:cs typeface="+mj-cs"/>
              </a:rPr>
              <a:t>Strategic Data Objective 2: </a:t>
            </a:r>
            <a:r>
              <a:rPr kumimoji="0" lang="en-US" sz="2400" b="0" i="0" u="none" strike="noStrike" kern="1200" cap="none" spc="20" normalizeH="0" baseline="0" noProof="0">
                <a:ln>
                  <a:noFill/>
                </a:ln>
                <a:solidFill>
                  <a:srgbClr val="0069B4"/>
                </a:solidFill>
                <a:effectLst/>
                <a:uLnTx/>
                <a:uFillTx/>
                <a:latin typeface="Calibri Light" panose="020F0302020204030204"/>
                <a:ea typeface="Times New Roman" panose="02020603050405020304" pitchFamily="18" charset="0"/>
                <a:cs typeface="Times New Roman" panose="02020603050405020304" pitchFamily="18" charset="0"/>
              </a:rPr>
              <a:t>Integration of data requirements in one enterprise data model across current and future demands to better serve our clients</a:t>
            </a:r>
          </a:p>
        </p:txBody>
      </p:sp>
      <p:sp>
        <p:nvSpPr>
          <p:cNvPr id="29" name="TextBox 28">
            <a:extLst>
              <a:ext uri="{FF2B5EF4-FFF2-40B4-BE49-F238E27FC236}">
                <a16:creationId xmlns:a16="http://schemas.microsoft.com/office/drawing/2014/main" id="{E4DDC895-4533-43A5-B1D9-A626F73E30A3}"/>
              </a:ext>
            </a:extLst>
          </p:cNvPr>
          <p:cNvSpPr txBox="1"/>
          <p:nvPr/>
        </p:nvSpPr>
        <p:spPr>
          <a:xfrm>
            <a:off x="5880099" y="1810357"/>
            <a:ext cx="5313253" cy="600164"/>
          </a:xfrm>
          <a:prstGeom prst="rect">
            <a:avLst/>
          </a:prstGeom>
          <a:noFill/>
          <a:ln>
            <a:noFill/>
          </a:ln>
        </p:spPr>
        <p:txBody>
          <a:bodyPr wrap="square" lIns="0" rIns="0" rtlCol="0" anchor="t" anchorCtr="0">
            <a:spAutoFit/>
          </a:bodyPr>
          <a:lstStyle>
            <a:defPPr>
              <a:defRPr lang="en-US"/>
            </a:defPPr>
            <a:lvl1pPr marL="180975" indent="-180975">
              <a:buFont typeface="Arial" panose="020B0604020202020204" pitchFamily="34" charset="0"/>
              <a:buChar char="•"/>
              <a:defRPr sz="1100"/>
            </a:lvl1pPr>
          </a:lstStyle>
          <a:p>
            <a:pPr marL="266700">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Identify executive sponsorship</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Global processes to simplify and standardize the way of working across region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Global data owners per data domain</a:t>
            </a:r>
          </a:p>
        </p:txBody>
      </p:sp>
      <p:sp>
        <p:nvSpPr>
          <p:cNvPr id="33" name="Rectangle 32">
            <a:extLst>
              <a:ext uri="{FF2B5EF4-FFF2-40B4-BE49-F238E27FC236}">
                <a16:creationId xmlns:a16="http://schemas.microsoft.com/office/drawing/2014/main" id="{085FBE86-E7A2-4E87-A9B0-5C016FDE37E8}"/>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49" name="Graphic 48" descr="Teacher">
            <a:extLst>
              <a:ext uri="{FF2B5EF4-FFF2-40B4-BE49-F238E27FC236}">
                <a16:creationId xmlns:a16="http://schemas.microsoft.com/office/drawing/2014/main" id="{9D25AFB6-D427-44D5-AB06-AFA85EE2045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80319" y="1517100"/>
            <a:ext cx="302899" cy="302899"/>
          </a:xfrm>
          <a:prstGeom prst="rect">
            <a:avLst/>
          </a:prstGeom>
        </p:spPr>
      </p:pic>
      <p:pic>
        <p:nvPicPr>
          <p:cNvPr id="51" name="Graphic 50" descr="User">
            <a:extLst>
              <a:ext uri="{FF2B5EF4-FFF2-40B4-BE49-F238E27FC236}">
                <a16:creationId xmlns:a16="http://schemas.microsoft.com/office/drawing/2014/main" id="{80428B59-E0A7-4DB4-84D7-4747FE039638}"/>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0155" y="1517050"/>
            <a:ext cx="293219" cy="293219"/>
          </a:xfrm>
          <a:prstGeom prst="rect">
            <a:avLst/>
          </a:prstGeom>
        </p:spPr>
      </p:pic>
      <p:pic>
        <p:nvPicPr>
          <p:cNvPr id="56" name="Graphic 55" descr="Venn diagram">
            <a:extLst>
              <a:ext uri="{FF2B5EF4-FFF2-40B4-BE49-F238E27FC236}">
                <a16:creationId xmlns:a16="http://schemas.microsoft.com/office/drawing/2014/main" id="{76B15EF1-54B6-4B6A-B8C6-6DDA513932E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92037" y="1501073"/>
            <a:ext cx="300636" cy="300636"/>
          </a:xfrm>
          <a:prstGeom prst="rect">
            <a:avLst/>
          </a:prstGeom>
        </p:spPr>
      </p:pic>
      <p:pic>
        <p:nvPicPr>
          <p:cNvPr id="57" name="Graphic 56" descr="Document">
            <a:extLst>
              <a:ext uri="{FF2B5EF4-FFF2-40B4-BE49-F238E27FC236}">
                <a16:creationId xmlns:a16="http://schemas.microsoft.com/office/drawing/2014/main" id="{C485186D-011E-46F5-B00E-4F1DF5779C8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52353" y="4164179"/>
            <a:ext cx="280553" cy="280553"/>
          </a:xfrm>
          <a:prstGeom prst="rect">
            <a:avLst/>
          </a:prstGeom>
        </p:spPr>
      </p:pic>
      <p:pic>
        <p:nvPicPr>
          <p:cNvPr id="58" name="Graphic 57" descr="Boardroom">
            <a:extLst>
              <a:ext uri="{FF2B5EF4-FFF2-40B4-BE49-F238E27FC236}">
                <a16:creationId xmlns:a16="http://schemas.microsoft.com/office/drawing/2014/main" id="{4E5C24BB-C906-4540-B069-A513F7BFA18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081421" y="4144916"/>
            <a:ext cx="319079" cy="319079"/>
          </a:xfrm>
          <a:prstGeom prst="rect">
            <a:avLst/>
          </a:prstGeom>
        </p:spPr>
      </p:pic>
      <p:sp>
        <p:nvSpPr>
          <p:cNvPr id="46" name="Rectangle 45">
            <a:extLst>
              <a:ext uri="{FF2B5EF4-FFF2-40B4-BE49-F238E27FC236}">
                <a16:creationId xmlns:a16="http://schemas.microsoft.com/office/drawing/2014/main" id="{738D352E-85BD-482E-B423-E049F1140936}"/>
              </a:ext>
            </a:extLst>
          </p:cNvPr>
          <p:cNvSpPr/>
          <p:nvPr/>
        </p:nvSpPr>
        <p:spPr>
          <a:xfrm>
            <a:off x="5779719" y="4277174"/>
            <a:ext cx="2188276" cy="192957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AF466AE7-8D20-4536-B357-4FA03FB5853C}"/>
              </a:ext>
            </a:extLst>
          </p:cNvPr>
          <p:cNvSpPr/>
          <p:nvPr/>
        </p:nvSpPr>
        <p:spPr>
          <a:xfrm>
            <a:off x="5772150" y="4174041"/>
            <a:ext cx="2195850"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Timing &amp; Dependencies</a:t>
            </a:r>
          </a:p>
        </p:txBody>
      </p:sp>
      <p:pic>
        <p:nvPicPr>
          <p:cNvPr id="59" name="Graphic 58" descr="Hourglass">
            <a:extLst>
              <a:ext uri="{FF2B5EF4-FFF2-40B4-BE49-F238E27FC236}">
                <a16:creationId xmlns:a16="http://schemas.microsoft.com/office/drawing/2014/main" id="{119FE742-24AE-445A-BF6D-E83A663F2977}"/>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785549" y="4204173"/>
            <a:ext cx="231819" cy="200564"/>
          </a:xfrm>
          <a:prstGeom prst="rect">
            <a:avLst/>
          </a:prstGeom>
        </p:spPr>
      </p:pic>
      <p:cxnSp>
        <p:nvCxnSpPr>
          <p:cNvPr id="13" name="Straight Connector 12">
            <a:extLst>
              <a:ext uri="{FF2B5EF4-FFF2-40B4-BE49-F238E27FC236}">
                <a16:creationId xmlns:a16="http://schemas.microsoft.com/office/drawing/2014/main" id="{9DC6A804-7D66-4F30-AF44-BE367FD9E059}"/>
              </a:ext>
            </a:extLst>
          </p:cNvPr>
          <p:cNvCxnSpPr>
            <a:cxnSpLocks/>
          </p:cNvCxnSpPr>
          <p:nvPr/>
        </p:nvCxnSpPr>
        <p:spPr>
          <a:xfrm>
            <a:off x="820155" y="1368785"/>
            <a:ext cx="10363672"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0" name="Flowchart: Manual Input 59">
            <a:extLst>
              <a:ext uri="{FF2B5EF4-FFF2-40B4-BE49-F238E27FC236}">
                <a16:creationId xmlns:a16="http://schemas.microsoft.com/office/drawing/2014/main" id="{3D42F83C-DCF0-48E4-BF7A-909020AF5DFC}"/>
              </a:ext>
            </a:extLst>
          </p:cNvPr>
          <p:cNvSpPr/>
          <p:nvPr/>
        </p:nvSpPr>
        <p:spPr>
          <a:xfrm>
            <a:off x="820154" y="1039956"/>
            <a:ext cx="1780171"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a:t>
            </a:r>
            <a:r>
              <a:rPr lang="en-US" sz="1200" b="1">
                <a:solidFill>
                  <a:prstClr val="white"/>
                </a:solidFill>
                <a:latin typeface="Calibri" panose="020F0502020204030204"/>
              </a:rPr>
              <a:t>2</a:t>
            </a: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1" name="Group 60">
            <a:extLst>
              <a:ext uri="{FF2B5EF4-FFF2-40B4-BE49-F238E27FC236}">
                <a16:creationId xmlns:a16="http://schemas.microsoft.com/office/drawing/2014/main" id="{78EB94CD-1095-4126-8716-A89389A65961}"/>
              </a:ext>
            </a:extLst>
          </p:cNvPr>
          <p:cNvGrpSpPr/>
          <p:nvPr/>
        </p:nvGrpSpPr>
        <p:grpSpPr>
          <a:xfrm>
            <a:off x="7292037" y="3024421"/>
            <a:ext cx="209550" cy="183264"/>
            <a:chOff x="1149350" y="-1619250"/>
            <a:chExt cx="374650" cy="328613"/>
          </a:xfrm>
          <a:solidFill>
            <a:schemeClr val="bg1"/>
          </a:solidFill>
        </p:grpSpPr>
        <p:sp>
          <p:nvSpPr>
            <p:cNvPr id="62" name="Oval 60833">
              <a:extLst>
                <a:ext uri="{FF2B5EF4-FFF2-40B4-BE49-F238E27FC236}">
                  <a16:creationId xmlns:a16="http://schemas.microsoft.com/office/drawing/2014/main" id="{D04E19AF-9A16-44B1-A4E8-6017A76F5522}"/>
                </a:ext>
              </a:extLst>
            </p:cNvPr>
            <p:cNvSpPr>
              <a:spLocks noChangeArrowheads="1"/>
            </p:cNvSpPr>
            <p:nvPr/>
          </p:nvSpPr>
          <p:spPr bwMode="auto">
            <a:xfrm>
              <a:off x="1341438" y="-1465263"/>
              <a:ext cx="58738" cy="58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3" name="Oval 60834">
              <a:extLst>
                <a:ext uri="{FF2B5EF4-FFF2-40B4-BE49-F238E27FC236}">
                  <a16:creationId xmlns:a16="http://schemas.microsoft.com/office/drawing/2014/main" id="{3234EBD3-82C5-49B0-97CA-2E8B61B77BC5}"/>
                </a:ext>
              </a:extLst>
            </p:cNvPr>
            <p:cNvSpPr>
              <a:spLocks noChangeArrowheads="1"/>
            </p:cNvSpPr>
            <p:nvPr/>
          </p:nvSpPr>
          <p:spPr bwMode="auto">
            <a:xfrm>
              <a:off x="1446213" y="-15652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4" name="Freeform 60835">
              <a:extLst>
                <a:ext uri="{FF2B5EF4-FFF2-40B4-BE49-F238E27FC236}">
                  <a16:creationId xmlns:a16="http://schemas.microsoft.com/office/drawing/2014/main" id="{7F24F43C-B9BC-42F3-9C64-45BE05479B71}"/>
                </a:ext>
              </a:extLst>
            </p:cNvPr>
            <p:cNvSpPr>
              <a:spLocks noEditPoints="1"/>
            </p:cNvSpPr>
            <p:nvPr/>
          </p:nvSpPr>
          <p:spPr bwMode="auto">
            <a:xfrm>
              <a:off x="1149350" y="-1619250"/>
              <a:ext cx="374650" cy="328613"/>
            </a:xfrm>
            <a:custGeom>
              <a:avLst/>
              <a:gdLst>
                <a:gd name="T0" fmla="*/ 70 w 100"/>
                <a:gd name="T1" fmla="*/ 57 h 85"/>
                <a:gd name="T2" fmla="*/ 79 w 100"/>
                <a:gd name="T3" fmla="*/ 24 h 85"/>
                <a:gd name="T4" fmla="*/ 83 w 100"/>
                <a:gd name="T5" fmla="*/ 11 h 85"/>
                <a:gd name="T6" fmla="*/ 67 w 100"/>
                <a:gd name="T7" fmla="*/ 35 h 85"/>
                <a:gd name="T8" fmla="*/ 37 w 100"/>
                <a:gd name="T9" fmla="*/ 12 h 85"/>
                <a:gd name="T10" fmla="*/ 32 w 100"/>
                <a:gd name="T11" fmla="*/ 0 h 85"/>
                <a:gd name="T12" fmla="*/ 35 w 100"/>
                <a:gd name="T13" fmla="*/ 14 h 85"/>
                <a:gd name="T14" fmla="*/ 44 w 100"/>
                <a:gd name="T15" fmla="*/ 43 h 85"/>
                <a:gd name="T16" fmla="*/ 7 w 100"/>
                <a:gd name="T17" fmla="*/ 26 h 85"/>
                <a:gd name="T18" fmla="*/ 7 w 100"/>
                <a:gd name="T19" fmla="*/ 40 h 85"/>
                <a:gd name="T20" fmla="*/ 44 w 100"/>
                <a:gd name="T21" fmla="*/ 45 h 85"/>
                <a:gd name="T22" fmla="*/ 22 w 100"/>
                <a:gd name="T23" fmla="*/ 73 h 85"/>
                <a:gd name="T24" fmla="*/ 9 w 100"/>
                <a:gd name="T25" fmla="*/ 77 h 85"/>
                <a:gd name="T26" fmla="*/ 23 w 100"/>
                <a:gd name="T27" fmla="*/ 75 h 85"/>
                <a:gd name="T28" fmla="*/ 47 w 100"/>
                <a:gd name="T29" fmla="*/ 57 h 85"/>
                <a:gd name="T30" fmla="*/ 87 w 100"/>
                <a:gd name="T31" fmla="*/ 75 h 85"/>
                <a:gd name="T32" fmla="*/ 100 w 100"/>
                <a:gd name="T33" fmla="*/ 78 h 85"/>
                <a:gd name="T34" fmla="*/ 77 w 100"/>
                <a:gd name="T35" fmla="*/ 18 h 85"/>
                <a:gd name="T36" fmla="*/ 88 w 100"/>
                <a:gd name="T37" fmla="*/ 18 h 85"/>
                <a:gd name="T38" fmla="*/ 77 w 100"/>
                <a:gd name="T39" fmla="*/ 18 h 85"/>
                <a:gd name="T40" fmla="*/ 27 w 100"/>
                <a:gd name="T41" fmla="*/ 7 h 85"/>
                <a:gd name="T42" fmla="*/ 38 w 100"/>
                <a:gd name="T43" fmla="*/ 7 h 85"/>
                <a:gd name="T44" fmla="*/ 7 w 100"/>
                <a:gd name="T45" fmla="*/ 38 h 85"/>
                <a:gd name="T46" fmla="*/ 7 w 100"/>
                <a:gd name="T47" fmla="*/ 27 h 85"/>
                <a:gd name="T48" fmla="*/ 7 w 100"/>
                <a:gd name="T49" fmla="*/ 38 h 85"/>
                <a:gd name="T50" fmla="*/ 11 w 100"/>
                <a:gd name="T51" fmla="*/ 77 h 85"/>
                <a:gd name="T52" fmla="*/ 22 w 100"/>
                <a:gd name="T53" fmla="*/ 77 h 85"/>
                <a:gd name="T54" fmla="*/ 59 w 100"/>
                <a:gd name="T55" fmla="*/ 59 h 85"/>
                <a:gd name="T56" fmla="*/ 59 w 100"/>
                <a:gd name="T57" fmla="*/ 36 h 85"/>
                <a:gd name="T58" fmla="*/ 59 w 100"/>
                <a:gd name="T59" fmla="*/ 59 h 85"/>
                <a:gd name="T60" fmla="*/ 87 w 100"/>
                <a:gd name="T61" fmla="*/ 78 h 85"/>
                <a:gd name="T62" fmla="*/ 98 w 100"/>
                <a:gd name="T63"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 h="85">
                  <a:moveTo>
                    <a:pt x="88" y="73"/>
                  </a:moveTo>
                  <a:cubicBezTo>
                    <a:pt x="70" y="57"/>
                    <a:pt x="70" y="57"/>
                    <a:pt x="70" y="57"/>
                  </a:cubicBezTo>
                  <a:cubicBezTo>
                    <a:pt x="76" y="51"/>
                    <a:pt x="75" y="42"/>
                    <a:pt x="69" y="36"/>
                  </a:cubicBezTo>
                  <a:cubicBezTo>
                    <a:pt x="79" y="24"/>
                    <a:pt x="79" y="24"/>
                    <a:pt x="79" y="24"/>
                  </a:cubicBezTo>
                  <a:cubicBezTo>
                    <a:pt x="84" y="26"/>
                    <a:pt x="90" y="23"/>
                    <a:pt x="90" y="18"/>
                  </a:cubicBezTo>
                  <a:cubicBezTo>
                    <a:pt x="90" y="14"/>
                    <a:pt x="86" y="11"/>
                    <a:pt x="83" y="11"/>
                  </a:cubicBezTo>
                  <a:cubicBezTo>
                    <a:pt x="77" y="11"/>
                    <a:pt x="73" y="18"/>
                    <a:pt x="77" y="22"/>
                  </a:cubicBezTo>
                  <a:cubicBezTo>
                    <a:pt x="67" y="35"/>
                    <a:pt x="67" y="35"/>
                    <a:pt x="67" y="35"/>
                  </a:cubicBezTo>
                  <a:cubicBezTo>
                    <a:pt x="62" y="32"/>
                    <a:pt x="56" y="31"/>
                    <a:pt x="52" y="34"/>
                  </a:cubicBezTo>
                  <a:cubicBezTo>
                    <a:pt x="37" y="12"/>
                    <a:pt x="37" y="12"/>
                    <a:pt x="37" y="12"/>
                  </a:cubicBezTo>
                  <a:cubicBezTo>
                    <a:pt x="39" y="11"/>
                    <a:pt x="39" y="9"/>
                    <a:pt x="39" y="7"/>
                  </a:cubicBezTo>
                  <a:cubicBezTo>
                    <a:pt x="39" y="3"/>
                    <a:pt x="36" y="0"/>
                    <a:pt x="32" y="0"/>
                  </a:cubicBezTo>
                  <a:cubicBezTo>
                    <a:pt x="29" y="0"/>
                    <a:pt x="25" y="3"/>
                    <a:pt x="25" y="7"/>
                  </a:cubicBezTo>
                  <a:cubicBezTo>
                    <a:pt x="25" y="12"/>
                    <a:pt x="31" y="16"/>
                    <a:pt x="35" y="14"/>
                  </a:cubicBezTo>
                  <a:cubicBezTo>
                    <a:pt x="49" y="35"/>
                    <a:pt x="49" y="35"/>
                    <a:pt x="49" y="35"/>
                  </a:cubicBezTo>
                  <a:cubicBezTo>
                    <a:pt x="47" y="37"/>
                    <a:pt x="45" y="40"/>
                    <a:pt x="44" y="43"/>
                  </a:cubicBezTo>
                  <a:cubicBezTo>
                    <a:pt x="14" y="34"/>
                    <a:pt x="14" y="34"/>
                    <a:pt x="14" y="34"/>
                  </a:cubicBezTo>
                  <a:cubicBezTo>
                    <a:pt x="14" y="30"/>
                    <a:pt x="11" y="26"/>
                    <a:pt x="7" y="26"/>
                  </a:cubicBezTo>
                  <a:cubicBezTo>
                    <a:pt x="3" y="26"/>
                    <a:pt x="0" y="29"/>
                    <a:pt x="0" y="33"/>
                  </a:cubicBezTo>
                  <a:cubicBezTo>
                    <a:pt x="0" y="37"/>
                    <a:pt x="3" y="40"/>
                    <a:pt x="7" y="40"/>
                  </a:cubicBezTo>
                  <a:cubicBezTo>
                    <a:pt x="9" y="40"/>
                    <a:pt x="12" y="38"/>
                    <a:pt x="13" y="36"/>
                  </a:cubicBezTo>
                  <a:cubicBezTo>
                    <a:pt x="44" y="45"/>
                    <a:pt x="44" y="45"/>
                    <a:pt x="44" y="45"/>
                  </a:cubicBezTo>
                  <a:cubicBezTo>
                    <a:pt x="43" y="49"/>
                    <a:pt x="44" y="53"/>
                    <a:pt x="46" y="56"/>
                  </a:cubicBezTo>
                  <a:cubicBezTo>
                    <a:pt x="22" y="73"/>
                    <a:pt x="22" y="73"/>
                    <a:pt x="22" y="73"/>
                  </a:cubicBezTo>
                  <a:cubicBezTo>
                    <a:pt x="20" y="71"/>
                    <a:pt x="18" y="70"/>
                    <a:pt x="16" y="70"/>
                  </a:cubicBezTo>
                  <a:cubicBezTo>
                    <a:pt x="13" y="70"/>
                    <a:pt x="9" y="73"/>
                    <a:pt x="9" y="77"/>
                  </a:cubicBezTo>
                  <a:cubicBezTo>
                    <a:pt x="9" y="81"/>
                    <a:pt x="13" y="84"/>
                    <a:pt x="16" y="84"/>
                  </a:cubicBezTo>
                  <a:cubicBezTo>
                    <a:pt x="21" y="84"/>
                    <a:pt x="25" y="79"/>
                    <a:pt x="23" y="75"/>
                  </a:cubicBezTo>
                  <a:cubicBezTo>
                    <a:pt x="48" y="58"/>
                    <a:pt x="48" y="58"/>
                    <a:pt x="48" y="58"/>
                  </a:cubicBezTo>
                  <a:cubicBezTo>
                    <a:pt x="47" y="57"/>
                    <a:pt x="47" y="57"/>
                    <a:pt x="47" y="57"/>
                  </a:cubicBezTo>
                  <a:cubicBezTo>
                    <a:pt x="52" y="63"/>
                    <a:pt x="62" y="64"/>
                    <a:pt x="68" y="59"/>
                  </a:cubicBezTo>
                  <a:cubicBezTo>
                    <a:pt x="87" y="75"/>
                    <a:pt x="87" y="75"/>
                    <a:pt x="87" y="75"/>
                  </a:cubicBezTo>
                  <a:cubicBezTo>
                    <a:pt x="84" y="79"/>
                    <a:pt x="87" y="85"/>
                    <a:pt x="93" y="85"/>
                  </a:cubicBezTo>
                  <a:cubicBezTo>
                    <a:pt x="97" y="85"/>
                    <a:pt x="100" y="82"/>
                    <a:pt x="100" y="78"/>
                  </a:cubicBezTo>
                  <a:cubicBezTo>
                    <a:pt x="100" y="73"/>
                    <a:pt x="93" y="69"/>
                    <a:pt x="88" y="73"/>
                  </a:cubicBezTo>
                  <a:close/>
                  <a:moveTo>
                    <a:pt x="77" y="18"/>
                  </a:moveTo>
                  <a:cubicBezTo>
                    <a:pt x="77" y="15"/>
                    <a:pt x="80" y="12"/>
                    <a:pt x="83" y="12"/>
                  </a:cubicBezTo>
                  <a:cubicBezTo>
                    <a:pt x="86" y="12"/>
                    <a:pt x="88" y="15"/>
                    <a:pt x="88" y="18"/>
                  </a:cubicBezTo>
                  <a:cubicBezTo>
                    <a:pt x="88" y="21"/>
                    <a:pt x="86" y="23"/>
                    <a:pt x="83" y="23"/>
                  </a:cubicBezTo>
                  <a:cubicBezTo>
                    <a:pt x="80" y="23"/>
                    <a:pt x="77" y="21"/>
                    <a:pt x="77" y="18"/>
                  </a:cubicBezTo>
                  <a:close/>
                  <a:moveTo>
                    <a:pt x="32" y="13"/>
                  </a:moveTo>
                  <a:cubicBezTo>
                    <a:pt x="29" y="13"/>
                    <a:pt x="27" y="10"/>
                    <a:pt x="27" y="7"/>
                  </a:cubicBezTo>
                  <a:cubicBezTo>
                    <a:pt x="27" y="4"/>
                    <a:pt x="29" y="2"/>
                    <a:pt x="32" y="2"/>
                  </a:cubicBezTo>
                  <a:cubicBezTo>
                    <a:pt x="35" y="2"/>
                    <a:pt x="38" y="4"/>
                    <a:pt x="38" y="7"/>
                  </a:cubicBezTo>
                  <a:cubicBezTo>
                    <a:pt x="38" y="10"/>
                    <a:pt x="35" y="13"/>
                    <a:pt x="32" y="13"/>
                  </a:cubicBezTo>
                  <a:close/>
                  <a:moveTo>
                    <a:pt x="7" y="38"/>
                  </a:moveTo>
                  <a:cubicBezTo>
                    <a:pt x="4" y="38"/>
                    <a:pt x="1" y="36"/>
                    <a:pt x="1" y="33"/>
                  </a:cubicBezTo>
                  <a:cubicBezTo>
                    <a:pt x="1" y="30"/>
                    <a:pt x="4" y="27"/>
                    <a:pt x="7" y="27"/>
                  </a:cubicBezTo>
                  <a:cubicBezTo>
                    <a:pt x="10" y="27"/>
                    <a:pt x="12" y="30"/>
                    <a:pt x="12" y="33"/>
                  </a:cubicBezTo>
                  <a:cubicBezTo>
                    <a:pt x="12" y="36"/>
                    <a:pt x="10" y="38"/>
                    <a:pt x="7" y="38"/>
                  </a:cubicBezTo>
                  <a:close/>
                  <a:moveTo>
                    <a:pt x="16" y="83"/>
                  </a:moveTo>
                  <a:cubicBezTo>
                    <a:pt x="13" y="83"/>
                    <a:pt x="11" y="80"/>
                    <a:pt x="11" y="77"/>
                  </a:cubicBezTo>
                  <a:cubicBezTo>
                    <a:pt x="11" y="74"/>
                    <a:pt x="13" y="72"/>
                    <a:pt x="16" y="72"/>
                  </a:cubicBezTo>
                  <a:cubicBezTo>
                    <a:pt x="19" y="72"/>
                    <a:pt x="22" y="74"/>
                    <a:pt x="22" y="77"/>
                  </a:cubicBezTo>
                  <a:cubicBezTo>
                    <a:pt x="22" y="80"/>
                    <a:pt x="19" y="83"/>
                    <a:pt x="16" y="83"/>
                  </a:cubicBezTo>
                  <a:close/>
                  <a:moveTo>
                    <a:pt x="59" y="59"/>
                  </a:moveTo>
                  <a:cubicBezTo>
                    <a:pt x="52" y="59"/>
                    <a:pt x="47" y="54"/>
                    <a:pt x="47" y="47"/>
                  </a:cubicBezTo>
                  <a:cubicBezTo>
                    <a:pt x="47" y="41"/>
                    <a:pt x="52" y="36"/>
                    <a:pt x="59" y="36"/>
                  </a:cubicBezTo>
                  <a:cubicBezTo>
                    <a:pt x="65" y="36"/>
                    <a:pt x="71" y="41"/>
                    <a:pt x="71" y="47"/>
                  </a:cubicBezTo>
                  <a:cubicBezTo>
                    <a:pt x="71" y="54"/>
                    <a:pt x="65" y="59"/>
                    <a:pt x="59" y="59"/>
                  </a:cubicBezTo>
                  <a:close/>
                  <a:moveTo>
                    <a:pt x="93" y="84"/>
                  </a:moveTo>
                  <a:cubicBezTo>
                    <a:pt x="90" y="84"/>
                    <a:pt x="87" y="81"/>
                    <a:pt x="87" y="78"/>
                  </a:cubicBezTo>
                  <a:cubicBezTo>
                    <a:pt x="87" y="75"/>
                    <a:pt x="90" y="73"/>
                    <a:pt x="93" y="73"/>
                  </a:cubicBezTo>
                  <a:cubicBezTo>
                    <a:pt x="96" y="73"/>
                    <a:pt x="98" y="75"/>
                    <a:pt x="98" y="78"/>
                  </a:cubicBezTo>
                  <a:cubicBezTo>
                    <a:pt x="98" y="81"/>
                    <a:pt x="96" y="84"/>
                    <a:pt x="9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5" name="Oval 60836">
              <a:extLst>
                <a:ext uri="{FF2B5EF4-FFF2-40B4-BE49-F238E27FC236}">
                  <a16:creationId xmlns:a16="http://schemas.microsoft.com/office/drawing/2014/main" id="{058B4A9E-7115-4ECB-984F-512ADB31769D}"/>
                </a:ext>
              </a:extLst>
            </p:cNvPr>
            <p:cNvSpPr>
              <a:spLocks noChangeArrowheads="1"/>
            </p:cNvSpPr>
            <p:nvPr/>
          </p:nvSpPr>
          <p:spPr bwMode="auto">
            <a:xfrm>
              <a:off x="1482725" y="-13303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6" name="Oval 60837">
              <a:extLst>
                <a:ext uri="{FF2B5EF4-FFF2-40B4-BE49-F238E27FC236}">
                  <a16:creationId xmlns:a16="http://schemas.microsoft.com/office/drawing/2014/main" id="{456E5C91-DEEF-431F-9427-466EBD202453}"/>
                </a:ext>
              </a:extLst>
            </p:cNvPr>
            <p:cNvSpPr>
              <a:spLocks noChangeArrowheads="1"/>
            </p:cNvSpPr>
            <p:nvPr/>
          </p:nvSpPr>
          <p:spPr bwMode="auto">
            <a:xfrm>
              <a:off x="1198563" y="-1333500"/>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7" name="Oval 60838">
              <a:extLst>
                <a:ext uri="{FF2B5EF4-FFF2-40B4-BE49-F238E27FC236}">
                  <a16:creationId xmlns:a16="http://schemas.microsoft.com/office/drawing/2014/main" id="{9DA856AD-2BF4-42B8-888C-2AA2EB6A854B}"/>
                </a:ext>
              </a:extLst>
            </p:cNvPr>
            <p:cNvSpPr>
              <a:spLocks noChangeArrowheads="1"/>
            </p:cNvSpPr>
            <p:nvPr/>
          </p:nvSpPr>
          <p:spPr bwMode="auto">
            <a:xfrm>
              <a:off x="1160463" y="-15081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8" name="Oval 60839">
              <a:extLst>
                <a:ext uri="{FF2B5EF4-FFF2-40B4-BE49-F238E27FC236}">
                  <a16:creationId xmlns:a16="http://schemas.microsoft.com/office/drawing/2014/main" id="{E9424620-7FA3-4847-89B6-4DAC4E7F08D8}"/>
                </a:ext>
              </a:extLst>
            </p:cNvPr>
            <p:cNvSpPr>
              <a:spLocks noChangeArrowheads="1"/>
            </p:cNvSpPr>
            <p:nvPr/>
          </p:nvSpPr>
          <p:spPr bwMode="auto">
            <a:xfrm>
              <a:off x="1258888" y="-16033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grpSp>
      <p:sp>
        <p:nvSpPr>
          <p:cNvPr id="69" name="Rectangle 68">
            <a:extLst>
              <a:ext uri="{FF2B5EF4-FFF2-40B4-BE49-F238E27FC236}">
                <a16:creationId xmlns:a16="http://schemas.microsoft.com/office/drawing/2014/main" id="{5E0017BF-BCFA-4276-9DB3-D436F8FBC6CF}"/>
              </a:ext>
            </a:extLst>
          </p:cNvPr>
          <p:cNvSpPr/>
          <p:nvPr/>
        </p:nvSpPr>
        <p:spPr>
          <a:xfrm>
            <a:off x="820137" y="3008268"/>
            <a:ext cx="1198418" cy="104871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DBCAD89-3EBD-41C5-88C3-FCF5F4AA1EF8}"/>
              </a:ext>
            </a:extLst>
          </p:cNvPr>
          <p:cNvSpPr/>
          <p:nvPr/>
        </p:nvSpPr>
        <p:spPr>
          <a:xfrm>
            <a:off x="837403" y="2958648"/>
            <a:ext cx="1181152"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Required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budget</a:t>
            </a:r>
          </a:p>
        </p:txBody>
      </p:sp>
      <p:pic>
        <p:nvPicPr>
          <p:cNvPr id="71" name="Picture 70">
            <a:extLst>
              <a:ext uri="{FF2B5EF4-FFF2-40B4-BE49-F238E27FC236}">
                <a16:creationId xmlns:a16="http://schemas.microsoft.com/office/drawing/2014/main" id="{E3C4C210-1727-4B58-B28E-6980255156FB}"/>
              </a:ext>
            </a:extLst>
          </p:cNvPr>
          <p:cNvPicPr>
            <a:picLocks noChangeAspect="1"/>
          </p:cNvPicPr>
          <p:nvPr/>
        </p:nvPicPr>
        <p:blipFill>
          <a:blip r:embed="rId15"/>
          <a:stretch>
            <a:fillRect/>
          </a:stretch>
        </p:blipFill>
        <p:spPr>
          <a:xfrm>
            <a:off x="888185" y="2984734"/>
            <a:ext cx="254144" cy="234923"/>
          </a:xfrm>
          <a:prstGeom prst="rect">
            <a:avLst/>
          </a:prstGeom>
        </p:spPr>
      </p:pic>
      <p:pic>
        <p:nvPicPr>
          <p:cNvPr id="54" name="Picture 53">
            <a:extLst>
              <a:ext uri="{FF2B5EF4-FFF2-40B4-BE49-F238E27FC236}">
                <a16:creationId xmlns:a16="http://schemas.microsoft.com/office/drawing/2014/main" id="{69370E89-4914-44C2-8CFB-09F338E1F4D4}"/>
              </a:ext>
            </a:extLst>
          </p:cNvPr>
          <p:cNvPicPr>
            <a:picLocks noChangeAspect="1"/>
          </p:cNvPicPr>
          <p:nvPr/>
        </p:nvPicPr>
        <p:blipFill>
          <a:blip r:embed="rId16"/>
          <a:stretch>
            <a:fillRect/>
          </a:stretch>
        </p:blipFill>
        <p:spPr>
          <a:xfrm>
            <a:off x="10853731" y="89663"/>
            <a:ext cx="1183415" cy="552971"/>
          </a:xfrm>
          <a:prstGeom prst="rect">
            <a:avLst/>
          </a:prstGeom>
        </p:spPr>
      </p:pic>
      <p:sp>
        <p:nvSpPr>
          <p:cNvPr id="72" name="TextBox 71">
            <a:extLst>
              <a:ext uri="{FF2B5EF4-FFF2-40B4-BE49-F238E27FC236}">
                <a16:creationId xmlns:a16="http://schemas.microsoft.com/office/drawing/2014/main" id="{42FEDE24-EAB7-428E-9894-DD6495AE6604}"/>
              </a:ext>
            </a:extLst>
          </p:cNvPr>
          <p:cNvSpPr txBox="1"/>
          <p:nvPr/>
        </p:nvSpPr>
        <p:spPr>
          <a:xfrm>
            <a:off x="5772111" y="4483694"/>
            <a:ext cx="2195884" cy="2123658"/>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Raft/Blackrock ADC (snowflake): 3 WAVE initiatives for US, EU FO &amp; R, EU implementation</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1662 - Client master and segmentation </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1664 - Create Global product master (single data set) for all product based information [IT Demand] </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Calibri" panose="020F0502020204030204"/>
              </a:rPr>
              <a:t>D</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ata</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integration architecture </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360282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B22B3FF2-3E0F-4602-9D95-ABF4C9939437}"/>
              </a:ext>
            </a:extLst>
          </p:cNvPr>
          <p:cNvSpPr/>
          <p:nvPr/>
        </p:nvSpPr>
        <p:spPr>
          <a:xfrm>
            <a:off x="5879195" y="2989030"/>
            <a:ext cx="5355976" cy="106795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82952029-6BB7-4A31-A512-AF8F0BE6EA6C}"/>
              </a:ext>
            </a:extLst>
          </p:cNvPr>
          <p:cNvSpPr txBox="1"/>
          <p:nvPr/>
        </p:nvSpPr>
        <p:spPr>
          <a:xfrm>
            <a:off x="5880100" y="3289152"/>
            <a:ext cx="5355975"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See also strategic data objective #1 and #2</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Single source of truth per data domain and unified reporting requirements across regions</a:t>
            </a:r>
            <a:endPar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C7ECA67C-9606-45F6-8EC4-9C26F6CE8F3A}"/>
              </a:ext>
            </a:extLst>
          </p:cNvPr>
          <p:cNvSpPr/>
          <p:nvPr/>
        </p:nvSpPr>
        <p:spPr>
          <a:xfrm>
            <a:off x="2152649" y="1516413"/>
            <a:ext cx="3633814" cy="2540576"/>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685B36B4-0BD9-4EAA-AE5E-F97F02DD7BC0}"/>
              </a:ext>
            </a:extLst>
          </p:cNvPr>
          <p:cNvSpPr txBox="1"/>
          <p:nvPr/>
        </p:nvSpPr>
        <p:spPr>
          <a:xfrm>
            <a:off x="2152647" y="1810357"/>
            <a:ext cx="3619503" cy="2292935"/>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Evolve from management by gut feel to data driven decision making by building </a:t>
            </a:r>
            <a:r>
              <a:rPr lang="en-US">
                <a:solidFill>
                  <a:srgbClr val="000000"/>
                </a:solidFill>
                <a:latin typeface="Calibri" panose="020F0502020204030204"/>
              </a:rPr>
              <a:t>global and consistent reporting</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capabilities to derive consistent, structured and high-quality understanding on what happens on daily basis incl. risks and opportunities</a:t>
            </a:r>
          </a:p>
          <a:p>
            <a:pPr>
              <a:defRPr/>
            </a:pPr>
            <a:r>
              <a:rPr lang="nl-NL" noProof="1">
                <a:solidFill>
                  <a:srgbClr val="000000"/>
                </a:solidFill>
              </a:rPr>
              <a:t>Standardize operational reporting on global level to drive the same insights with descriptive analytics while allowing each line of business to customize for their own need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ut operational metrics and key performance indicators in place and use them to drive our strategy on a business line as well as on a global level</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evelop ability to quickly respond to </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RfPs</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based on operational data and reporting being in place</a:t>
            </a:r>
          </a:p>
        </p:txBody>
      </p:sp>
      <p:sp>
        <p:nvSpPr>
          <p:cNvPr id="42" name="Rectangle 41">
            <a:extLst>
              <a:ext uri="{FF2B5EF4-FFF2-40B4-BE49-F238E27FC236}">
                <a16:creationId xmlns:a16="http://schemas.microsoft.com/office/drawing/2014/main" id="{3FFE9F0D-BF89-45BB-A80D-418C611EAB95}"/>
              </a:ext>
            </a:extLst>
          </p:cNvPr>
          <p:cNvSpPr/>
          <p:nvPr/>
        </p:nvSpPr>
        <p:spPr>
          <a:xfrm>
            <a:off x="5879195" y="1516412"/>
            <a:ext cx="5355976" cy="139027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05B8C25-F0DA-4399-B55A-AE66A373AF1E}"/>
              </a:ext>
            </a:extLst>
          </p:cNvPr>
          <p:cNvSpPr/>
          <p:nvPr/>
        </p:nvSpPr>
        <p:spPr>
          <a:xfrm>
            <a:off x="838310" y="1516412"/>
            <a:ext cx="1199976" cy="1338464"/>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9AC5F50E-28EE-4312-88E1-87359E29D14D}"/>
              </a:ext>
            </a:extLst>
          </p:cNvPr>
          <p:cNvSpPr/>
          <p:nvPr/>
        </p:nvSpPr>
        <p:spPr>
          <a:xfrm>
            <a:off x="2600325" y="1059196"/>
            <a:ext cx="8634845"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Global and </a:t>
            </a:r>
            <a:r>
              <a:rPr lang="en-US" sz="1400" b="1" spc="20">
                <a:solidFill>
                  <a:srgbClr val="000000"/>
                </a:solidFill>
                <a:latin typeface="Calibri" panose="020F0502020204030204"/>
                <a:ea typeface="Times New Roman" panose="02020603050405020304" pitchFamily="18" charset="0"/>
                <a:cs typeface="Times New Roman" panose="02020603050405020304" pitchFamily="18" charset="0"/>
              </a:rPr>
              <a:t>consistent</a:t>
            </a: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 reporting for operational management and using data to run the firm by underpinning all decision-making</a:t>
            </a:r>
            <a:endParaRPr kumimoji="0" lang="en-US" sz="1400" b="0"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1423B210-1D67-46E0-9991-131C6CE6300F}"/>
              </a:ext>
            </a:extLst>
          </p:cNvPr>
          <p:cNvSpPr/>
          <p:nvPr/>
        </p:nvSpPr>
        <p:spPr>
          <a:xfrm>
            <a:off x="2152648" y="1516413"/>
            <a:ext cx="3632911"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Description</a:t>
            </a:r>
          </a:p>
        </p:txBody>
      </p:sp>
      <p:sp>
        <p:nvSpPr>
          <p:cNvPr id="11" name="Rectangle 10">
            <a:extLst>
              <a:ext uri="{FF2B5EF4-FFF2-40B4-BE49-F238E27FC236}">
                <a16:creationId xmlns:a16="http://schemas.microsoft.com/office/drawing/2014/main" id="{1BDC89DB-996B-483A-BA4D-19EE9B629B46}"/>
              </a:ext>
            </a:extLst>
          </p:cNvPr>
          <p:cNvSpPr/>
          <p:nvPr/>
        </p:nvSpPr>
        <p:spPr>
          <a:xfrm>
            <a:off x="5880100" y="1516414"/>
            <a:ext cx="5355976" cy="288000"/>
          </a:xfrm>
          <a:prstGeom prst="rect">
            <a:avLst/>
          </a:prstGeom>
          <a:solidFill>
            <a:srgbClr val="2BAEA3"/>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Organizational Requirements</a:t>
            </a:r>
          </a:p>
        </p:txBody>
      </p:sp>
      <p:sp>
        <p:nvSpPr>
          <p:cNvPr id="45" name="Rectangle 44">
            <a:extLst>
              <a:ext uri="{FF2B5EF4-FFF2-40B4-BE49-F238E27FC236}">
                <a16:creationId xmlns:a16="http://schemas.microsoft.com/office/drawing/2014/main" id="{4E215F30-5DD1-44D7-B1FC-142444411C31}"/>
              </a:ext>
            </a:extLst>
          </p:cNvPr>
          <p:cNvSpPr/>
          <p:nvPr/>
        </p:nvSpPr>
        <p:spPr>
          <a:xfrm>
            <a:off x="2916073" y="4174041"/>
            <a:ext cx="2819023" cy="203271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68BE7FBA-7060-4F3A-B244-2006BF0ECDB4}"/>
              </a:ext>
            </a:extLst>
          </p:cNvPr>
          <p:cNvSpPr txBox="1"/>
          <p:nvPr/>
        </p:nvSpPr>
        <p:spPr>
          <a:xfrm>
            <a:off x="2906111" y="4483694"/>
            <a:ext cx="2805834" cy="1954381"/>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100" b="0" i="0" u="none" strike="noStrike" kern="1200" cap="none" spc="0" normalizeH="0" baseline="0" noProof="1">
                <a:ln>
                  <a:noFill/>
                </a:ln>
                <a:solidFill>
                  <a:srgbClr val="000000"/>
                </a:solidFill>
                <a:effectLst/>
                <a:uLnTx/>
                <a:uFillTx/>
                <a:latin typeface="Calibri" panose="020F0502020204030204"/>
                <a:ea typeface="+mn-ea"/>
                <a:cs typeface="+mn-cs"/>
              </a:rPr>
              <a:t>Define global (and business line) KPI’s based on reporting requirements gathered and translate them into use cases to be put on a roadmap for development</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100" b="0" i="0" u="none" strike="noStrike" kern="1200" cap="none" spc="0" normalizeH="0" baseline="0" noProof="1">
                <a:ln>
                  <a:noFill/>
                </a:ln>
                <a:solidFill>
                  <a:srgbClr val="000000"/>
                </a:solidFill>
                <a:effectLst/>
                <a:uLnTx/>
                <a:uFillTx/>
                <a:latin typeface="Calibri" panose="020F0502020204030204"/>
                <a:ea typeface="+mn-ea"/>
                <a:cs typeface="+mn-cs"/>
              </a:rPr>
              <a:t>Define a process for other use cases that can be used for the RfP team</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nl-NL" noProof="1">
                <a:solidFill>
                  <a:srgbClr val="000000"/>
                </a:solidFill>
                <a:latin typeface="Calibri" panose="020F0502020204030204"/>
              </a:rPr>
              <a:t>Define global</a:t>
            </a:r>
            <a:r>
              <a:rPr kumimoji="0" lang="nl-NL" sz="1100" b="0" i="0" u="none" strike="noStrike" kern="1200" cap="none" spc="0" normalizeH="0" baseline="0" noProof="1">
                <a:ln>
                  <a:noFill/>
                </a:ln>
                <a:solidFill>
                  <a:srgbClr val="000000"/>
                </a:solidFill>
                <a:effectLst/>
                <a:uLnTx/>
                <a:uFillTx/>
                <a:latin typeface="Calibri" panose="020F0502020204030204"/>
                <a:ea typeface="+mn-ea"/>
                <a:cs typeface="+mn-cs"/>
              </a:rPr>
              <a:t> reporting processe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nl-NL" noProof="1">
                <a:solidFill>
                  <a:srgbClr val="000000"/>
                </a:solidFill>
                <a:latin typeface="Calibri" panose="020F0502020204030204"/>
              </a:rPr>
              <a:t>Build dashboards for operational reporting</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Measuring success – Financial metrics  </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solidFill>
                  <a:srgbClr val="000000"/>
                </a:solidFill>
                <a:latin typeface="Calibri" panose="020F0502020204030204"/>
              </a:rPr>
              <a:t>Measuring success – Sales metrics</a:t>
            </a:r>
            <a:endParaRPr kumimoji="0" lang="nl-NL" sz="1100" b="0" i="0" u="none" strike="noStrike" kern="1200" cap="none" spc="0" normalizeH="0" baseline="0" noProof="1">
              <a:ln>
                <a:noFill/>
              </a:ln>
              <a:solidFill>
                <a:srgbClr val="000000"/>
              </a:solidFill>
              <a:effectLst/>
              <a:uLnTx/>
              <a:uFillTx/>
              <a:latin typeface="Calibri" panose="020F0502020204030204"/>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nl-NL" sz="1100" b="0" i="0" u="none" strike="noStrike" kern="1200" cap="none" spc="0" normalizeH="0" baseline="0" noProof="1">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D7931A0B-3AFA-4EA6-9C9F-39EBC60F3089}"/>
              </a:ext>
            </a:extLst>
          </p:cNvPr>
          <p:cNvSpPr/>
          <p:nvPr/>
        </p:nvSpPr>
        <p:spPr>
          <a:xfrm>
            <a:off x="2916596" y="4174041"/>
            <a:ext cx="2819023" cy="288000"/>
          </a:xfrm>
          <a:prstGeom prst="rect">
            <a:avLst/>
          </a:prstGeom>
          <a:solidFill>
            <a:schemeClr val="accent3"/>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Key Use Cases</a:t>
            </a:r>
          </a:p>
        </p:txBody>
      </p:sp>
      <p:sp>
        <p:nvSpPr>
          <p:cNvPr id="31" name="Rectangle 30">
            <a:extLst>
              <a:ext uri="{FF2B5EF4-FFF2-40B4-BE49-F238E27FC236}">
                <a16:creationId xmlns:a16="http://schemas.microsoft.com/office/drawing/2014/main" id="{A60197FE-1894-45BD-A453-779621B3CEAA}"/>
              </a:ext>
            </a:extLst>
          </p:cNvPr>
          <p:cNvSpPr/>
          <p:nvPr/>
        </p:nvSpPr>
        <p:spPr>
          <a:xfrm>
            <a:off x="838311" y="1516413"/>
            <a:ext cx="1199975"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Owner (s)</a:t>
            </a:r>
          </a:p>
        </p:txBody>
      </p:sp>
      <p:sp>
        <p:nvSpPr>
          <p:cNvPr id="34" name="TextBox 33">
            <a:extLst>
              <a:ext uri="{FF2B5EF4-FFF2-40B4-BE49-F238E27FC236}">
                <a16:creationId xmlns:a16="http://schemas.microsoft.com/office/drawing/2014/main" id="{7212C24E-EDB2-4549-B3DA-085417606D8B}"/>
              </a:ext>
            </a:extLst>
          </p:cNvPr>
          <p:cNvSpPr txBox="1"/>
          <p:nvPr/>
        </p:nvSpPr>
        <p:spPr>
          <a:xfrm>
            <a:off x="852353" y="1810357"/>
            <a:ext cx="1109797" cy="1107996"/>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rPr>
              <a:t>CDO, COO, Global Reporting team, Global Research </a:t>
            </a:r>
            <a:r>
              <a:rPr kumimoji="0" lang="nl-NL" sz="1100" b="0" i="0" u="none" strike="noStrike" kern="1200" cap="none" spc="0" normalizeH="0" baseline="0" noProof="0" err="1">
                <a:ln>
                  <a:noFill/>
                </a:ln>
                <a:solidFill>
                  <a:srgbClr val="000000"/>
                </a:solidFill>
                <a:effectLst/>
                <a:uLnTx/>
                <a:uFillTx/>
                <a:latin typeface="Calibri" panose="020F0502020204030204"/>
                <a:ea typeface="+mn-ea"/>
                <a:cs typeface="+mn-cs"/>
              </a:rPr>
              <a:t>and</a:t>
            </a:r>
            <a:r>
              <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rPr>
              <a:t> </a:t>
            </a:r>
            <a:r>
              <a:rPr lang="nl-NL">
                <a:solidFill>
                  <a:srgbClr val="000000"/>
                </a:solidFill>
                <a:latin typeface="Calibri" panose="020F0502020204030204"/>
              </a:rPr>
              <a:t>i</a:t>
            </a:r>
            <a:r>
              <a:rPr kumimoji="0" lang="nl-NL" sz="1100" b="0" i="0" u="none" strike="noStrike" kern="1200" cap="none" spc="0" normalizeH="0" baseline="0" noProof="0" err="1">
                <a:ln>
                  <a:noFill/>
                </a:ln>
                <a:solidFill>
                  <a:srgbClr val="000000"/>
                </a:solidFill>
                <a:effectLst/>
                <a:uLnTx/>
                <a:uFillTx/>
                <a:latin typeface="Calibri" panose="020F0502020204030204"/>
                <a:ea typeface="+mn-ea"/>
                <a:cs typeface="+mn-cs"/>
              </a:rPr>
              <a:t>nsight</a:t>
            </a:r>
            <a:r>
              <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rPr>
              <a:t> team </a:t>
            </a:r>
          </a:p>
        </p:txBody>
      </p:sp>
      <p:sp>
        <p:nvSpPr>
          <p:cNvPr id="38" name="Rectangle 37">
            <a:extLst>
              <a:ext uri="{FF2B5EF4-FFF2-40B4-BE49-F238E27FC236}">
                <a16:creationId xmlns:a16="http://schemas.microsoft.com/office/drawing/2014/main" id="{14677884-B84C-4112-B064-71BB47E090D9}"/>
              </a:ext>
            </a:extLst>
          </p:cNvPr>
          <p:cNvSpPr/>
          <p:nvPr/>
        </p:nvSpPr>
        <p:spPr>
          <a:xfrm>
            <a:off x="5880100" y="2989028"/>
            <a:ext cx="5355103" cy="288000"/>
          </a:xfrm>
          <a:prstGeom prst="rect">
            <a:avLst/>
          </a:prstGeom>
          <a:solidFill>
            <a:srgbClr val="FFB15E"/>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Data Foundation Requirements</a:t>
            </a:r>
          </a:p>
        </p:txBody>
      </p:sp>
      <p:sp>
        <p:nvSpPr>
          <p:cNvPr id="32" name="Title 5">
            <a:extLst>
              <a:ext uri="{FF2B5EF4-FFF2-40B4-BE49-F238E27FC236}">
                <a16:creationId xmlns:a16="http://schemas.microsoft.com/office/drawing/2014/main" id="{FA216D96-6C9D-4447-9D4E-C7FC824DD24F}"/>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69B4"/>
                </a:solidFill>
                <a:effectLst/>
                <a:uLnTx/>
                <a:uFillTx/>
                <a:latin typeface="Calibri Light" panose="020F0302020204030204"/>
                <a:ea typeface="+mj-ea"/>
                <a:cs typeface="+mj-cs"/>
              </a:rPr>
              <a:t>Strategic Data Objective 3: </a:t>
            </a:r>
            <a:r>
              <a:rPr kumimoji="0" lang="en-US" sz="2400" b="0" i="0" u="none" strike="noStrike" kern="1200" cap="none" spc="20" normalizeH="0" baseline="0" noProof="0">
                <a:ln>
                  <a:noFill/>
                </a:ln>
                <a:solidFill>
                  <a:srgbClr val="0069B4"/>
                </a:solidFill>
                <a:effectLst/>
                <a:uLnTx/>
                <a:uFillTx/>
                <a:latin typeface="Calibri Light" panose="020F0302020204030204"/>
                <a:ea typeface="Times New Roman" panose="02020603050405020304" pitchFamily="18" charset="0"/>
                <a:cs typeface="Times New Roman" panose="02020603050405020304" pitchFamily="18" charset="0"/>
              </a:rPr>
              <a:t>Global and consistent reporting for operational          management and using data to run the firm by underpinning all decision-making</a:t>
            </a:r>
          </a:p>
        </p:txBody>
      </p:sp>
      <p:sp>
        <p:nvSpPr>
          <p:cNvPr id="29" name="TextBox 28">
            <a:extLst>
              <a:ext uri="{FF2B5EF4-FFF2-40B4-BE49-F238E27FC236}">
                <a16:creationId xmlns:a16="http://schemas.microsoft.com/office/drawing/2014/main" id="{E4DDC895-4533-43A5-B1D9-A626F73E30A3}"/>
              </a:ext>
            </a:extLst>
          </p:cNvPr>
          <p:cNvSpPr txBox="1"/>
          <p:nvPr/>
        </p:nvSpPr>
        <p:spPr>
          <a:xfrm>
            <a:off x="5880099" y="1810357"/>
            <a:ext cx="5313253" cy="938719"/>
          </a:xfrm>
          <a:prstGeom prst="rect">
            <a:avLst/>
          </a:prstGeom>
          <a:noFill/>
          <a:ln>
            <a:noFill/>
          </a:ln>
        </p:spPr>
        <p:txBody>
          <a:bodyPr wrap="square" lIns="0" rIns="0" rtlCol="0" anchor="t" anchorCtr="0">
            <a:spAutoFit/>
          </a:bodyPr>
          <a:lstStyle>
            <a:defPPr>
              <a:defRPr lang="en-US"/>
            </a:defPPr>
            <a:lvl1pPr marL="180975" indent="-180975">
              <a:buFont typeface="Arial" panose="020B0604020202020204" pitchFamily="34" charset="0"/>
              <a:buChar char="•"/>
              <a:defRPr sz="1100"/>
            </a:lvl1pPr>
          </a:lstStyle>
          <a:p>
            <a:pPr marL="266700">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Identify executive sponsorship</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Global reporting process, rhythm and global KPI’s/metric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rovide sufficient training and education to relevant resources to increase Reporting/Dashboarding literacy and awareness level</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085FBE86-E7A2-4E87-A9B0-5C016FDE37E8}"/>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49" name="Graphic 48" descr="Teacher">
            <a:extLst>
              <a:ext uri="{FF2B5EF4-FFF2-40B4-BE49-F238E27FC236}">
                <a16:creationId xmlns:a16="http://schemas.microsoft.com/office/drawing/2014/main" id="{9D25AFB6-D427-44D5-AB06-AFA85EE2045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80319" y="1517100"/>
            <a:ext cx="302899" cy="302899"/>
          </a:xfrm>
          <a:prstGeom prst="rect">
            <a:avLst/>
          </a:prstGeom>
        </p:spPr>
      </p:pic>
      <p:pic>
        <p:nvPicPr>
          <p:cNvPr id="51" name="Graphic 50" descr="User">
            <a:extLst>
              <a:ext uri="{FF2B5EF4-FFF2-40B4-BE49-F238E27FC236}">
                <a16:creationId xmlns:a16="http://schemas.microsoft.com/office/drawing/2014/main" id="{80428B59-E0A7-4DB4-84D7-4747FE039638}"/>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0155" y="1517050"/>
            <a:ext cx="293219" cy="293219"/>
          </a:xfrm>
          <a:prstGeom prst="rect">
            <a:avLst/>
          </a:prstGeom>
        </p:spPr>
      </p:pic>
      <p:pic>
        <p:nvPicPr>
          <p:cNvPr id="56" name="Graphic 55" descr="Venn diagram">
            <a:extLst>
              <a:ext uri="{FF2B5EF4-FFF2-40B4-BE49-F238E27FC236}">
                <a16:creationId xmlns:a16="http://schemas.microsoft.com/office/drawing/2014/main" id="{76B15EF1-54B6-4B6A-B8C6-6DDA513932E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92037" y="1501073"/>
            <a:ext cx="300636" cy="300636"/>
          </a:xfrm>
          <a:prstGeom prst="rect">
            <a:avLst/>
          </a:prstGeom>
        </p:spPr>
      </p:pic>
      <p:pic>
        <p:nvPicPr>
          <p:cNvPr id="57" name="Graphic 56" descr="Document">
            <a:extLst>
              <a:ext uri="{FF2B5EF4-FFF2-40B4-BE49-F238E27FC236}">
                <a16:creationId xmlns:a16="http://schemas.microsoft.com/office/drawing/2014/main" id="{C485186D-011E-46F5-B00E-4F1DF5779C8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938328" y="4164179"/>
            <a:ext cx="280553" cy="280553"/>
          </a:xfrm>
          <a:prstGeom prst="rect">
            <a:avLst/>
          </a:prstGeom>
        </p:spPr>
      </p:pic>
      <p:grpSp>
        <p:nvGrpSpPr>
          <p:cNvPr id="5" name="Group 4">
            <a:extLst>
              <a:ext uri="{FF2B5EF4-FFF2-40B4-BE49-F238E27FC236}">
                <a16:creationId xmlns:a16="http://schemas.microsoft.com/office/drawing/2014/main" id="{17AE80AB-B848-4026-A3B0-2CFF7A063A15}"/>
              </a:ext>
            </a:extLst>
          </p:cNvPr>
          <p:cNvGrpSpPr/>
          <p:nvPr/>
        </p:nvGrpSpPr>
        <p:grpSpPr>
          <a:xfrm>
            <a:off x="8202437" y="4144916"/>
            <a:ext cx="3032762" cy="2061837"/>
            <a:chOff x="8039450" y="4144916"/>
            <a:chExt cx="3195753" cy="2061837"/>
          </a:xfrm>
        </p:grpSpPr>
        <p:sp>
          <p:nvSpPr>
            <p:cNvPr id="48" name="Rectangle 47">
              <a:extLst>
                <a:ext uri="{FF2B5EF4-FFF2-40B4-BE49-F238E27FC236}">
                  <a16:creationId xmlns:a16="http://schemas.microsoft.com/office/drawing/2014/main" id="{62549C25-8B51-48C0-98D4-C1550C8B7ACE}"/>
                </a:ext>
              </a:extLst>
            </p:cNvPr>
            <p:cNvSpPr/>
            <p:nvPr/>
          </p:nvSpPr>
          <p:spPr>
            <a:xfrm>
              <a:off x="8039483" y="4164178"/>
              <a:ext cx="3195687" cy="204257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7524A068-07F3-47C8-8FB5-87E1559D7A3A}"/>
                </a:ext>
              </a:extLst>
            </p:cNvPr>
            <p:cNvSpPr/>
            <p:nvPr/>
          </p:nvSpPr>
          <p:spPr>
            <a:xfrm>
              <a:off x="8040388" y="4174041"/>
              <a:ext cx="3194815"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Estimated effort &amp; resources</a:t>
              </a:r>
            </a:p>
          </p:txBody>
        </p:sp>
        <p:sp>
          <p:nvSpPr>
            <p:cNvPr id="30" name="TextBox 29">
              <a:extLst>
                <a:ext uri="{FF2B5EF4-FFF2-40B4-BE49-F238E27FC236}">
                  <a16:creationId xmlns:a16="http://schemas.microsoft.com/office/drawing/2014/main" id="{F389E858-A470-4C96-B7C1-907C5AF62127}"/>
                </a:ext>
              </a:extLst>
            </p:cNvPr>
            <p:cNvSpPr txBox="1"/>
            <p:nvPr/>
          </p:nvSpPr>
          <p:spPr>
            <a:xfrm>
              <a:off x="8039450" y="4483694"/>
              <a:ext cx="3195688" cy="600164"/>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Populate after specifying use case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8" name="Graphic 57" descr="Boardroom">
              <a:extLst>
                <a:ext uri="{FF2B5EF4-FFF2-40B4-BE49-F238E27FC236}">
                  <a16:creationId xmlns:a16="http://schemas.microsoft.com/office/drawing/2014/main" id="{4E5C24BB-C906-4540-B069-A513F7BFA18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081421" y="4144916"/>
              <a:ext cx="319079" cy="319079"/>
            </a:xfrm>
            <a:prstGeom prst="rect">
              <a:avLst/>
            </a:prstGeom>
          </p:spPr>
        </p:pic>
      </p:grpSp>
      <p:cxnSp>
        <p:nvCxnSpPr>
          <p:cNvPr id="13" name="Straight Connector 12">
            <a:extLst>
              <a:ext uri="{FF2B5EF4-FFF2-40B4-BE49-F238E27FC236}">
                <a16:creationId xmlns:a16="http://schemas.microsoft.com/office/drawing/2014/main" id="{9DC6A804-7D66-4F30-AF44-BE367FD9E059}"/>
              </a:ext>
            </a:extLst>
          </p:cNvPr>
          <p:cNvCxnSpPr>
            <a:cxnSpLocks/>
          </p:cNvCxnSpPr>
          <p:nvPr/>
        </p:nvCxnSpPr>
        <p:spPr>
          <a:xfrm>
            <a:off x="820155" y="1368785"/>
            <a:ext cx="10363672"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0" name="Flowchart: Manual Input 59">
            <a:extLst>
              <a:ext uri="{FF2B5EF4-FFF2-40B4-BE49-F238E27FC236}">
                <a16:creationId xmlns:a16="http://schemas.microsoft.com/office/drawing/2014/main" id="{3D42F83C-DCF0-48E4-BF7A-909020AF5DFC}"/>
              </a:ext>
            </a:extLst>
          </p:cNvPr>
          <p:cNvSpPr/>
          <p:nvPr/>
        </p:nvSpPr>
        <p:spPr>
          <a:xfrm>
            <a:off x="820154" y="1039956"/>
            <a:ext cx="1780171"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3</a:t>
            </a:r>
          </a:p>
        </p:txBody>
      </p:sp>
      <p:grpSp>
        <p:nvGrpSpPr>
          <p:cNvPr id="61" name="Group 60">
            <a:extLst>
              <a:ext uri="{FF2B5EF4-FFF2-40B4-BE49-F238E27FC236}">
                <a16:creationId xmlns:a16="http://schemas.microsoft.com/office/drawing/2014/main" id="{78EB94CD-1095-4126-8716-A89389A65961}"/>
              </a:ext>
            </a:extLst>
          </p:cNvPr>
          <p:cNvGrpSpPr/>
          <p:nvPr/>
        </p:nvGrpSpPr>
        <p:grpSpPr>
          <a:xfrm>
            <a:off x="7292037" y="3024421"/>
            <a:ext cx="209550" cy="183264"/>
            <a:chOff x="1149350" y="-1619250"/>
            <a:chExt cx="374650" cy="328613"/>
          </a:xfrm>
          <a:solidFill>
            <a:schemeClr val="bg1"/>
          </a:solidFill>
        </p:grpSpPr>
        <p:sp>
          <p:nvSpPr>
            <p:cNvPr id="62" name="Oval 60833">
              <a:extLst>
                <a:ext uri="{FF2B5EF4-FFF2-40B4-BE49-F238E27FC236}">
                  <a16:creationId xmlns:a16="http://schemas.microsoft.com/office/drawing/2014/main" id="{D04E19AF-9A16-44B1-A4E8-6017A76F5522}"/>
                </a:ext>
              </a:extLst>
            </p:cNvPr>
            <p:cNvSpPr>
              <a:spLocks noChangeArrowheads="1"/>
            </p:cNvSpPr>
            <p:nvPr/>
          </p:nvSpPr>
          <p:spPr bwMode="auto">
            <a:xfrm>
              <a:off x="1341438" y="-1465263"/>
              <a:ext cx="58738" cy="58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3" name="Oval 60834">
              <a:extLst>
                <a:ext uri="{FF2B5EF4-FFF2-40B4-BE49-F238E27FC236}">
                  <a16:creationId xmlns:a16="http://schemas.microsoft.com/office/drawing/2014/main" id="{3234EBD3-82C5-49B0-97CA-2E8B61B77BC5}"/>
                </a:ext>
              </a:extLst>
            </p:cNvPr>
            <p:cNvSpPr>
              <a:spLocks noChangeArrowheads="1"/>
            </p:cNvSpPr>
            <p:nvPr/>
          </p:nvSpPr>
          <p:spPr bwMode="auto">
            <a:xfrm>
              <a:off x="1446213" y="-15652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4" name="Freeform 60835">
              <a:extLst>
                <a:ext uri="{FF2B5EF4-FFF2-40B4-BE49-F238E27FC236}">
                  <a16:creationId xmlns:a16="http://schemas.microsoft.com/office/drawing/2014/main" id="{7F24F43C-B9BC-42F3-9C64-45BE05479B71}"/>
                </a:ext>
              </a:extLst>
            </p:cNvPr>
            <p:cNvSpPr>
              <a:spLocks noEditPoints="1"/>
            </p:cNvSpPr>
            <p:nvPr/>
          </p:nvSpPr>
          <p:spPr bwMode="auto">
            <a:xfrm>
              <a:off x="1149350" y="-1619250"/>
              <a:ext cx="374650" cy="328613"/>
            </a:xfrm>
            <a:custGeom>
              <a:avLst/>
              <a:gdLst>
                <a:gd name="T0" fmla="*/ 70 w 100"/>
                <a:gd name="T1" fmla="*/ 57 h 85"/>
                <a:gd name="T2" fmla="*/ 79 w 100"/>
                <a:gd name="T3" fmla="*/ 24 h 85"/>
                <a:gd name="T4" fmla="*/ 83 w 100"/>
                <a:gd name="T5" fmla="*/ 11 h 85"/>
                <a:gd name="T6" fmla="*/ 67 w 100"/>
                <a:gd name="T7" fmla="*/ 35 h 85"/>
                <a:gd name="T8" fmla="*/ 37 w 100"/>
                <a:gd name="T9" fmla="*/ 12 h 85"/>
                <a:gd name="T10" fmla="*/ 32 w 100"/>
                <a:gd name="T11" fmla="*/ 0 h 85"/>
                <a:gd name="T12" fmla="*/ 35 w 100"/>
                <a:gd name="T13" fmla="*/ 14 h 85"/>
                <a:gd name="T14" fmla="*/ 44 w 100"/>
                <a:gd name="T15" fmla="*/ 43 h 85"/>
                <a:gd name="T16" fmla="*/ 7 w 100"/>
                <a:gd name="T17" fmla="*/ 26 h 85"/>
                <a:gd name="T18" fmla="*/ 7 w 100"/>
                <a:gd name="T19" fmla="*/ 40 h 85"/>
                <a:gd name="T20" fmla="*/ 44 w 100"/>
                <a:gd name="T21" fmla="*/ 45 h 85"/>
                <a:gd name="T22" fmla="*/ 22 w 100"/>
                <a:gd name="T23" fmla="*/ 73 h 85"/>
                <a:gd name="T24" fmla="*/ 9 w 100"/>
                <a:gd name="T25" fmla="*/ 77 h 85"/>
                <a:gd name="T26" fmla="*/ 23 w 100"/>
                <a:gd name="T27" fmla="*/ 75 h 85"/>
                <a:gd name="T28" fmla="*/ 47 w 100"/>
                <a:gd name="T29" fmla="*/ 57 h 85"/>
                <a:gd name="T30" fmla="*/ 87 w 100"/>
                <a:gd name="T31" fmla="*/ 75 h 85"/>
                <a:gd name="T32" fmla="*/ 100 w 100"/>
                <a:gd name="T33" fmla="*/ 78 h 85"/>
                <a:gd name="T34" fmla="*/ 77 w 100"/>
                <a:gd name="T35" fmla="*/ 18 h 85"/>
                <a:gd name="T36" fmla="*/ 88 w 100"/>
                <a:gd name="T37" fmla="*/ 18 h 85"/>
                <a:gd name="T38" fmla="*/ 77 w 100"/>
                <a:gd name="T39" fmla="*/ 18 h 85"/>
                <a:gd name="T40" fmla="*/ 27 w 100"/>
                <a:gd name="T41" fmla="*/ 7 h 85"/>
                <a:gd name="T42" fmla="*/ 38 w 100"/>
                <a:gd name="T43" fmla="*/ 7 h 85"/>
                <a:gd name="T44" fmla="*/ 7 w 100"/>
                <a:gd name="T45" fmla="*/ 38 h 85"/>
                <a:gd name="T46" fmla="*/ 7 w 100"/>
                <a:gd name="T47" fmla="*/ 27 h 85"/>
                <a:gd name="T48" fmla="*/ 7 w 100"/>
                <a:gd name="T49" fmla="*/ 38 h 85"/>
                <a:gd name="T50" fmla="*/ 11 w 100"/>
                <a:gd name="T51" fmla="*/ 77 h 85"/>
                <a:gd name="T52" fmla="*/ 22 w 100"/>
                <a:gd name="T53" fmla="*/ 77 h 85"/>
                <a:gd name="T54" fmla="*/ 59 w 100"/>
                <a:gd name="T55" fmla="*/ 59 h 85"/>
                <a:gd name="T56" fmla="*/ 59 w 100"/>
                <a:gd name="T57" fmla="*/ 36 h 85"/>
                <a:gd name="T58" fmla="*/ 59 w 100"/>
                <a:gd name="T59" fmla="*/ 59 h 85"/>
                <a:gd name="T60" fmla="*/ 87 w 100"/>
                <a:gd name="T61" fmla="*/ 78 h 85"/>
                <a:gd name="T62" fmla="*/ 98 w 100"/>
                <a:gd name="T63"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 h="85">
                  <a:moveTo>
                    <a:pt x="88" y="73"/>
                  </a:moveTo>
                  <a:cubicBezTo>
                    <a:pt x="70" y="57"/>
                    <a:pt x="70" y="57"/>
                    <a:pt x="70" y="57"/>
                  </a:cubicBezTo>
                  <a:cubicBezTo>
                    <a:pt x="76" y="51"/>
                    <a:pt x="75" y="42"/>
                    <a:pt x="69" y="36"/>
                  </a:cubicBezTo>
                  <a:cubicBezTo>
                    <a:pt x="79" y="24"/>
                    <a:pt x="79" y="24"/>
                    <a:pt x="79" y="24"/>
                  </a:cubicBezTo>
                  <a:cubicBezTo>
                    <a:pt x="84" y="26"/>
                    <a:pt x="90" y="23"/>
                    <a:pt x="90" y="18"/>
                  </a:cubicBezTo>
                  <a:cubicBezTo>
                    <a:pt x="90" y="14"/>
                    <a:pt x="86" y="11"/>
                    <a:pt x="83" y="11"/>
                  </a:cubicBezTo>
                  <a:cubicBezTo>
                    <a:pt x="77" y="11"/>
                    <a:pt x="73" y="18"/>
                    <a:pt x="77" y="22"/>
                  </a:cubicBezTo>
                  <a:cubicBezTo>
                    <a:pt x="67" y="35"/>
                    <a:pt x="67" y="35"/>
                    <a:pt x="67" y="35"/>
                  </a:cubicBezTo>
                  <a:cubicBezTo>
                    <a:pt x="62" y="32"/>
                    <a:pt x="56" y="31"/>
                    <a:pt x="52" y="34"/>
                  </a:cubicBezTo>
                  <a:cubicBezTo>
                    <a:pt x="37" y="12"/>
                    <a:pt x="37" y="12"/>
                    <a:pt x="37" y="12"/>
                  </a:cubicBezTo>
                  <a:cubicBezTo>
                    <a:pt x="39" y="11"/>
                    <a:pt x="39" y="9"/>
                    <a:pt x="39" y="7"/>
                  </a:cubicBezTo>
                  <a:cubicBezTo>
                    <a:pt x="39" y="3"/>
                    <a:pt x="36" y="0"/>
                    <a:pt x="32" y="0"/>
                  </a:cubicBezTo>
                  <a:cubicBezTo>
                    <a:pt x="29" y="0"/>
                    <a:pt x="25" y="3"/>
                    <a:pt x="25" y="7"/>
                  </a:cubicBezTo>
                  <a:cubicBezTo>
                    <a:pt x="25" y="12"/>
                    <a:pt x="31" y="16"/>
                    <a:pt x="35" y="14"/>
                  </a:cubicBezTo>
                  <a:cubicBezTo>
                    <a:pt x="49" y="35"/>
                    <a:pt x="49" y="35"/>
                    <a:pt x="49" y="35"/>
                  </a:cubicBezTo>
                  <a:cubicBezTo>
                    <a:pt x="47" y="37"/>
                    <a:pt x="45" y="40"/>
                    <a:pt x="44" y="43"/>
                  </a:cubicBezTo>
                  <a:cubicBezTo>
                    <a:pt x="14" y="34"/>
                    <a:pt x="14" y="34"/>
                    <a:pt x="14" y="34"/>
                  </a:cubicBezTo>
                  <a:cubicBezTo>
                    <a:pt x="14" y="30"/>
                    <a:pt x="11" y="26"/>
                    <a:pt x="7" y="26"/>
                  </a:cubicBezTo>
                  <a:cubicBezTo>
                    <a:pt x="3" y="26"/>
                    <a:pt x="0" y="29"/>
                    <a:pt x="0" y="33"/>
                  </a:cubicBezTo>
                  <a:cubicBezTo>
                    <a:pt x="0" y="37"/>
                    <a:pt x="3" y="40"/>
                    <a:pt x="7" y="40"/>
                  </a:cubicBezTo>
                  <a:cubicBezTo>
                    <a:pt x="9" y="40"/>
                    <a:pt x="12" y="38"/>
                    <a:pt x="13" y="36"/>
                  </a:cubicBezTo>
                  <a:cubicBezTo>
                    <a:pt x="44" y="45"/>
                    <a:pt x="44" y="45"/>
                    <a:pt x="44" y="45"/>
                  </a:cubicBezTo>
                  <a:cubicBezTo>
                    <a:pt x="43" y="49"/>
                    <a:pt x="44" y="53"/>
                    <a:pt x="46" y="56"/>
                  </a:cubicBezTo>
                  <a:cubicBezTo>
                    <a:pt x="22" y="73"/>
                    <a:pt x="22" y="73"/>
                    <a:pt x="22" y="73"/>
                  </a:cubicBezTo>
                  <a:cubicBezTo>
                    <a:pt x="20" y="71"/>
                    <a:pt x="18" y="70"/>
                    <a:pt x="16" y="70"/>
                  </a:cubicBezTo>
                  <a:cubicBezTo>
                    <a:pt x="13" y="70"/>
                    <a:pt x="9" y="73"/>
                    <a:pt x="9" y="77"/>
                  </a:cubicBezTo>
                  <a:cubicBezTo>
                    <a:pt x="9" y="81"/>
                    <a:pt x="13" y="84"/>
                    <a:pt x="16" y="84"/>
                  </a:cubicBezTo>
                  <a:cubicBezTo>
                    <a:pt x="21" y="84"/>
                    <a:pt x="25" y="79"/>
                    <a:pt x="23" y="75"/>
                  </a:cubicBezTo>
                  <a:cubicBezTo>
                    <a:pt x="48" y="58"/>
                    <a:pt x="48" y="58"/>
                    <a:pt x="48" y="58"/>
                  </a:cubicBezTo>
                  <a:cubicBezTo>
                    <a:pt x="47" y="57"/>
                    <a:pt x="47" y="57"/>
                    <a:pt x="47" y="57"/>
                  </a:cubicBezTo>
                  <a:cubicBezTo>
                    <a:pt x="52" y="63"/>
                    <a:pt x="62" y="64"/>
                    <a:pt x="68" y="59"/>
                  </a:cubicBezTo>
                  <a:cubicBezTo>
                    <a:pt x="87" y="75"/>
                    <a:pt x="87" y="75"/>
                    <a:pt x="87" y="75"/>
                  </a:cubicBezTo>
                  <a:cubicBezTo>
                    <a:pt x="84" y="79"/>
                    <a:pt x="87" y="85"/>
                    <a:pt x="93" y="85"/>
                  </a:cubicBezTo>
                  <a:cubicBezTo>
                    <a:pt x="97" y="85"/>
                    <a:pt x="100" y="82"/>
                    <a:pt x="100" y="78"/>
                  </a:cubicBezTo>
                  <a:cubicBezTo>
                    <a:pt x="100" y="73"/>
                    <a:pt x="93" y="69"/>
                    <a:pt x="88" y="73"/>
                  </a:cubicBezTo>
                  <a:close/>
                  <a:moveTo>
                    <a:pt x="77" y="18"/>
                  </a:moveTo>
                  <a:cubicBezTo>
                    <a:pt x="77" y="15"/>
                    <a:pt x="80" y="12"/>
                    <a:pt x="83" y="12"/>
                  </a:cubicBezTo>
                  <a:cubicBezTo>
                    <a:pt x="86" y="12"/>
                    <a:pt x="88" y="15"/>
                    <a:pt x="88" y="18"/>
                  </a:cubicBezTo>
                  <a:cubicBezTo>
                    <a:pt x="88" y="21"/>
                    <a:pt x="86" y="23"/>
                    <a:pt x="83" y="23"/>
                  </a:cubicBezTo>
                  <a:cubicBezTo>
                    <a:pt x="80" y="23"/>
                    <a:pt x="77" y="21"/>
                    <a:pt x="77" y="18"/>
                  </a:cubicBezTo>
                  <a:close/>
                  <a:moveTo>
                    <a:pt x="32" y="13"/>
                  </a:moveTo>
                  <a:cubicBezTo>
                    <a:pt x="29" y="13"/>
                    <a:pt x="27" y="10"/>
                    <a:pt x="27" y="7"/>
                  </a:cubicBezTo>
                  <a:cubicBezTo>
                    <a:pt x="27" y="4"/>
                    <a:pt x="29" y="2"/>
                    <a:pt x="32" y="2"/>
                  </a:cubicBezTo>
                  <a:cubicBezTo>
                    <a:pt x="35" y="2"/>
                    <a:pt x="38" y="4"/>
                    <a:pt x="38" y="7"/>
                  </a:cubicBezTo>
                  <a:cubicBezTo>
                    <a:pt x="38" y="10"/>
                    <a:pt x="35" y="13"/>
                    <a:pt x="32" y="13"/>
                  </a:cubicBezTo>
                  <a:close/>
                  <a:moveTo>
                    <a:pt x="7" y="38"/>
                  </a:moveTo>
                  <a:cubicBezTo>
                    <a:pt x="4" y="38"/>
                    <a:pt x="1" y="36"/>
                    <a:pt x="1" y="33"/>
                  </a:cubicBezTo>
                  <a:cubicBezTo>
                    <a:pt x="1" y="30"/>
                    <a:pt x="4" y="27"/>
                    <a:pt x="7" y="27"/>
                  </a:cubicBezTo>
                  <a:cubicBezTo>
                    <a:pt x="10" y="27"/>
                    <a:pt x="12" y="30"/>
                    <a:pt x="12" y="33"/>
                  </a:cubicBezTo>
                  <a:cubicBezTo>
                    <a:pt x="12" y="36"/>
                    <a:pt x="10" y="38"/>
                    <a:pt x="7" y="38"/>
                  </a:cubicBezTo>
                  <a:close/>
                  <a:moveTo>
                    <a:pt x="16" y="83"/>
                  </a:moveTo>
                  <a:cubicBezTo>
                    <a:pt x="13" y="83"/>
                    <a:pt x="11" y="80"/>
                    <a:pt x="11" y="77"/>
                  </a:cubicBezTo>
                  <a:cubicBezTo>
                    <a:pt x="11" y="74"/>
                    <a:pt x="13" y="72"/>
                    <a:pt x="16" y="72"/>
                  </a:cubicBezTo>
                  <a:cubicBezTo>
                    <a:pt x="19" y="72"/>
                    <a:pt x="22" y="74"/>
                    <a:pt x="22" y="77"/>
                  </a:cubicBezTo>
                  <a:cubicBezTo>
                    <a:pt x="22" y="80"/>
                    <a:pt x="19" y="83"/>
                    <a:pt x="16" y="83"/>
                  </a:cubicBezTo>
                  <a:close/>
                  <a:moveTo>
                    <a:pt x="59" y="59"/>
                  </a:moveTo>
                  <a:cubicBezTo>
                    <a:pt x="52" y="59"/>
                    <a:pt x="47" y="54"/>
                    <a:pt x="47" y="47"/>
                  </a:cubicBezTo>
                  <a:cubicBezTo>
                    <a:pt x="47" y="41"/>
                    <a:pt x="52" y="36"/>
                    <a:pt x="59" y="36"/>
                  </a:cubicBezTo>
                  <a:cubicBezTo>
                    <a:pt x="65" y="36"/>
                    <a:pt x="71" y="41"/>
                    <a:pt x="71" y="47"/>
                  </a:cubicBezTo>
                  <a:cubicBezTo>
                    <a:pt x="71" y="54"/>
                    <a:pt x="65" y="59"/>
                    <a:pt x="59" y="59"/>
                  </a:cubicBezTo>
                  <a:close/>
                  <a:moveTo>
                    <a:pt x="93" y="84"/>
                  </a:moveTo>
                  <a:cubicBezTo>
                    <a:pt x="90" y="84"/>
                    <a:pt x="87" y="81"/>
                    <a:pt x="87" y="78"/>
                  </a:cubicBezTo>
                  <a:cubicBezTo>
                    <a:pt x="87" y="75"/>
                    <a:pt x="90" y="73"/>
                    <a:pt x="93" y="73"/>
                  </a:cubicBezTo>
                  <a:cubicBezTo>
                    <a:pt x="96" y="73"/>
                    <a:pt x="98" y="75"/>
                    <a:pt x="98" y="78"/>
                  </a:cubicBezTo>
                  <a:cubicBezTo>
                    <a:pt x="98" y="81"/>
                    <a:pt x="96" y="84"/>
                    <a:pt x="9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5" name="Oval 60836">
              <a:extLst>
                <a:ext uri="{FF2B5EF4-FFF2-40B4-BE49-F238E27FC236}">
                  <a16:creationId xmlns:a16="http://schemas.microsoft.com/office/drawing/2014/main" id="{058B4A9E-7115-4ECB-984F-512ADB31769D}"/>
                </a:ext>
              </a:extLst>
            </p:cNvPr>
            <p:cNvSpPr>
              <a:spLocks noChangeArrowheads="1"/>
            </p:cNvSpPr>
            <p:nvPr/>
          </p:nvSpPr>
          <p:spPr bwMode="auto">
            <a:xfrm>
              <a:off x="1482725" y="-13303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6" name="Oval 60837">
              <a:extLst>
                <a:ext uri="{FF2B5EF4-FFF2-40B4-BE49-F238E27FC236}">
                  <a16:creationId xmlns:a16="http://schemas.microsoft.com/office/drawing/2014/main" id="{456E5C91-DEEF-431F-9427-466EBD202453}"/>
                </a:ext>
              </a:extLst>
            </p:cNvPr>
            <p:cNvSpPr>
              <a:spLocks noChangeArrowheads="1"/>
            </p:cNvSpPr>
            <p:nvPr/>
          </p:nvSpPr>
          <p:spPr bwMode="auto">
            <a:xfrm>
              <a:off x="1198563" y="-1333500"/>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7" name="Oval 60838">
              <a:extLst>
                <a:ext uri="{FF2B5EF4-FFF2-40B4-BE49-F238E27FC236}">
                  <a16:creationId xmlns:a16="http://schemas.microsoft.com/office/drawing/2014/main" id="{9DA856AD-2BF4-42B8-888C-2AA2EB6A854B}"/>
                </a:ext>
              </a:extLst>
            </p:cNvPr>
            <p:cNvSpPr>
              <a:spLocks noChangeArrowheads="1"/>
            </p:cNvSpPr>
            <p:nvPr/>
          </p:nvSpPr>
          <p:spPr bwMode="auto">
            <a:xfrm>
              <a:off x="1160463" y="-15081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8" name="Oval 60839">
              <a:extLst>
                <a:ext uri="{FF2B5EF4-FFF2-40B4-BE49-F238E27FC236}">
                  <a16:creationId xmlns:a16="http://schemas.microsoft.com/office/drawing/2014/main" id="{E9424620-7FA3-4847-89B6-4DAC4E7F08D8}"/>
                </a:ext>
              </a:extLst>
            </p:cNvPr>
            <p:cNvSpPr>
              <a:spLocks noChangeArrowheads="1"/>
            </p:cNvSpPr>
            <p:nvPr/>
          </p:nvSpPr>
          <p:spPr bwMode="auto">
            <a:xfrm>
              <a:off x="1258888" y="-16033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grpSp>
      <p:sp>
        <p:nvSpPr>
          <p:cNvPr id="69" name="Rectangle 68">
            <a:extLst>
              <a:ext uri="{FF2B5EF4-FFF2-40B4-BE49-F238E27FC236}">
                <a16:creationId xmlns:a16="http://schemas.microsoft.com/office/drawing/2014/main" id="{5E0017BF-BCFA-4276-9DB3-D436F8FBC6CF}"/>
              </a:ext>
            </a:extLst>
          </p:cNvPr>
          <p:cNvSpPr/>
          <p:nvPr/>
        </p:nvSpPr>
        <p:spPr>
          <a:xfrm>
            <a:off x="820137" y="3008268"/>
            <a:ext cx="1198418" cy="104871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DBCAD89-3EBD-41C5-88C3-FCF5F4AA1EF8}"/>
              </a:ext>
            </a:extLst>
          </p:cNvPr>
          <p:cNvSpPr/>
          <p:nvPr/>
        </p:nvSpPr>
        <p:spPr>
          <a:xfrm>
            <a:off x="837403" y="2958648"/>
            <a:ext cx="1181152"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Required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budget</a:t>
            </a:r>
          </a:p>
        </p:txBody>
      </p:sp>
      <p:pic>
        <p:nvPicPr>
          <p:cNvPr id="71" name="Picture 70">
            <a:extLst>
              <a:ext uri="{FF2B5EF4-FFF2-40B4-BE49-F238E27FC236}">
                <a16:creationId xmlns:a16="http://schemas.microsoft.com/office/drawing/2014/main" id="{E3C4C210-1727-4B58-B28E-6980255156FB}"/>
              </a:ext>
            </a:extLst>
          </p:cNvPr>
          <p:cNvPicPr>
            <a:picLocks noChangeAspect="1"/>
          </p:cNvPicPr>
          <p:nvPr/>
        </p:nvPicPr>
        <p:blipFill>
          <a:blip r:embed="rId13"/>
          <a:stretch>
            <a:fillRect/>
          </a:stretch>
        </p:blipFill>
        <p:spPr>
          <a:xfrm>
            <a:off x="888185" y="2984734"/>
            <a:ext cx="254144" cy="234923"/>
          </a:xfrm>
          <a:prstGeom prst="rect">
            <a:avLst/>
          </a:prstGeom>
        </p:spPr>
      </p:pic>
      <p:pic>
        <p:nvPicPr>
          <p:cNvPr id="54" name="Picture 53">
            <a:extLst>
              <a:ext uri="{FF2B5EF4-FFF2-40B4-BE49-F238E27FC236}">
                <a16:creationId xmlns:a16="http://schemas.microsoft.com/office/drawing/2014/main" id="{69370E89-4914-44C2-8CFB-09F338E1F4D4}"/>
              </a:ext>
            </a:extLst>
          </p:cNvPr>
          <p:cNvPicPr>
            <a:picLocks noChangeAspect="1"/>
          </p:cNvPicPr>
          <p:nvPr/>
        </p:nvPicPr>
        <p:blipFill>
          <a:blip r:embed="rId14"/>
          <a:stretch>
            <a:fillRect/>
          </a:stretch>
        </p:blipFill>
        <p:spPr>
          <a:xfrm>
            <a:off x="10853731" y="89663"/>
            <a:ext cx="1183415" cy="552971"/>
          </a:xfrm>
          <a:prstGeom prst="rect">
            <a:avLst/>
          </a:prstGeom>
        </p:spPr>
      </p:pic>
      <p:grpSp>
        <p:nvGrpSpPr>
          <p:cNvPr id="7" name="Group 6">
            <a:extLst>
              <a:ext uri="{FF2B5EF4-FFF2-40B4-BE49-F238E27FC236}">
                <a16:creationId xmlns:a16="http://schemas.microsoft.com/office/drawing/2014/main" id="{E887858D-65D9-4D9D-957D-5FD3900B82C2}"/>
              </a:ext>
            </a:extLst>
          </p:cNvPr>
          <p:cNvGrpSpPr/>
          <p:nvPr/>
        </p:nvGrpSpPr>
        <p:grpSpPr>
          <a:xfrm>
            <a:off x="5772108" y="4174041"/>
            <a:ext cx="2389326" cy="2602588"/>
            <a:chOff x="5772111" y="4174041"/>
            <a:chExt cx="2195889" cy="2602588"/>
          </a:xfrm>
        </p:grpSpPr>
        <p:sp>
          <p:nvSpPr>
            <p:cNvPr id="46" name="Rectangle 45">
              <a:extLst>
                <a:ext uri="{FF2B5EF4-FFF2-40B4-BE49-F238E27FC236}">
                  <a16:creationId xmlns:a16="http://schemas.microsoft.com/office/drawing/2014/main" id="{738D352E-85BD-482E-B423-E049F1140936}"/>
                </a:ext>
              </a:extLst>
            </p:cNvPr>
            <p:cNvSpPr/>
            <p:nvPr/>
          </p:nvSpPr>
          <p:spPr>
            <a:xfrm>
              <a:off x="5779719" y="4277174"/>
              <a:ext cx="2188276" cy="192957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AF466AE7-8D20-4536-B357-4FA03FB5853C}"/>
                </a:ext>
              </a:extLst>
            </p:cNvPr>
            <p:cNvSpPr/>
            <p:nvPr/>
          </p:nvSpPr>
          <p:spPr>
            <a:xfrm>
              <a:off x="5772150" y="4174041"/>
              <a:ext cx="2195850"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Timing &amp; Dependencies</a:t>
              </a:r>
            </a:p>
          </p:txBody>
        </p:sp>
        <p:pic>
          <p:nvPicPr>
            <p:cNvPr id="59" name="Graphic 58" descr="Hourglass">
              <a:extLst>
                <a:ext uri="{FF2B5EF4-FFF2-40B4-BE49-F238E27FC236}">
                  <a16:creationId xmlns:a16="http://schemas.microsoft.com/office/drawing/2014/main" id="{119FE742-24AE-445A-BF6D-E83A663F2977}"/>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785549" y="4204173"/>
              <a:ext cx="231819" cy="200564"/>
            </a:xfrm>
            <a:prstGeom prst="rect">
              <a:avLst/>
            </a:prstGeom>
          </p:spPr>
        </p:pic>
        <p:sp>
          <p:nvSpPr>
            <p:cNvPr id="72" name="TextBox 71">
              <a:extLst>
                <a:ext uri="{FF2B5EF4-FFF2-40B4-BE49-F238E27FC236}">
                  <a16:creationId xmlns:a16="http://schemas.microsoft.com/office/drawing/2014/main" id="{42FEDE24-EAB7-428E-9894-DD6495AE6604}"/>
                </a:ext>
              </a:extLst>
            </p:cNvPr>
            <p:cNvSpPr txBox="1"/>
            <p:nvPr/>
          </p:nvSpPr>
          <p:spPr>
            <a:xfrm>
              <a:off x="5772111" y="4483694"/>
              <a:ext cx="2195884" cy="2292935"/>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Calibri" panose="020F0502020204030204"/>
                </a:rPr>
                <a:t>G</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lobal scheduling capabilities </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Streamlining data sources for closing process </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Calibri" panose="020F0502020204030204"/>
                </a:rPr>
                <a:t>E</a:t>
              </a:r>
              <a:r>
                <a:rPr kumimoji="0" lang="en-US" sz="1100" b="0" i="0" u="none" strike="noStrike" kern="1200" cap="none" spc="0" normalizeH="0" baseline="0" noProof="0" err="1">
                  <a:ln>
                    <a:noFill/>
                  </a:ln>
                  <a:solidFill>
                    <a:srgbClr val="000000"/>
                  </a:solidFill>
                  <a:effectLst/>
                  <a:uLnTx/>
                  <a:uFillTx/>
                  <a:latin typeface="Calibri" panose="020F0502020204030204"/>
                  <a:ea typeface="+mn-ea"/>
                  <a:cs typeface="+mn-cs"/>
                </a:rPr>
                <a:t>nhancing</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the data/programming platform </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1156 - [IT Demand] MVP TO: Project Tetris (On train development work may be required to replace / transform any current NT data feeds to the new preferred supplier.) </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50" name="Group 49">
            <a:extLst>
              <a:ext uri="{FF2B5EF4-FFF2-40B4-BE49-F238E27FC236}">
                <a16:creationId xmlns:a16="http://schemas.microsoft.com/office/drawing/2014/main" id="{8D898880-A967-415F-B44C-4FC9208D6FD2}"/>
              </a:ext>
            </a:extLst>
          </p:cNvPr>
          <p:cNvGrpSpPr/>
          <p:nvPr/>
        </p:nvGrpSpPr>
        <p:grpSpPr>
          <a:xfrm>
            <a:off x="2759178" y="6556481"/>
            <a:ext cx="3464642" cy="246221"/>
            <a:chOff x="1943100" y="6364860"/>
            <a:chExt cx="3464642" cy="246221"/>
          </a:xfrm>
        </p:grpSpPr>
        <p:sp>
          <p:nvSpPr>
            <p:cNvPr id="52" name="Oval 51">
              <a:extLst>
                <a:ext uri="{FF2B5EF4-FFF2-40B4-BE49-F238E27FC236}">
                  <a16:creationId xmlns:a16="http://schemas.microsoft.com/office/drawing/2014/main" id="{B546254A-8FBD-413F-8F59-0152C8C7BEC3}"/>
                </a:ext>
              </a:extLst>
            </p:cNvPr>
            <p:cNvSpPr/>
            <p:nvPr/>
          </p:nvSpPr>
          <p:spPr>
            <a:xfrm>
              <a:off x="1943100"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53" name="TextBox 52">
              <a:extLst>
                <a:ext uri="{FF2B5EF4-FFF2-40B4-BE49-F238E27FC236}">
                  <a16:creationId xmlns:a16="http://schemas.microsoft.com/office/drawing/2014/main" id="{6223DA8B-0830-43A2-A974-EDB66DF467C0}"/>
                </a:ext>
              </a:extLst>
            </p:cNvPr>
            <p:cNvSpPr txBox="1"/>
            <p:nvPr/>
          </p:nvSpPr>
          <p:spPr>
            <a:xfrm>
              <a:off x="2095499" y="6364860"/>
              <a:ext cx="3312243" cy="246221"/>
            </a:xfrm>
            <a:prstGeom prst="rect">
              <a:avLst/>
            </a:prstGeom>
            <a:noFill/>
          </p:spPr>
          <p:txBody>
            <a:bodyPr wrap="square">
              <a:spAutoFit/>
            </a:bodyPr>
            <a:lstStyle/>
            <a:p>
              <a:r>
                <a:rPr lang="en-US" sz="1000"/>
                <a:t>Commercial strategy &amp; analytics to identify opportunities</a:t>
              </a:r>
            </a:p>
          </p:txBody>
        </p:sp>
      </p:grpSp>
      <p:grpSp>
        <p:nvGrpSpPr>
          <p:cNvPr id="55" name="Group 54">
            <a:extLst>
              <a:ext uri="{FF2B5EF4-FFF2-40B4-BE49-F238E27FC236}">
                <a16:creationId xmlns:a16="http://schemas.microsoft.com/office/drawing/2014/main" id="{A3E7A030-51DE-43E0-9BC7-00A7A3744624}"/>
              </a:ext>
            </a:extLst>
          </p:cNvPr>
          <p:cNvGrpSpPr/>
          <p:nvPr/>
        </p:nvGrpSpPr>
        <p:grpSpPr>
          <a:xfrm>
            <a:off x="6149669" y="6556481"/>
            <a:ext cx="1645142" cy="246221"/>
            <a:chOff x="4537058" y="6372401"/>
            <a:chExt cx="1645142" cy="246221"/>
          </a:xfrm>
        </p:grpSpPr>
        <p:sp>
          <p:nvSpPr>
            <p:cNvPr id="73" name="Oval 72">
              <a:extLst>
                <a:ext uri="{FF2B5EF4-FFF2-40B4-BE49-F238E27FC236}">
                  <a16:creationId xmlns:a16="http://schemas.microsoft.com/office/drawing/2014/main" id="{513A2DA4-F11A-4792-9A79-0269D906D9E2}"/>
                </a:ext>
              </a:extLst>
            </p:cNvPr>
            <p:cNvSpPr/>
            <p:nvPr/>
          </p:nvSpPr>
          <p:spPr>
            <a:xfrm>
              <a:off x="4537058"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74" name="TextBox 73">
              <a:extLst>
                <a:ext uri="{FF2B5EF4-FFF2-40B4-BE49-F238E27FC236}">
                  <a16:creationId xmlns:a16="http://schemas.microsoft.com/office/drawing/2014/main" id="{02B80A5B-5E15-43A5-953F-27D26017089F}"/>
                </a:ext>
              </a:extLst>
            </p:cNvPr>
            <p:cNvSpPr txBox="1"/>
            <p:nvPr/>
          </p:nvSpPr>
          <p:spPr>
            <a:xfrm>
              <a:off x="4689458" y="6372401"/>
              <a:ext cx="1492742" cy="246221"/>
            </a:xfrm>
            <a:prstGeom prst="rect">
              <a:avLst/>
            </a:prstGeom>
            <a:noFill/>
          </p:spPr>
          <p:txBody>
            <a:bodyPr wrap="square">
              <a:spAutoFit/>
            </a:bodyPr>
            <a:lstStyle>
              <a:defPPr>
                <a:defRPr lang="en-US"/>
              </a:defPPr>
              <a:lvl1pPr>
                <a:defRPr sz="1000"/>
              </a:lvl1pPr>
            </a:lstStyle>
            <a:p>
              <a:r>
                <a:rPr lang="en-US"/>
                <a:t>Eliminate manual work</a:t>
              </a:r>
            </a:p>
          </p:txBody>
        </p:sp>
      </p:grpSp>
      <p:grpSp>
        <p:nvGrpSpPr>
          <p:cNvPr id="75" name="Group 74">
            <a:extLst>
              <a:ext uri="{FF2B5EF4-FFF2-40B4-BE49-F238E27FC236}">
                <a16:creationId xmlns:a16="http://schemas.microsoft.com/office/drawing/2014/main" id="{26014D21-36DC-4809-8341-A16F92EB4F7D}"/>
              </a:ext>
            </a:extLst>
          </p:cNvPr>
          <p:cNvGrpSpPr/>
          <p:nvPr/>
        </p:nvGrpSpPr>
        <p:grpSpPr>
          <a:xfrm>
            <a:off x="7729368" y="6556481"/>
            <a:ext cx="1442714" cy="246221"/>
            <a:chOff x="7131015" y="6364314"/>
            <a:chExt cx="1442714" cy="246221"/>
          </a:xfrm>
        </p:grpSpPr>
        <p:sp>
          <p:nvSpPr>
            <p:cNvPr id="76" name="Oval 75">
              <a:extLst>
                <a:ext uri="{FF2B5EF4-FFF2-40B4-BE49-F238E27FC236}">
                  <a16:creationId xmlns:a16="http://schemas.microsoft.com/office/drawing/2014/main" id="{688637D7-D032-4A35-8C7D-C65BC17DF186}"/>
                </a:ext>
              </a:extLst>
            </p:cNvPr>
            <p:cNvSpPr/>
            <p:nvPr/>
          </p:nvSpPr>
          <p:spPr>
            <a:xfrm>
              <a:off x="7131015"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77" name="TextBox 76">
              <a:extLst>
                <a:ext uri="{FF2B5EF4-FFF2-40B4-BE49-F238E27FC236}">
                  <a16:creationId xmlns:a16="http://schemas.microsoft.com/office/drawing/2014/main" id="{FE70CCC4-CEC3-4DEA-930A-1C49E1E31242}"/>
                </a:ext>
              </a:extLst>
            </p:cNvPr>
            <p:cNvSpPr txBox="1"/>
            <p:nvPr/>
          </p:nvSpPr>
          <p:spPr>
            <a:xfrm>
              <a:off x="7283415" y="6364314"/>
              <a:ext cx="1290314" cy="246221"/>
            </a:xfrm>
            <a:prstGeom prst="rect">
              <a:avLst/>
            </a:prstGeom>
            <a:noFill/>
          </p:spPr>
          <p:txBody>
            <a:bodyPr wrap="square">
              <a:spAutoFit/>
            </a:bodyPr>
            <a:lstStyle>
              <a:defPPr>
                <a:defRPr lang="en-US"/>
              </a:defPPr>
              <a:lvl1pPr>
                <a:defRPr sz="1000"/>
              </a:lvl1pPr>
            </a:lstStyle>
            <a:p>
              <a:r>
                <a:rPr lang="en-US"/>
                <a:t>Measuring success</a:t>
              </a:r>
            </a:p>
          </p:txBody>
        </p:sp>
      </p:grpSp>
      <p:sp>
        <p:nvSpPr>
          <p:cNvPr id="78" name="TextBox 77">
            <a:extLst>
              <a:ext uri="{FF2B5EF4-FFF2-40B4-BE49-F238E27FC236}">
                <a16:creationId xmlns:a16="http://schemas.microsoft.com/office/drawing/2014/main" id="{1C08489D-ED6F-463C-B7A3-B0F2608F8D59}"/>
              </a:ext>
            </a:extLst>
          </p:cNvPr>
          <p:cNvSpPr txBox="1"/>
          <p:nvPr/>
        </p:nvSpPr>
        <p:spPr>
          <a:xfrm>
            <a:off x="717448" y="6540479"/>
            <a:ext cx="2089355" cy="246221"/>
          </a:xfrm>
          <a:prstGeom prst="rect">
            <a:avLst/>
          </a:prstGeom>
          <a:noFill/>
        </p:spPr>
        <p:txBody>
          <a:bodyPr wrap="square">
            <a:spAutoFit/>
          </a:bodyPr>
          <a:lstStyle/>
          <a:p>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Global research and insight strategy </a:t>
            </a:r>
            <a:endParaRPr lang="en-US" sz="1000" b="1"/>
          </a:p>
        </p:txBody>
      </p:sp>
      <p:sp>
        <p:nvSpPr>
          <p:cNvPr id="79" name="Oval 78">
            <a:extLst>
              <a:ext uri="{FF2B5EF4-FFF2-40B4-BE49-F238E27FC236}">
                <a16:creationId xmlns:a16="http://schemas.microsoft.com/office/drawing/2014/main" id="{4E70A94E-0DFF-4AA9-8959-DC0A6D64D5E6}"/>
              </a:ext>
            </a:extLst>
          </p:cNvPr>
          <p:cNvSpPr/>
          <p:nvPr/>
        </p:nvSpPr>
        <p:spPr>
          <a:xfrm>
            <a:off x="9165030" y="6603076"/>
            <a:ext cx="152400" cy="15303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a:t>
            </a:r>
          </a:p>
        </p:txBody>
      </p:sp>
      <p:sp>
        <p:nvSpPr>
          <p:cNvPr id="80" name="TextBox 79">
            <a:extLst>
              <a:ext uri="{FF2B5EF4-FFF2-40B4-BE49-F238E27FC236}">
                <a16:creationId xmlns:a16="http://schemas.microsoft.com/office/drawing/2014/main" id="{52E97DBA-9834-471E-B6B3-1AD120CCC083}"/>
              </a:ext>
            </a:extLst>
          </p:cNvPr>
          <p:cNvSpPr txBox="1"/>
          <p:nvPr/>
        </p:nvSpPr>
        <p:spPr>
          <a:xfrm>
            <a:off x="9374812" y="6602647"/>
            <a:ext cx="382949" cy="153888"/>
          </a:xfrm>
          <a:prstGeom prst="rect">
            <a:avLst/>
          </a:prstGeom>
        </p:spPr>
        <p:txBody>
          <a:bodyPr wrap="square" lIns="0" tIns="0" rIns="0" bIns="0" rtlCol="0" anchor="t" anchorCtr="0">
            <a:spAutoFit/>
          </a:bodyPr>
          <a:lstStyle/>
          <a:p>
            <a:r>
              <a:rPr lang="en-US" sz="1000"/>
              <a:t>Other</a:t>
            </a:r>
            <a:endParaRPr lang="en-US" sz="1000">
              <a:solidFill>
                <a:schemeClr val="tx1"/>
              </a:solidFill>
            </a:endParaRPr>
          </a:p>
        </p:txBody>
      </p:sp>
      <p:pic>
        <p:nvPicPr>
          <p:cNvPr id="88" name="Graphic 87" descr="Document">
            <a:extLst>
              <a:ext uri="{FF2B5EF4-FFF2-40B4-BE49-F238E27FC236}">
                <a16:creationId xmlns:a16="http://schemas.microsoft.com/office/drawing/2014/main" id="{0FB4DE96-D9CE-4155-AC7A-2F99A4F5FD28}"/>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42768" y="4175767"/>
            <a:ext cx="280553" cy="280553"/>
          </a:xfrm>
          <a:prstGeom prst="rect">
            <a:avLst/>
          </a:prstGeom>
        </p:spPr>
      </p:pic>
      <p:grpSp>
        <p:nvGrpSpPr>
          <p:cNvPr id="9" name="Group 8">
            <a:extLst>
              <a:ext uri="{FF2B5EF4-FFF2-40B4-BE49-F238E27FC236}">
                <a16:creationId xmlns:a16="http://schemas.microsoft.com/office/drawing/2014/main" id="{DDFA1252-879D-42C3-A090-D40B1A4AB728}"/>
              </a:ext>
            </a:extLst>
          </p:cNvPr>
          <p:cNvGrpSpPr/>
          <p:nvPr/>
        </p:nvGrpSpPr>
        <p:grpSpPr>
          <a:xfrm>
            <a:off x="810551" y="4176104"/>
            <a:ext cx="2061770" cy="2032715"/>
            <a:chOff x="3677576" y="4185629"/>
            <a:chExt cx="2829508" cy="2032715"/>
          </a:xfrm>
        </p:grpSpPr>
        <p:sp>
          <p:nvSpPr>
            <p:cNvPr id="85" name="Rectangle 84">
              <a:extLst>
                <a:ext uri="{FF2B5EF4-FFF2-40B4-BE49-F238E27FC236}">
                  <a16:creationId xmlns:a16="http://schemas.microsoft.com/office/drawing/2014/main" id="{E6A42574-ED28-424E-949A-1BE49B117287}"/>
                </a:ext>
              </a:extLst>
            </p:cNvPr>
            <p:cNvSpPr/>
            <p:nvPr/>
          </p:nvSpPr>
          <p:spPr>
            <a:xfrm>
              <a:off x="3687538" y="4185629"/>
              <a:ext cx="2819023" cy="203271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6B2B0716-E659-4775-A36E-DAFAE05A850E}"/>
                </a:ext>
              </a:extLst>
            </p:cNvPr>
            <p:cNvSpPr txBox="1"/>
            <p:nvPr/>
          </p:nvSpPr>
          <p:spPr>
            <a:xfrm>
              <a:off x="3677576" y="4495282"/>
              <a:ext cx="2805835" cy="938719"/>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Measuring success – Financial metrics  </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solidFill>
                    <a:srgbClr val="000000"/>
                  </a:solidFill>
                  <a:latin typeface="Calibri" panose="020F0502020204030204"/>
                </a:rPr>
                <a:t>Measuring success – Sales metrics</a:t>
              </a:r>
              <a:endParaRPr kumimoji="0" lang="nl-NL" sz="1100" b="0" i="0" u="none" strike="noStrike" kern="1200" cap="none" spc="0" normalizeH="0" baseline="0" noProof="1">
                <a:ln>
                  <a:noFill/>
                </a:ln>
                <a:solidFill>
                  <a:srgbClr val="000000"/>
                </a:solidFill>
                <a:effectLst/>
                <a:uLnTx/>
                <a:uFillTx/>
                <a:latin typeface="Calibri" panose="020F0502020204030204"/>
                <a:ea typeface="+mn-ea"/>
                <a:cs typeface="+mn-cs"/>
              </a:endParaRP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nl-NL" sz="1100" b="0" i="0" u="none" strike="noStrike" kern="1200" cap="none" spc="0" normalizeH="0" baseline="0" noProof="1">
                <a:ln>
                  <a:noFill/>
                </a:ln>
                <a:solidFill>
                  <a:srgbClr val="000000"/>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C34BAD17-4F39-4269-89BA-6037E02B19D1}"/>
                </a:ext>
              </a:extLst>
            </p:cNvPr>
            <p:cNvSpPr/>
            <p:nvPr/>
          </p:nvSpPr>
          <p:spPr>
            <a:xfrm>
              <a:off x="3688061" y="4185629"/>
              <a:ext cx="2819023" cy="288000"/>
            </a:xfrm>
            <a:prstGeom prst="rect">
              <a:avLst/>
            </a:prstGeom>
            <a:solidFill>
              <a:schemeClr val="tx2">
                <a:lumMod val="50000"/>
                <a:lumOff val="50000"/>
              </a:scheme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     Ongoing in-flight use cases</a:t>
              </a:r>
            </a:p>
          </p:txBody>
        </p:sp>
      </p:grpSp>
      <p:sp>
        <p:nvSpPr>
          <p:cNvPr id="81" name="Oval 80">
            <a:extLst>
              <a:ext uri="{FF2B5EF4-FFF2-40B4-BE49-F238E27FC236}">
                <a16:creationId xmlns:a16="http://schemas.microsoft.com/office/drawing/2014/main" id="{57E54CB3-187E-480F-8154-AF3426EEE7CF}"/>
              </a:ext>
            </a:extLst>
          </p:cNvPr>
          <p:cNvSpPr/>
          <p:nvPr/>
        </p:nvSpPr>
        <p:spPr>
          <a:xfrm>
            <a:off x="1580936" y="5054037"/>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82" name="Oval 81">
            <a:extLst>
              <a:ext uri="{FF2B5EF4-FFF2-40B4-BE49-F238E27FC236}">
                <a16:creationId xmlns:a16="http://schemas.microsoft.com/office/drawing/2014/main" id="{D60409BF-BB4F-4122-AF0C-18190368E5C5}"/>
              </a:ext>
            </a:extLst>
          </p:cNvPr>
          <p:cNvSpPr/>
          <p:nvPr/>
        </p:nvSpPr>
        <p:spPr>
          <a:xfrm>
            <a:off x="1572031" y="4717366"/>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pic>
        <p:nvPicPr>
          <p:cNvPr id="12" name="Picture 11">
            <a:extLst>
              <a:ext uri="{FF2B5EF4-FFF2-40B4-BE49-F238E27FC236}">
                <a16:creationId xmlns:a16="http://schemas.microsoft.com/office/drawing/2014/main" id="{026D62FC-D78D-43CF-B69A-923841BF6A96}"/>
              </a:ext>
            </a:extLst>
          </p:cNvPr>
          <p:cNvPicPr>
            <a:picLocks noChangeAspect="1"/>
          </p:cNvPicPr>
          <p:nvPr/>
        </p:nvPicPr>
        <p:blipFill>
          <a:blip r:embed="rId17"/>
          <a:stretch>
            <a:fillRect/>
          </a:stretch>
        </p:blipFill>
        <p:spPr>
          <a:xfrm>
            <a:off x="823550" y="4194963"/>
            <a:ext cx="280552" cy="242160"/>
          </a:xfrm>
          <a:prstGeom prst="rect">
            <a:avLst/>
          </a:prstGeom>
        </p:spPr>
      </p:pic>
    </p:spTree>
    <p:extLst>
      <p:ext uri="{BB962C8B-B14F-4D97-AF65-F5344CB8AC3E}">
        <p14:creationId xmlns:p14="http://schemas.microsoft.com/office/powerpoint/2010/main" val="62979784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C7ECA67C-9606-45F6-8EC4-9C26F6CE8F3A}"/>
              </a:ext>
            </a:extLst>
          </p:cNvPr>
          <p:cNvSpPr/>
          <p:nvPr/>
        </p:nvSpPr>
        <p:spPr>
          <a:xfrm>
            <a:off x="1822489" y="1657932"/>
            <a:ext cx="3949662" cy="293797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TextBox 80">
            <a:extLst>
              <a:ext uri="{FF2B5EF4-FFF2-40B4-BE49-F238E27FC236}">
                <a16:creationId xmlns:a16="http://schemas.microsoft.com/office/drawing/2014/main" id="{C7759AE7-3F46-4F7B-9371-84D08832D4DF}"/>
              </a:ext>
            </a:extLst>
          </p:cNvPr>
          <p:cNvSpPr txBox="1"/>
          <p:nvPr/>
        </p:nvSpPr>
        <p:spPr>
          <a:xfrm>
            <a:off x="1827166" y="1951989"/>
            <a:ext cx="3958393" cy="2462213"/>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lvl="0">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Facilitate an aspirational environment to further encourage using data for forward-looking analyses, realizing our commercial </a:t>
            </a:r>
            <a:r>
              <a:rPr lang="en-US">
                <a:solidFill>
                  <a:srgbClr val="000000"/>
                </a:solidFill>
              </a:rPr>
              <a:t>strategy of identifying prospective clients and opportunities to strategically position Aegon AM in new markets,       eliminate manual work       and measure success </a:t>
            </a:r>
          </a:p>
          <a:p>
            <a:pPr>
              <a:defRPr/>
            </a:pPr>
            <a:r>
              <a:rPr lang="en-US">
                <a:solidFill>
                  <a:srgbClr val="000000"/>
                </a:solidFill>
              </a:rPr>
              <a:t>Understanding our clients needs, goals and their financial landscape</a:t>
            </a:r>
            <a:endParaRPr lang="en-US" sz="400">
              <a:solidFill>
                <a:srgbClr val="000000"/>
              </a:solidFill>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Establish an analytics way of working including the relevant governance and (technology) enabler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Enable automated real-time data feed for investment performance measurement to ensure consistent and correct advice and insights to client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nsolidation of the pockets of information in client reporting via BI dashboards to keep up with the industry standards </a:t>
            </a:r>
          </a:p>
        </p:txBody>
      </p:sp>
      <p:sp>
        <p:nvSpPr>
          <p:cNvPr id="42" name="Rectangle 41">
            <a:extLst>
              <a:ext uri="{FF2B5EF4-FFF2-40B4-BE49-F238E27FC236}">
                <a16:creationId xmlns:a16="http://schemas.microsoft.com/office/drawing/2014/main" id="{3FFE9F0D-BF89-45BB-A80D-418C611EAB95}"/>
              </a:ext>
            </a:extLst>
          </p:cNvPr>
          <p:cNvSpPr/>
          <p:nvPr/>
        </p:nvSpPr>
        <p:spPr>
          <a:xfrm>
            <a:off x="5879195" y="1657932"/>
            <a:ext cx="5355976" cy="200725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E4DDC895-4533-43A5-B1D9-A626F73E30A3}"/>
              </a:ext>
            </a:extLst>
          </p:cNvPr>
          <p:cNvSpPr txBox="1"/>
          <p:nvPr/>
        </p:nvSpPr>
        <p:spPr>
          <a:xfrm>
            <a:off x="5880100" y="1951877"/>
            <a:ext cx="5355038" cy="1785104"/>
          </a:xfrm>
          <a:prstGeom prst="rect">
            <a:avLst/>
          </a:prstGeom>
          <a:noFill/>
          <a:ln>
            <a:noFill/>
          </a:ln>
        </p:spPr>
        <p:txBody>
          <a:bodyPr wrap="square" lIns="0" rIns="0" rtlCol="0" anchor="t" anchorCtr="0">
            <a:spAutoFit/>
          </a:bodyPr>
          <a:lstStyle>
            <a:defPPr>
              <a:defRPr lang="en-US"/>
            </a:defPPr>
            <a:lvl1pPr marL="180975" indent="-180975">
              <a:buFont typeface="Arial" panose="020B0604020202020204" pitchFamily="34" charset="0"/>
              <a:buChar char="•"/>
              <a:defRPr sz="1100"/>
            </a:lvl1pPr>
          </a:lstStyle>
          <a:p>
            <a:pPr marL="266700">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Identify executive sponsorship</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Formalize a global analytics way of working to accelerate the way from ideas to analytic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Integrate analytics way of working in organizational and data governance and assign model/product ownership rule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Have enough resources in the Global Insights and other analytics team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rovide sufficient training and education to relevant resources to increase Analytics literacy and awareness level</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Have communication and awareness sessions about analytics possibilitie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Set up stage that IT does not need to be involved for client reporting; reduce manual labor, data minded/savvy employees</a:t>
            </a:r>
          </a:p>
        </p:txBody>
      </p:sp>
      <p:sp>
        <p:nvSpPr>
          <p:cNvPr id="44" name="Rectangle 43">
            <a:extLst>
              <a:ext uri="{FF2B5EF4-FFF2-40B4-BE49-F238E27FC236}">
                <a16:creationId xmlns:a16="http://schemas.microsoft.com/office/drawing/2014/main" id="{B22B3FF2-3E0F-4602-9D95-ABF4C9939437}"/>
              </a:ext>
            </a:extLst>
          </p:cNvPr>
          <p:cNvSpPr/>
          <p:nvPr/>
        </p:nvSpPr>
        <p:spPr>
          <a:xfrm>
            <a:off x="5879195" y="3778925"/>
            <a:ext cx="5355976" cy="816982"/>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82952029-6BB7-4A31-A512-AF8F0BE6EA6C}"/>
              </a:ext>
            </a:extLst>
          </p:cNvPr>
          <p:cNvSpPr txBox="1"/>
          <p:nvPr/>
        </p:nvSpPr>
        <p:spPr>
          <a:xfrm>
            <a:off x="5880100" y="4034803"/>
            <a:ext cx="5355975" cy="600164"/>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Re-platforming, automated data ingestion and integration/processing</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Have the supporting (data) architecture for analytics purpose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Include security check fields in combining internal and external data </a:t>
            </a:r>
          </a:p>
        </p:txBody>
      </p:sp>
      <p:sp>
        <p:nvSpPr>
          <p:cNvPr id="2" name="Rectangle 1">
            <a:extLst>
              <a:ext uri="{FF2B5EF4-FFF2-40B4-BE49-F238E27FC236}">
                <a16:creationId xmlns:a16="http://schemas.microsoft.com/office/drawing/2014/main" id="{9AC5F50E-28EE-4312-88E1-87359E29D14D}"/>
              </a:ext>
            </a:extLst>
          </p:cNvPr>
          <p:cNvSpPr/>
          <p:nvPr/>
        </p:nvSpPr>
        <p:spPr>
          <a:xfrm>
            <a:off x="2600325" y="1276916"/>
            <a:ext cx="8634845"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Building a global way of working in enabling the business to use analytics and data innovation techniques to improve investment decisions and client experience</a:t>
            </a:r>
          </a:p>
        </p:txBody>
      </p:sp>
      <p:sp>
        <p:nvSpPr>
          <p:cNvPr id="11" name="Rectangle 10">
            <a:extLst>
              <a:ext uri="{FF2B5EF4-FFF2-40B4-BE49-F238E27FC236}">
                <a16:creationId xmlns:a16="http://schemas.microsoft.com/office/drawing/2014/main" id="{1BDC89DB-996B-483A-BA4D-19EE9B629B46}"/>
              </a:ext>
            </a:extLst>
          </p:cNvPr>
          <p:cNvSpPr/>
          <p:nvPr/>
        </p:nvSpPr>
        <p:spPr>
          <a:xfrm>
            <a:off x="5880100" y="1657934"/>
            <a:ext cx="5355976" cy="288000"/>
          </a:xfrm>
          <a:prstGeom prst="rect">
            <a:avLst/>
          </a:prstGeom>
          <a:solidFill>
            <a:srgbClr val="2BAEA3"/>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Organizational Requirements</a:t>
            </a:r>
          </a:p>
        </p:txBody>
      </p:sp>
      <p:sp>
        <p:nvSpPr>
          <p:cNvPr id="38" name="Rectangle 37">
            <a:extLst>
              <a:ext uri="{FF2B5EF4-FFF2-40B4-BE49-F238E27FC236}">
                <a16:creationId xmlns:a16="http://schemas.microsoft.com/office/drawing/2014/main" id="{14677884-B84C-4112-B064-71BB47E090D9}"/>
              </a:ext>
            </a:extLst>
          </p:cNvPr>
          <p:cNvSpPr/>
          <p:nvPr/>
        </p:nvSpPr>
        <p:spPr>
          <a:xfrm>
            <a:off x="5880100" y="3734679"/>
            <a:ext cx="5355103" cy="288000"/>
          </a:xfrm>
          <a:prstGeom prst="rect">
            <a:avLst/>
          </a:prstGeom>
          <a:solidFill>
            <a:srgbClr val="FFB15E"/>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Data Foundation Requirements</a:t>
            </a:r>
          </a:p>
        </p:txBody>
      </p:sp>
      <p:sp>
        <p:nvSpPr>
          <p:cNvPr id="32" name="Title 5">
            <a:extLst>
              <a:ext uri="{FF2B5EF4-FFF2-40B4-BE49-F238E27FC236}">
                <a16:creationId xmlns:a16="http://schemas.microsoft.com/office/drawing/2014/main" id="{FA216D96-6C9D-4447-9D4E-C7FC824DD24F}"/>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69B4"/>
                </a:solidFill>
                <a:effectLst/>
                <a:uLnTx/>
                <a:uFillTx/>
                <a:latin typeface="Calibri Light" panose="020F0302020204030204"/>
                <a:ea typeface="+mj-ea"/>
                <a:cs typeface="+mj-cs"/>
              </a:rPr>
              <a:t>Strategic Data Objective 4: </a:t>
            </a:r>
            <a:r>
              <a:rPr kumimoji="0" lang="en-US" sz="2400" b="0" i="0" u="none" strike="noStrike" kern="1200" cap="none" spc="20" normalizeH="0" baseline="0" noProof="0">
                <a:ln>
                  <a:noFill/>
                </a:ln>
                <a:solidFill>
                  <a:srgbClr val="0069B4"/>
                </a:solidFill>
                <a:effectLst/>
                <a:uLnTx/>
                <a:uFillTx/>
                <a:latin typeface="Calibri Light" panose="020F0302020204030204"/>
                <a:ea typeface="Times New Roman" panose="02020603050405020304" pitchFamily="18" charset="0"/>
                <a:cs typeface="Times New Roman" panose="02020603050405020304" pitchFamily="18" charset="0"/>
              </a:rPr>
              <a:t>Building a global way of working in enabling the            business to use analytics and data innovation techniques to improve investment decisions and client experience</a:t>
            </a:r>
          </a:p>
        </p:txBody>
      </p:sp>
      <p:sp>
        <p:nvSpPr>
          <p:cNvPr id="33" name="Rectangle 32">
            <a:extLst>
              <a:ext uri="{FF2B5EF4-FFF2-40B4-BE49-F238E27FC236}">
                <a16:creationId xmlns:a16="http://schemas.microsoft.com/office/drawing/2014/main" id="{085FBE86-E7A2-4E87-A9B0-5C016FDE37E8}"/>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67A2F830-F1F8-43D0-9373-26A205830779}"/>
              </a:ext>
            </a:extLst>
          </p:cNvPr>
          <p:cNvGrpSpPr/>
          <p:nvPr/>
        </p:nvGrpSpPr>
        <p:grpSpPr>
          <a:xfrm>
            <a:off x="1823393" y="1657933"/>
            <a:ext cx="3962166" cy="303586"/>
            <a:chOff x="2152648" y="1734133"/>
            <a:chExt cx="3632911" cy="303586"/>
          </a:xfrm>
        </p:grpSpPr>
        <p:sp>
          <p:nvSpPr>
            <p:cNvPr id="4" name="Rectangle 3">
              <a:extLst>
                <a:ext uri="{FF2B5EF4-FFF2-40B4-BE49-F238E27FC236}">
                  <a16:creationId xmlns:a16="http://schemas.microsoft.com/office/drawing/2014/main" id="{1423B210-1D67-46E0-9991-131C6CE6300F}"/>
                </a:ext>
              </a:extLst>
            </p:cNvPr>
            <p:cNvSpPr/>
            <p:nvPr/>
          </p:nvSpPr>
          <p:spPr>
            <a:xfrm>
              <a:off x="2152648" y="1734133"/>
              <a:ext cx="3632911"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Description</a:t>
              </a:r>
            </a:p>
          </p:txBody>
        </p:sp>
        <p:pic>
          <p:nvPicPr>
            <p:cNvPr id="49" name="Graphic 48" descr="Teacher">
              <a:extLst>
                <a:ext uri="{FF2B5EF4-FFF2-40B4-BE49-F238E27FC236}">
                  <a16:creationId xmlns:a16="http://schemas.microsoft.com/office/drawing/2014/main" id="{9D25AFB6-D427-44D5-AB06-AFA85EE2045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80319" y="1734820"/>
              <a:ext cx="302899" cy="302899"/>
            </a:xfrm>
            <a:prstGeom prst="rect">
              <a:avLst/>
            </a:prstGeom>
          </p:spPr>
        </p:pic>
      </p:grpSp>
      <p:pic>
        <p:nvPicPr>
          <p:cNvPr id="56" name="Graphic 55" descr="Venn diagram">
            <a:extLst>
              <a:ext uri="{FF2B5EF4-FFF2-40B4-BE49-F238E27FC236}">
                <a16:creationId xmlns:a16="http://schemas.microsoft.com/office/drawing/2014/main" id="{76B15EF1-54B6-4B6A-B8C6-6DDA513932E6}"/>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92037" y="1642593"/>
            <a:ext cx="300636" cy="300636"/>
          </a:xfrm>
          <a:prstGeom prst="rect">
            <a:avLst/>
          </a:prstGeom>
        </p:spPr>
      </p:pic>
      <p:sp>
        <p:nvSpPr>
          <p:cNvPr id="45" name="Rectangle 44">
            <a:extLst>
              <a:ext uri="{FF2B5EF4-FFF2-40B4-BE49-F238E27FC236}">
                <a16:creationId xmlns:a16="http://schemas.microsoft.com/office/drawing/2014/main" id="{4E215F30-5DD1-44D7-B1FC-142444411C31}"/>
              </a:ext>
            </a:extLst>
          </p:cNvPr>
          <p:cNvSpPr/>
          <p:nvPr/>
        </p:nvSpPr>
        <p:spPr>
          <a:xfrm>
            <a:off x="836646" y="4899496"/>
            <a:ext cx="4676280" cy="162668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68BE7FBA-7060-4F3A-B244-2006BF0ECDB4}"/>
              </a:ext>
            </a:extLst>
          </p:cNvPr>
          <p:cNvSpPr txBox="1"/>
          <p:nvPr/>
        </p:nvSpPr>
        <p:spPr>
          <a:xfrm>
            <a:off x="753460" y="4938459"/>
            <a:ext cx="2483955" cy="154657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Distribution screen to identify future opportunitie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a:solidFill>
                  <a:srgbClr val="000000"/>
                </a:solidFill>
                <a:latin typeface="Calibri" panose="020F0502020204030204"/>
              </a:rPr>
              <a:t>Anticipate replacement opportunitie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Mandate releases mail</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Automate production and distribution of the mandate </a:t>
            </a:r>
            <a:r>
              <a:rPr kumimoji="0" lang="en-US" sz="1050" b="0" i="0" u="none" strike="noStrike" kern="1200" cap="none" spc="0" normalizeH="0" baseline="0" noProof="0" err="1">
                <a:ln>
                  <a:noFill/>
                </a:ln>
                <a:solidFill>
                  <a:srgbClr val="000000"/>
                </a:solidFill>
                <a:effectLst/>
                <a:uLnTx/>
                <a:uFillTx/>
                <a:latin typeface="Calibri" panose="020F0502020204030204"/>
                <a:ea typeface="+mn-ea"/>
                <a:cs typeface="+mn-cs"/>
              </a:rPr>
              <a:t>Opps</a:t>
            </a: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 email</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50">
                <a:solidFill>
                  <a:srgbClr val="000000"/>
                </a:solidFill>
                <a:latin typeface="Calibri" panose="020F0502020204030204"/>
              </a:rPr>
              <a:t>Actionable intelligence pushed to CRM for sales, consultant relations, and client service teams</a:t>
            </a:r>
          </a:p>
        </p:txBody>
      </p:sp>
      <p:sp>
        <p:nvSpPr>
          <p:cNvPr id="14" name="Rectangle 13">
            <a:extLst>
              <a:ext uri="{FF2B5EF4-FFF2-40B4-BE49-F238E27FC236}">
                <a16:creationId xmlns:a16="http://schemas.microsoft.com/office/drawing/2014/main" id="{D7931A0B-3AFA-4EA6-9C9F-39EBC60F3089}"/>
              </a:ext>
            </a:extLst>
          </p:cNvPr>
          <p:cNvSpPr/>
          <p:nvPr/>
        </p:nvSpPr>
        <p:spPr>
          <a:xfrm>
            <a:off x="837514" y="4628806"/>
            <a:ext cx="2353726" cy="288000"/>
          </a:xfrm>
          <a:prstGeom prst="rect">
            <a:avLst/>
          </a:prstGeom>
          <a:solidFill>
            <a:schemeClr val="tx2">
              <a:lumMod val="50000"/>
              <a:lumOff val="50000"/>
            </a:scheme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Ongoing in-flight use cases</a:t>
            </a:r>
          </a:p>
        </p:txBody>
      </p:sp>
      <p:sp>
        <p:nvSpPr>
          <p:cNvPr id="101" name="TextBox 100">
            <a:extLst>
              <a:ext uri="{FF2B5EF4-FFF2-40B4-BE49-F238E27FC236}">
                <a16:creationId xmlns:a16="http://schemas.microsoft.com/office/drawing/2014/main" id="{60BD4DB5-34A9-4B35-A97F-5D55D7186094}"/>
              </a:ext>
            </a:extLst>
          </p:cNvPr>
          <p:cNvSpPr txBox="1"/>
          <p:nvPr/>
        </p:nvSpPr>
        <p:spPr>
          <a:xfrm>
            <a:off x="3219728" y="4916806"/>
            <a:ext cx="2298113" cy="1708160"/>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314325" indent="-228600">
              <a:buFont typeface="+mj-lt"/>
              <a:buAutoNum type="arabicPeriod"/>
              <a:defRPr/>
            </a:pPr>
            <a:r>
              <a:rPr lang="en-US" sz="1050">
                <a:solidFill>
                  <a:srgbClr val="000000"/>
                </a:solidFill>
                <a:latin typeface="Calibri" panose="020F0502020204030204"/>
              </a:rPr>
              <a:t>Assess which artifacts are necessary to build out usage of data &amp; analytics throughout the organization (architectural capabilities such as tools, etc.) </a:t>
            </a:r>
          </a:p>
          <a:p>
            <a:pPr marL="314325" indent="-228600">
              <a:buFont typeface="+mj-lt"/>
              <a:buAutoNum type="arabicPeriod"/>
              <a:defRPr/>
            </a:pPr>
            <a:r>
              <a:rPr lang="en-US" sz="1050">
                <a:solidFill>
                  <a:srgbClr val="000000"/>
                </a:solidFill>
                <a:latin typeface="Calibri" panose="020F0502020204030204"/>
              </a:rPr>
              <a:t>Establish an analytics way of working including the relevant governance and enablers</a:t>
            </a:r>
          </a:p>
          <a:p>
            <a:pPr marL="314325" indent="-228600">
              <a:buFont typeface="+mj-lt"/>
              <a:buAutoNum type="arabicPeriod"/>
              <a:defRPr/>
            </a:pPr>
            <a:r>
              <a:rPr lang="en-US" sz="1050">
                <a:solidFill>
                  <a:srgbClr val="000000"/>
                </a:solidFill>
                <a:latin typeface="Calibri" panose="020F0502020204030204"/>
              </a:rPr>
              <a:t>Build self-service information products for clients</a:t>
            </a:r>
          </a:p>
        </p:txBody>
      </p:sp>
      <p:pic>
        <p:nvPicPr>
          <p:cNvPr id="117" name="Graphic 116" descr="Document">
            <a:extLst>
              <a:ext uri="{FF2B5EF4-FFF2-40B4-BE49-F238E27FC236}">
                <a16:creationId xmlns:a16="http://schemas.microsoft.com/office/drawing/2014/main" id="{EEA9AB0B-F5C4-4472-AE2B-17607DBE016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238724" y="4621269"/>
            <a:ext cx="268275" cy="280553"/>
          </a:xfrm>
          <a:prstGeom prst="rect">
            <a:avLst/>
          </a:prstGeom>
        </p:spPr>
      </p:pic>
      <p:grpSp>
        <p:nvGrpSpPr>
          <p:cNvPr id="7" name="Group 6">
            <a:extLst>
              <a:ext uri="{FF2B5EF4-FFF2-40B4-BE49-F238E27FC236}">
                <a16:creationId xmlns:a16="http://schemas.microsoft.com/office/drawing/2014/main" id="{94BEC00F-5F26-43F0-90BF-C2540C3BB8D2}"/>
              </a:ext>
            </a:extLst>
          </p:cNvPr>
          <p:cNvGrpSpPr/>
          <p:nvPr/>
        </p:nvGrpSpPr>
        <p:grpSpPr>
          <a:xfrm>
            <a:off x="9851378" y="4589503"/>
            <a:ext cx="1383822" cy="1940456"/>
            <a:chOff x="8582652" y="4741903"/>
            <a:chExt cx="2652551" cy="1940456"/>
          </a:xfrm>
        </p:grpSpPr>
        <p:sp>
          <p:nvSpPr>
            <p:cNvPr id="48" name="Rectangle 47">
              <a:extLst>
                <a:ext uri="{FF2B5EF4-FFF2-40B4-BE49-F238E27FC236}">
                  <a16:creationId xmlns:a16="http://schemas.microsoft.com/office/drawing/2014/main" id="{62549C25-8B51-48C0-98D4-C1550C8B7ACE}"/>
                </a:ext>
              </a:extLst>
            </p:cNvPr>
            <p:cNvSpPr/>
            <p:nvPr/>
          </p:nvSpPr>
          <p:spPr>
            <a:xfrm>
              <a:off x="8582685" y="4811101"/>
              <a:ext cx="2652486" cy="1871258"/>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7524A068-07F3-47C8-8FB5-87E1559D7A3A}"/>
                </a:ext>
              </a:extLst>
            </p:cNvPr>
            <p:cNvSpPr/>
            <p:nvPr/>
          </p:nvSpPr>
          <p:spPr>
            <a:xfrm>
              <a:off x="8583442" y="4781206"/>
              <a:ext cx="2651761"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Estimated effort &amp; resources</a:t>
              </a:r>
            </a:p>
          </p:txBody>
        </p:sp>
        <p:sp>
          <p:nvSpPr>
            <p:cNvPr id="30" name="TextBox 29">
              <a:extLst>
                <a:ext uri="{FF2B5EF4-FFF2-40B4-BE49-F238E27FC236}">
                  <a16:creationId xmlns:a16="http://schemas.microsoft.com/office/drawing/2014/main" id="{F389E858-A470-4C96-B7C1-907C5AF62127}"/>
                </a:ext>
              </a:extLst>
            </p:cNvPr>
            <p:cNvSpPr txBox="1"/>
            <p:nvPr/>
          </p:nvSpPr>
          <p:spPr>
            <a:xfrm>
              <a:off x="8582652" y="5090859"/>
              <a:ext cx="2652486" cy="769441"/>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Populate after specifying use case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8" name="Graphic 57" descr="Boardroom">
              <a:extLst>
                <a:ext uri="{FF2B5EF4-FFF2-40B4-BE49-F238E27FC236}">
                  <a16:creationId xmlns:a16="http://schemas.microsoft.com/office/drawing/2014/main" id="{4E5C24BB-C906-4540-B069-A513F7BFA182}"/>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582652" y="4741903"/>
              <a:ext cx="396826" cy="319079"/>
            </a:xfrm>
            <a:prstGeom prst="rect">
              <a:avLst/>
            </a:prstGeom>
          </p:spPr>
        </p:pic>
      </p:grpSp>
      <p:grpSp>
        <p:nvGrpSpPr>
          <p:cNvPr id="6" name="Group 5">
            <a:extLst>
              <a:ext uri="{FF2B5EF4-FFF2-40B4-BE49-F238E27FC236}">
                <a16:creationId xmlns:a16="http://schemas.microsoft.com/office/drawing/2014/main" id="{4541E599-3D99-440F-95EF-0C6358F2C1CD}"/>
              </a:ext>
            </a:extLst>
          </p:cNvPr>
          <p:cNvGrpSpPr/>
          <p:nvPr/>
        </p:nvGrpSpPr>
        <p:grpSpPr>
          <a:xfrm>
            <a:off x="5576569" y="4628806"/>
            <a:ext cx="4250565" cy="1925480"/>
            <a:chOff x="6092958" y="4781206"/>
            <a:chExt cx="2408245" cy="1925480"/>
          </a:xfrm>
        </p:grpSpPr>
        <p:sp>
          <p:nvSpPr>
            <p:cNvPr id="46" name="Rectangle 45">
              <a:extLst>
                <a:ext uri="{FF2B5EF4-FFF2-40B4-BE49-F238E27FC236}">
                  <a16:creationId xmlns:a16="http://schemas.microsoft.com/office/drawing/2014/main" id="{738D352E-85BD-482E-B423-E049F1140936}"/>
                </a:ext>
              </a:extLst>
            </p:cNvPr>
            <p:cNvSpPr/>
            <p:nvPr/>
          </p:nvSpPr>
          <p:spPr>
            <a:xfrm>
              <a:off x="6092958" y="4811101"/>
              <a:ext cx="2408241" cy="1871258"/>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TextBox 71">
              <a:extLst>
                <a:ext uri="{FF2B5EF4-FFF2-40B4-BE49-F238E27FC236}">
                  <a16:creationId xmlns:a16="http://schemas.microsoft.com/office/drawing/2014/main" id="{42FEDE24-EAB7-428E-9894-DD6495AE6604}"/>
                </a:ext>
              </a:extLst>
            </p:cNvPr>
            <p:cNvSpPr txBox="1"/>
            <p:nvPr/>
          </p:nvSpPr>
          <p:spPr>
            <a:xfrm>
              <a:off x="6101234" y="5090859"/>
              <a:ext cx="2399969" cy="161582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a:lnSpc>
                  <a:spcPct val="100000"/>
                </a:lnSpc>
                <a:spcBef>
                  <a:spcPts val="0"/>
                </a:spcBef>
              </a:pPr>
              <a:r>
                <a:rPr lang="en-US"/>
                <a:t>#1661 - [Analytics] Global Client Group Analytics </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Retirement program</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96175 - [NL Retirement] Create a data driven infrastructure to support increasing client needs for customized information</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Use of RPA </a:t>
              </a:r>
              <a:endParaRPr lang="en-US"/>
            </a:p>
            <a:p>
              <a:pPr>
                <a:lnSpc>
                  <a:spcPct val="100000"/>
                </a:lnSpc>
                <a:spcBef>
                  <a:spcPts val="0"/>
                </a:spcBef>
              </a:pPr>
              <a:r>
                <a:rPr lang="en-US"/>
                <a:t>#46874 - Global insights framework </a:t>
              </a:r>
            </a:p>
            <a:p>
              <a:pPr>
                <a:lnSpc>
                  <a:spcPct val="100000"/>
                </a:lnSpc>
                <a:spcBef>
                  <a:spcPts val="0"/>
                </a:spcBef>
              </a:pPr>
              <a:r>
                <a:rPr lang="en-US"/>
                <a:t>Concluding IG/HY research split </a:t>
              </a:r>
            </a:p>
            <a:p>
              <a:pPr>
                <a:lnSpc>
                  <a:spcPct val="100000"/>
                </a:lnSpc>
                <a:spcBef>
                  <a:spcPts val="0"/>
                </a:spcBef>
              </a:pPr>
              <a:r>
                <a:rPr lang="en-US"/>
                <a:t>Enhancing RI research methods </a:t>
              </a:r>
            </a:p>
            <a:p>
              <a:pPr>
                <a:lnSpc>
                  <a:spcPct val="100000"/>
                </a:lnSpc>
                <a:spcBef>
                  <a:spcPts val="0"/>
                </a:spcBef>
              </a:pPr>
              <a:r>
                <a:rPr lang="en-US"/>
                <a:t>Implementing Aladdin Research </a:t>
              </a:r>
            </a:p>
            <a:p>
              <a:pPr>
                <a:lnSpc>
                  <a:spcPct val="100000"/>
                </a:lnSpc>
                <a:spcBef>
                  <a:spcPts val="0"/>
                </a:spcBef>
              </a:pPr>
              <a:r>
                <a:rPr lang="en-US"/>
                <a:t>#2180 - Impact Venture Credit investment strategy (?)</a:t>
              </a:r>
            </a:p>
          </p:txBody>
        </p:sp>
        <p:sp>
          <p:nvSpPr>
            <p:cNvPr id="16" name="Rectangle 15">
              <a:extLst>
                <a:ext uri="{FF2B5EF4-FFF2-40B4-BE49-F238E27FC236}">
                  <a16:creationId xmlns:a16="http://schemas.microsoft.com/office/drawing/2014/main" id="{AF466AE7-8D20-4536-B357-4FA03FB5853C}"/>
                </a:ext>
              </a:extLst>
            </p:cNvPr>
            <p:cNvSpPr/>
            <p:nvPr/>
          </p:nvSpPr>
          <p:spPr>
            <a:xfrm>
              <a:off x="6092958" y="4781206"/>
              <a:ext cx="2408242"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Timing &amp; Dependencies</a:t>
              </a:r>
            </a:p>
          </p:txBody>
        </p:sp>
      </p:grpSp>
      <p:cxnSp>
        <p:nvCxnSpPr>
          <p:cNvPr id="13" name="Straight Connector 12">
            <a:extLst>
              <a:ext uri="{FF2B5EF4-FFF2-40B4-BE49-F238E27FC236}">
                <a16:creationId xmlns:a16="http://schemas.microsoft.com/office/drawing/2014/main" id="{9DC6A804-7D66-4F30-AF44-BE367FD9E059}"/>
              </a:ext>
            </a:extLst>
          </p:cNvPr>
          <p:cNvCxnSpPr>
            <a:cxnSpLocks/>
          </p:cNvCxnSpPr>
          <p:nvPr/>
        </p:nvCxnSpPr>
        <p:spPr>
          <a:xfrm>
            <a:off x="820155" y="1586505"/>
            <a:ext cx="10363672"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0" name="Flowchart: Manual Input 59">
            <a:extLst>
              <a:ext uri="{FF2B5EF4-FFF2-40B4-BE49-F238E27FC236}">
                <a16:creationId xmlns:a16="http://schemas.microsoft.com/office/drawing/2014/main" id="{3D42F83C-DCF0-48E4-BF7A-909020AF5DFC}"/>
              </a:ext>
            </a:extLst>
          </p:cNvPr>
          <p:cNvSpPr/>
          <p:nvPr/>
        </p:nvSpPr>
        <p:spPr>
          <a:xfrm>
            <a:off x="820154" y="1257676"/>
            <a:ext cx="1780171"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a:t>
            </a:r>
            <a:r>
              <a:rPr lang="en-US" sz="1200" b="1">
                <a:solidFill>
                  <a:prstClr val="white"/>
                </a:solidFill>
                <a:latin typeface="Calibri" panose="020F0502020204030204"/>
              </a:rPr>
              <a:t>4</a:t>
            </a:r>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1" name="Group 60">
            <a:extLst>
              <a:ext uri="{FF2B5EF4-FFF2-40B4-BE49-F238E27FC236}">
                <a16:creationId xmlns:a16="http://schemas.microsoft.com/office/drawing/2014/main" id="{78EB94CD-1095-4126-8716-A89389A65961}"/>
              </a:ext>
            </a:extLst>
          </p:cNvPr>
          <p:cNvGrpSpPr/>
          <p:nvPr/>
        </p:nvGrpSpPr>
        <p:grpSpPr>
          <a:xfrm>
            <a:off x="7292031" y="3770062"/>
            <a:ext cx="209548" cy="183266"/>
            <a:chOff x="1149350" y="-1619250"/>
            <a:chExt cx="374650" cy="328613"/>
          </a:xfrm>
          <a:solidFill>
            <a:schemeClr val="bg1"/>
          </a:solidFill>
        </p:grpSpPr>
        <p:sp>
          <p:nvSpPr>
            <p:cNvPr id="62" name="Oval 60833">
              <a:extLst>
                <a:ext uri="{FF2B5EF4-FFF2-40B4-BE49-F238E27FC236}">
                  <a16:creationId xmlns:a16="http://schemas.microsoft.com/office/drawing/2014/main" id="{D04E19AF-9A16-44B1-A4E8-6017A76F5522}"/>
                </a:ext>
              </a:extLst>
            </p:cNvPr>
            <p:cNvSpPr>
              <a:spLocks noChangeArrowheads="1"/>
            </p:cNvSpPr>
            <p:nvPr/>
          </p:nvSpPr>
          <p:spPr bwMode="auto">
            <a:xfrm>
              <a:off x="1341438" y="-1465263"/>
              <a:ext cx="58738" cy="58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3" name="Oval 60834">
              <a:extLst>
                <a:ext uri="{FF2B5EF4-FFF2-40B4-BE49-F238E27FC236}">
                  <a16:creationId xmlns:a16="http://schemas.microsoft.com/office/drawing/2014/main" id="{3234EBD3-82C5-49B0-97CA-2E8B61B77BC5}"/>
                </a:ext>
              </a:extLst>
            </p:cNvPr>
            <p:cNvSpPr>
              <a:spLocks noChangeArrowheads="1"/>
            </p:cNvSpPr>
            <p:nvPr/>
          </p:nvSpPr>
          <p:spPr bwMode="auto">
            <a:xfrm>
              <a:off x="1446213" y="-15652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4" name="Freeform 60835">
              <a:extLst>
                <a:ext uri="{FF2B5EF4-FFF2-40B4-BE49-F238E27FC236}">
                  <a16:creationId xmlns:a16="http://schemas.microsoft.com/office/drawing/2014/main" id="{7F24F43C-B9BC-42F3-9C64-45BE05479B71}"/>
                </a:ext>
              </a:extLst>
            </p:cNvPr>
            <p:cNvSpPr>
              <a:spLocks noEditPoints="1"/>
            </p:cNvSpPr>
            <p:nvPr/>
          </p:nvSpPr>
          <p:spPr bwMode="auto">
            <a:xfrm>
              <a:off x="1149350" y="-1619250"/>
              <a:ext cx="374650" cy="328613"/>
            </a:xfrm>
            <a:custGeom>
              <a:avLst/>
              <a:gdLst>
                <a:gd name="T0" fmla="*/ 70 w 100"/>
                <a:gd name="T1" fmla="*/ 57 h 85"/>
                <a:gd name="T2" fmla="*/ 79 w 100"/>
                <a:gd name="T3" fmla="*/ 24 h 85"/>
                <a:gd name="T4" fmla="*/ 83 w 100"/>
                <a:gd name="T5" fmla="*/ 11 h 85"/>
                <a:gd name="T6" fmla="*/ 67 w 100"/>
                <a:gd name="T7" fmla="*/ 35 h 85"/>
                <a:gd name="T8" fmla="*/ 37 w 100"/>
                <a:gd name="T9" fmla="*/ 12 h 85"/>
                <a:gd name="T10" fmla="*/ 32 w 100"/>
                <a:gd name="T11" fmla="*/ 0 h 85"/>
                <a:gd name="T12" fmla="*/ 35 w 100"/>
                <a:gd name="T13" fmla="*/ 14 h 85"/>
                <a:gd name="T14" fmla="*/ 44 w 100"/>
                <a:gd name="T15" fmla="*/ 43 h 85"/>
                <a:gd name="T16" fmla="*/ 7 w 100"/>
                <a:gd name="T17" fmla="*/ 26 h 85"/>
                <a:gd name="T18" fmla="*/ 7 w 100"/>
                <a:gd name="T19" fmla="*/ 40 h 85"/>
                <a:gd name="T20" fmla="*/ 44 w 100"/>
                <a:gd name="T21" fmla="*/ 45 h 85"/>
                <a:gd name="T22" fmla="*/ 22 w 100"/>
                <a:gd name="T23" fmla="*/ 73 h 85"/>
                <a:gd name="T24" fmla="*/ 9 w 100"/>
                <a:gd name="T25" fmla="*/ 77 h 85"/>
                <a:gd name="T26" fmla="*/ 23 w 100"/>
                <a:gd name="T27" fmla="*/ 75 h 85"/>
                <a:gd name="T28" fmla="*/ 47 w 100"/>
                <a:gd name="T29" fmla="*/ 57 h 85"/>
                <a:gd name="T30" fmla="*/ 87 w 100"/>
                <a:gd name="T31" fmla="*/ 75 h 85"/>
                <a:gd name="T32" fmla="*/ 100 w 100"/>
                <a:gd name="T33" fmla="*/ 78 h 85"/>
                <a:gd name="T34" fmla="*/ 77 w 100"/>
                <a:gd name="T35" fmla="*/ 18 h 85"/>
                <a:gd name="T36" fmla="*/ 88 w 100"/>
                <a:gd name="T37" fmla="*/ 18 h 85"/>
                <a:gd name="T38" fmla="*/ 77 w 100"/>
                <a:gd name="T39" fmla="*/ 18 h 85"/>
                <a:gd name="T40" fmla="*/ 27 w 100"/>
                <a:gd name="T41" fmla="*/ 7 h 85"/>
                <a:gd name="T42" fmla="*/ 38 w 100"/>
                <a:gd name="T43" fmla="*/ 7 h 85"/>
                <a:gd name="T44" fmla="*/ 7 w 100"/>
                <a:gd name="T45" fmla="*/ 38 h 85"/>
                <a:gd name="T46" fmla="*/ 7 w 100"/>
                <a:gd name="T47" fmla="*/ 27 h 85"/>
                <a:gd name="T48" fmla="*/ 7 w 100"/>
                <a:gd name="T49" fmla="*/ 38 h 85"/>
                <a:gd name="T50" fmla="*/ 11 w 100"/>
                <a:gd name="T51" fmla="*/ 77 h 85"/>
                <a:gd name="T52" fmla="*/ 22 w 100"/>
                <a:gd name="T53" fmla="*/ 77 h 85"/>
                <a:gd name="T54" fmla="*/ 59 w 100"/>
                <a:gd name="T55" fmla="*/ 59 h 85"/>
                <a:gd name="T56" fmla="*/ 59 w 100"/>
                <a:gd name="T57" fmla="*/ 36 h 85"/>
                <a:gd name="T58" fmla="*/ 59 w 100"/>
                <a:gd name="T59" fmla="*/ 59 h 85"/>
                <a:gd name="T60" fmla="*/ 87 w 100"/>
                <a:gd name="T61" fmla="*/ 78 h 85"/>
                <a:gd name="T62" fmla="*/ 98 w 100"/>
                <a:gd name="T63"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 h="85">
                  <a:moveTo>
                    <a:pt x="88" y="73"/>
                  </a:moveTo>
                  <a:cubicBezTo>
                    <a:pt x="70" y="57"/>
                    <a:pt x="70" y="57"/>
                    <a:pt x="70" y="57"/>
                  </a:cubicBezTo>
                  <a:cubicBezTo>
                    <a:pt x="76" y="51"/>
                    <a:pt x="75" y="42"/>
                    <a:pt x="69" y="36"/>
                  </a:cubicBezTo>
                  <a:cubicBezTo>
                    <a:pt x="79" y="24"/>
                    <a:pt x="79" y="24"/>
                    <a:pt x="79" y="24"/>
                  </a:cubicBezTo>
                  <a:cubicBezTo>
                    <a:pt x="84" y="26"/>
                    <a:pt x="90" y="23"/>
                    <a:pt x="90" y="18"/>
                  </a:cubicBezTo>
                  <a:cubicBezTo>
                    <a:pt x="90" y="14"/>
                    <a:pt x="86" y="11"/>
                    <a:pt x="83" y="11"/>
                  </a:cubicBezTo>
                  <a:cubicBezTo>
                    <a:pt x="77" y="11"/>
                    <a:pt x="73" y="18"/>
                    <a:pt x="77" y="22"/>
                  </a:cubicBezTo>
                  <a:cubicBezTo>
                    <a:pt x="67" y="35"/>
                    <a:pt x="67" y="35"/>
                    <a:pt x="67" y="35"/>
                  </a:cubicBezTo>
                  <a:cubicBezTo>
                    <a:pt x="62" y="32"/>
                    <a:pt x="56" y="31"/>
                    <a:pt x="52" y="34"/>
                  </a:cubicBezTo>
                  <a:cubicBezTo>
                    <a:pt x="37" y="12"/>
                    <a:pt x="37" y="12"/>
                    <a:pt x="37" y="12"/>
                  </a:cubicBezTo>
                  <a:cubicBezTo>
                    <a:pt x="39" y="11"/>
                    <a:pt x="39" y="9"/>
                    <a:pt x="39" y="7"/>
                  </a:cubicBezTo>
                  <a:cubicBezTo>
                    <a:pt x="39" y="3"/>
                    <a:pt x="36" y="0"/>
                    <a:pt x="32" y="0"/>
                  </a:cubicBezTo>
                  <a:cubicBezTo>
                    <a:pt x="29" y="0"/>
                    <a:pt x="25" y="3"/>
                    <a:pt x="25" y="7"/>
                  </a:cubicBezTo>
                  <a:cubicBezTo>
                    <a:pt x="25" y="12"/>
                    <a:pt x="31" y="16"/>
                    <a:pt x="35" y="14"/>
                  </a:cubicBezTo>
                  <a:cubicBezTo>
                    <a:pt x="49" y="35"/>
                    <a:pt x="49" y="35"/>
                    <a:pt x="49" y="35"/>
                  </a:cubicBezTo>
                  <a:cubicBezTo>
                    <a:pt x="47" y="37"/>
                    <a:pt x="45" y="40"/>
                    <a:pt x="44" y="43"/>
                  </a:cubicBezTo>
                  <a:cubicBezTo>
                    <a:pt x="14" y="34"/>
                    <a:pt x="14" y="34"/>
                    <a:pt x="14" y="34"/>
                  </a:cubicBezTo>
                  <a:cubicBezTo>
                    <a:pt x="14" y="30"/>
                    <a:pt x="11" y="26"/>
                    <a:pt x="7" y="26"/>
                  </a:cubicBezTo>
                  <a:cubicBezTo>
                    <a:pt x="3" y="26"/>
                    <a:pt x="0" y="29"/>
                    <a:pt x="0" y="33"/>
                  </a:cubicBezTo>
                  <a:cubicBezTo>
                    <a:pt x="0" y="37"/>
                    <a:pt x="3" y="40"/>
                    <a:pt x="7" y="40"/>
                  </a:cubicBezTo>
                  <a:cubicBezTo>
                    <a:pt x="9" y="40"/>
                    <a:pt x="12" y="38"/>
                    <a:pt x="13" y="36"/>
                  </a:cubicBezTo>
                  <a:cubicBezTo>
                    <a:pt x="44" y="45"/>
                    <a:pt x="44" y="45"/>
                    <a:pt x="44" y="45"/>
                  </a:cubicBezTo>
                  <a:cubicBezTo>
                    <a:pt x="43" y="49"/>
                    <a:pt x="44" y="53"/>
                    <a:pt x="46" y="56"/>
                  </a:cubicBezTo>
                  <a:cubicBezTo>
                    <a:pt x="22" y="73"/>
                    <a:pt x="22" y="73"/>
                    <a:pt x="22" y="73"/>
                  </a:cubicBezTo>
                  <a:cubicBezTo>
                    <a:pt x="20" y="71"/>
                    <a:pt x="18" y="70"/>
                    <a:pt x="16" y="70"/>
                  </a:cubicBezTo>
                  <a:cubicBezTo>
                    <a:pt x="13" y="70"/>
                    <a:pt x="9" y="73"/>
                    <a:pt x="9" y="77"/>
                  </a:cubicBezTo>
                  <a:cubicBezTo>
                    <a:pt x="9" y="81"/>
                    <a:pt x="13" y="84"/>
                    <a:pt x="16" y="84"/>
                  </a:cubicBezTo>
                  <a:cubicBezTo>
                    <a:pt x="21" y="84"/>
                    <a:pt x="25" y="79"/>
                    <a:pt x="23" y="75"/>
                  </a:cubicBezTo>
                  <a:cubicBezTo>
                    <a:pt x="48" y="58"/>
                    <a:pt x="48" y="58"/>
                    <a:pt x="48" y="58"/>
                  </a:cubicBezTo>
                  <a:cubicBezTo>
                    <a:pt x="47" y="57"/>
                    <a:pt x="47" y="57"/>
                    <a:pt x="47" y="57"/>
                  </a:cubicBezTo>
                  <a:cubicBezTo>
                    <a:pt x="52" y="63"/>
                    <a:pt x="62" y="64"/>
                    <a:pt x="68" y="59"/>
                  </a:cubicBezTo>
                  <a:cubicBezTo>
                    <a:pt x="87" y="75"/>
                    <a:pt x="87" y="75"/>
                    <a:pt x="87" y="75"/>
                  </a:cubicBezTo>
                  <a:cubicBezTo>
                    <a:pt x="84" y="79"/>
                    <a:pt x="87" y="85"/>
                    <a:pt x="93" y="85"/>
                  </a:cubicBezTo>
                  <a:cubicBezTo>
                    <a:pt x="97" y="85"/>
                    <a:pt x="100" y="82"/>
                    <a:pt x="100" y="78"/>
                  </a:cubicBezTo>
                  <a:cubicBezTo>
                    <a:pt x="100" y="73"/>
                    <a:pt x="93" y="69"/>
                    <a:pt x="88" y="73"/>
                  </a:cubicBezTo>
                  <a:close/>
                  <a:moveTo>
                    <a:pt x="77" y="18"/>
                  </a:moveTo>
                  <a:cubicBezTo>
                    <a:pt x="77" y="15"/>
                    <a:pt x="80" y="12"/>
                    <a:pt x="83" y="12"/>
                  </a:cubicBezTo>
                  <a:cubicBezTo>
                    <a:pt x="86" y="12"/>
                    <a:pt x="88" y="15"/>
                    <a:pt x="88" y="18"/>
                  </a:cubicBezTo>
                  <a:cubicBezTo>
                    <a:pt x="88" y="21"/>
                    <a:pt x="86" y="23"/>
                    <a:pt x="83" y="23"/>
                  </a:cubicBezTo>
                  <a:cubicBezTo>
                    <a:pt x="80" y="23"/>
                    <a:pt x="77" y="21"/>
                    <a:pt x="77" y="18"/>
                  </a:cubicBezTo>
                  <a:close/>
                  <a:moveTo>
                    <a:pt x="32" y="13"/>
                  </a:moveTo>
                  <a:cubicBezTo>
                    <a:pt x="29" y="13"/>
                    <a:pt x="27" y="10"/>
                    <a:pt x="27" y="7"/>
                  </a:cubicBezTo>
                  <a:cubicBezTo>
                    <a:pt x="27" y="4"/>
                    <a:pt x="29" y="2"/>
                    <a:pt x="32" y="2"/>
                  </a:cubicBezTo>
                  <a:cubicBezTo>
                    <a:pt x="35" y="2"/>
                    <a:pt x="38" y="4"/>
                    <a:pt x="38" y="7"/>
                  </a:cubicBezTo>
                  <a:cubicBezTo>
                    <a:pt x="38" y="10"/>
                    <a:pt x="35" y="13"/>
                    <a:pt x="32" y="13"/>
                  </a:cubicBezTo>
                  <a:close/>
                  <a:moveTo>
                    <a:pt x="7" y="38"/>
                  </a:moveTo>
                  <a:cubicBezTo>
                    <a:pt x="4" y="38"/>
                    <a:pt x="1" y="36"/>
                    <a:pt x="1" y="33"/>
                  </a:cubicBezTo>
                  <a:cubicBezTo>
                    <a:pt x="1" y="30"/>
                    <a:pt x="4" y="27"/>
                    <a:pt x="7" y="27"/>
                  </a:cubicBezTo>
                  <a:cubicBezTo>
                    <a:pt x="10" y="27"/>
                    <a:pt x="12" y="30"/>
                    <a:pt x="12" y="33"/>
                  </a:cubicBezTo>
                  <a:cubicBezTo>
                    <a:pt x="12" y="36"/>
                    <a:pt x="10" y="38"/>
                    <a:pt x="7" y="38"/>
                  </a:cubicBezTo>
                  <a:close/>
                  <a:moveTo>
                    <a:pt x="16" y="83"/>
                  </a:moveTo>
                  <a:cubicBezTo>
                    <a:pt x="13" y="83"/>
                    <a:pt x="11" y="80"/>
                    <a:pt x="11" y="77"/>
                  </a:cubicBezTo>
                  <a:cubicBezTo>
                    <a:pt x="11" y="74"/>
                    <a:pt x="13" y="72"/>
                    <a:pt x="16" y="72"/>
                  </a:cubicBezTo>
                  <a:cubicBezTo>
                    <a:pt x="19" y="72"/>
                    <a:pt x="22" y="74"/>
                    <a:pt x="22" y="77"/>
                  </a:cubicBezTo>
                  <a:cubicBezTo>
                    <a:pt x="22" y="80"/>
                    <a:pt x="19" y="83"/>
                    <a:pt x="16" y="83"/>
                  </a:cubicBezTo>
                  <a:close/>
                  <a:moveTo>
                    <a:pt x="59" y="59"/>
                  </a:moveTo>
                  <a:cubicBezTo>
                    <a:pt x="52" y="59"/>
                    <a:pt x="47" y="54"/>
                    <a:pt x="47" y="47"/>
                  </a:cubicBezTo>
                  <a:cubicBezTo>
                    <a:pt x="47" y="41"/>
                    <a:pt x="52" y="36"/>
                    <a:pt x="59" y="36"/>
                  </a:cubicBezTo>
                  <a:cubicBezTo>
                    <a:pt x="65" y="36"/>
                    <a:pt x="71" y="41"/>
                    <a:pt x="71" y="47"/>
                  </a:cubicBezTo>
                  <a:cubicBezTo>
                    <a:pt x="71" y="54"/>
                    <a:pt x="65" y="59"/>
                    <a:pt x="59" y="59"/>
                  </a:cubicBezTo>
                  <a:close/>
                  <a:moveTo>
                    <a:pt x="93" y="84"/>
                  </a:moveTo>
                  <a:cubicBezTo>
                    <a:pt x="90" y="84"/>
                    <a:pt x="87" y="81"/>
                    <a:pt x="87" y="78"/>
                  </a:cubicBezTo>
                  <a:cubicBezTo>
                    <a:pt x="87" y="75"/>
                    <a:pt x="90" y="73"/>
                    <a:pt x="93" y="73"/>
                  </a:cubicBezTo>
                  <a:cubicBezTo>
                    <a:pt x="96" y="73"/>
                    <a:pt x="98" y="75"/>
                    <a:pt x="98" y="78"/>
                  </a:cubicBezTo>
                  <a:cubicBezTo>
                    <a:pt x="98" y="81"/>
                    <a:pt x="96" y="84"/>
                    <a:pt x="9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5" name="Oval 60836">
              <a:extLst>
                <a:ext uri="{FF2B5EF4-FFF2-40B4-BE49-F238E27FC236}">
                  <a16:creationId xmlns:a16="http://schemas.microsoft.com/office/drawing/2014/main" id="{058B4A9E-7115-4ECB-984F-512ADB31769D}"/>
                </a:ext>
              </a:extLst>
            </p:cNvPr>
            <p:cNvSpPr>
              <a:spLocks noChangeArrowheads="1"/>
            </p:cNvSpPr>
            <p:nvPr/>
          </p:nvSpPr>
          <p:spPr bwMode="auto">
            <a:xfrm>
              <a:off x="1482725" y="-13303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6" name="Oval 60837">
              <a:extLst>
                <a:ext uri="{FF2B5EF4-FFF2-40B4-BE49-F238E27FC236}">
                  <a16:creationId xmlns:a16="http://schemas.microsoft.com/office/drawing/2014/main" id="{456E5C91-DEEF-431F-9427-466EBD202453}"/>
                </a:ext>
              </a:extLst>
            </p:cNvPr>
            <p:cNvSpPr>
              <a:spLocks noChangeArrowheads="1"/>
            </p:cNvSpPr>
            <p:nvPr/>
          </p:nvSpPr>
          <p:spPr bwMode="auto">
            <a:xfrm>
              <a:off x="1198563" y="-1333500"/>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7" name="Oval 60838">
              <a:extLst>
                <a:ext uri="{FF2B5EF4-FFF2-40B4-BE49-F238E27FC236}">
                  <a16:creationId xmlns:a16="http://schemas.microsoft.com/office/drawing/2014/main" id="{9DA856AD-2BF4-42B8-888C-2AA2EB6A854B}"/>
                </a:ext>
              </a:extLst>
            </p:cNvPr>
            <p:cNvSpPr>
              <a:spLocks noChangeArrowheads="1"/>
            </p:cNvSpPr>
            <p:nvPr/>
          </p:nvSpPr>
          <p:spPr bwMode="auto">
            <a:xfrm>
              <a:off x="1160463" y="-15081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8" name="Oval 60839">
              <a:extLst>
                <a:ext uri="{FF2B5EF4-FFF2-40B4-BE49-F238E27FC236}">
                  <a16:creationId xmlns:a16="http://schemas.microsoft.com/office/drawing/2014/main" id="{E9424620-7FA3-4847-89B6-4DAC4E7F08D8}"/>
                </a:ext>
              </a:extLst>
            </p:cNvPr>
            <p:cNvSpPr>
              <a:spLocks noChangeArrowheads="1"/>
            </p:cNvSpPr>
            <p:nvPr/>
          </p:nvSpPr>
          <p:spPr bwMode="auto">
            <a:xfrm>
              <a:off x="1258888" y="-16033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grpSp>
      <p:grpSp>
        <p:nvGrpSpPr>
          <p:cNvPr id="9" name="Group 8">
            <a:extLst>
              <a:ext uri="{FF2B5EF4-FFF2-40B4-BE49-F238E27FC236}">
                <a16:creationId xmlns:a16="http://schemas.microsoft.com/office/drawing/2014/main" id="{5FAD59F5-D31A-4667-8A41-5809679A2FB4}"/>
              </a:ext>
            </a:extLst>
          </p:cNvPr>
          <p:cNvGrpSpPr/>
          <p:nvPr/>
        </p:nvGrpSpPr>
        <p:grpSpPr>
          <a:xfrm>
            <a:off x="820138" y="1657932"/>
            <a:ext cx="941988" cy="2937973"/>
            <a:chOff x="820137" y="1734132"/>
            <a:chExt cx="1218149" cy="2937973"/>
          </a:xfrm>
        </p:grpSpPr>
        <p:sp>
          <p:nvSpPr>
            <p:cNvPr id="3" name="Rectangle 2">
              <a:extLst>
                <a:ext uri="{FF2B5EF4-FFF2-40B4-BE49-F238E27FC236}">
                  <a16:creationId xmlns:a16="http://schemas.microsoft.com/office/drawing/2014/main" id="{C05B8C25-F0DA-4399-B55A-AE66A373AF1E}"/>
                </a:ext>
              </a:extLst>
            </p:cNvPr>
            <p:cNvSpPr/>
            <p:nvPr/>
          </p:nvSpPr>
          <p:spPr>
            <a:xfrm>
              <a:off x="838310" y="1734132"/>
              <a:ext cx="1199976" cy="1338464"/>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A60197FE-1894-45BD-A453-779621B3CEAA}"/>
                </a:ext>
              </a:extLst>
            </p:cNvPr>
            <p:cNvSpPr/>
            <p:nvPr/>
          </p:nvSpPr>
          <p:spPr>
            <a:xfrm>
              <a:off x="838311" y="1734133"/>
              <a:ext cx="1199975"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Owner (s)</a:t>
              </a:r>
            </a:p>
          </p:txBody>
        </p:sp>
        <p:sp>
          <p:nvSpPr>
            <p:cNvPr id="34" name="TextBox 33">
              <a:extLst>
                <a:ext uri="{FF2B5EF4-FFF2-40B4-BE49-F238E27FC236}">
                  <a16:creationId xmlns:a16="http://schemas.microsoft.com/office/drawing/2014/main" id="{7212C24E-EDB2-4549-B3DA-085417606D8B}"/>
                </a:ext>
              </a:extLst>
            </p:cNvPr>
            <p:cNvSpPr txBox="1"/>
            <p:nvPr/>
          </p:nvSpPr>
          <p:spPr>
            <a:xfrm>
              <a:off x="852353" y="2028077"/>
              <a:ext cx="1109797" cy="769441"/>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CTO, Global research and insight teams</a:t>
              </a:r>
            </a:p>
          </p:txBody>
        </p:sp>
        <p:pic>
          <p:nvPicPr>
            <p:cNvPr id="51" name="Graphic 50" descr="User">
              <a:extLst>
                <a:ext uri="{FF2B5EF4-FFF2-40B4-BE49-F238E27FC236}">
                  <a16:creationId xmlns:a16="http://schemas.microsoft.com/office/drawing/2014/main" id="{80428B59-E0A7-4DB4-84D7-4747FE03963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20155" y="1734770"/>
              <a:ext cx="293219" cy="293219"/>
            </a:xfrm>
            <a:prstGeom prst="rect">
              <a:avLst/>
            </a:prstGeom>
          </p:spPr>
        </p:pic>
        <p:sp>
          <p:nvSpPr>
            <p:cNvPr id="69" name="Rectangle 68">
              <a:extLst>
                <a:ext uri="{FF2B5EF4-FFF2-40B4-BE49-F238E27FC236}">
                  <a16:creationId xmlns:a16="http://schemas.microsoft.com/office/drawing/2014/main" id="{5E0017BF-BCFA-4276-9DB3-D436F8FBC6CF}"/>
                </a:ext>
              </a:extLst>
            </p:cNvPr>
            <p:cNvSpPr/>
            <p:nvPr/>
          </p:nvSpPr>
          <p:spPr>
            <a:xfrm>
              <a:off x="820137" y="3225988"/>
              <a:ext cx="1198418" cy="144611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DBCAD89-3EBD-41C5-88C3-FCF5F4AA1EF8}"/>
                </a:ext>
              </a:extLst>
            </p:cNvPr>
            <p:cNvSpPr/>
            <p:nvPr/>
          </p:nvSpPr>
          <p:spPr>
            <a:xfrm>
              <a:off x="837403" y="3176368"/>
              <a:ext cx="1181152"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Required </a:t>
              </a:r>
            </a:p>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budget</a:t>
              </a:r>
            </a:p>
          </p:txBody>
        </p:sp>
        <p:pic>
          <p:nvPicPr>
            <p:cNvPr id="71" name="Picture 70">
              <a:extLst>
                <a:ext uri="{FF2B5EF4-FFF2-40B4-BE49-F238E27FC236}">
                  <a16:creationId xmlns:a16="http://schemas.microsoft.com/office/drawing/2014/main" id="{E3C4C210-1727-4B58-B28E-6980255156FB}"/>
                </a:ext>
              </a:extLst>
            </p:cNvPr>
            <p:cNvPicPr>
              <a:picLocks noChangeAspect="1"/>
            </p:cNvPicPr>
            <p:nvPr/>
          </p:nvPicPr>
          <p:blipFill>
            <a:blip r:embed="rId13"/>
            <a:stretch>
              <a:fillRect/>
            </a:stretch>
          </p:blipFill>
          <p:spPr>
            <a:xfrm>
              <a:off x="888185" y="3202454"/>
              <a:ext cx="254144" cy="234923"/>
            </a:xfrm>
            <a:prstGeom prst="rect">
              <a:avLst/>
            </a:prstGeom>
          </p:spPr>
        </p:pic>
      </p:grpSp>
      <p:pic>
        <p:nvPicPr>
          <p:cNvPr id="54" name="Picture 53">
            <a:extLst>
              <a:ext uri="{FF2B5EF4-FFF2-40B4-BE49-F238E27FC236}">
                <a16:creationId xmlns:a16="http://schemas.microsoft.com/office/drawing/2014/main" id="{69370E89-4914-44C2-8CFB-09F338E1F4D4}"/>
              </a:ext>
            </a:extLst>
          </p:cNvPr>
          <p:cNvPicPr>
            <a:picLocks noChangeAspect="1"/>
          </p:cNvPicPr>
          <p:nvPr/>
        </p:nvPicPr>
        <p:blipFill>
          <a:blip r:embed="rId14"/>
          <a:stretch>
            <a:fillRect/>
          </a:stretch>
        </p:blipFill>
        <p:spPr>
          <a:xfrm>
            <a:off x="10853731" y="89663"/>
            <a:ext cx="1183415" cy="552971"/>
          </a:xfrm>
          <a:prstGeom prst="rect">
            <a:avLst/>
          </a:prstGeom>
        </p:spPr>
      </p:pic>
      <p:sp>
        <p:nvSpPr>
          <p:cNvPr id="53" name="Flowchart: Preparation 52">
            <a:extLst>
              <a:ext uri="{FF2B5EF4-FFF2-40B4-BE49-F238E27FC236}">
                <a16:creationId xmlns:a16="http://schemas.microsoft.com/office/drawing/2014/main" id="{14ED4B1B-5A77-444A-9999-F3D5F3500886}"/>
              </a:ext>
            </a:extLst>
          </p:cNvPr>
          <p:cNvSpPr/>
          <p:nvPr/>
        </p:nvSpPr>
        <p:spPr>
          <a:xfrm rot="20421027">
            <a:off x="26435" y="126539"/>
            <a:ext cx="525497" cy="248232"/>
          </a:xfrm>
          <a:prstGeom prst="flowChartPreparation">
            <a:avLst/>
          </a:prstGeom>
          <a:solidFill>
            <a:schemeClr val="accent4"/>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WIP</a:t>
            </a:r>
          </a:p>
        </p:txBody>
      </p:sp>
      <p:sp>
        <p:nvSpPr>
          <p:cNvPr id="8" name="Oval 7">
            <a:extLst>
              <a:ext uri="{FF2B5EF4-FFF2-40B4-BE49-F238E27FC236}">
                <a16:creationId xmlns:a16="http://schemas.microsoft.com/office/drawing/2014/main" id="{A42495AB-424A-4CC9-81E9-B3B20A9B6522}"/>
              </a:ext>
            </a:extLst>
          </p:cNvPr>
          <p:cNvSpPr/>
          <p:nvPr/>
        </p:nvSpPr>
        <p:spPr>
          <a:xfrm>
            <a:off x="4857870" y="2519911"/>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52" name="Oval 51">
            <a:extLst>
              <a:ext uri="{FF2B5EF4-FFF2-40B4-BE49-F238E27FC236}">
                <a16:creationId xmlns:a16="http://schemas.microsoft.com/office/drawing/2014/main" id="{5114129A-91B1-4810-A2D3-2AF747B0A096}"/>
              </a:ext>
            </a:extLst>
          </p:cNvPr>
          <p:cNvSpPr/>
          <p:nvPr/>
        </p:nvSpPr>
        <p:spPr>
          <a:xfrm>
            <a:off x="2873477" y="2681873"/>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55" name="Oval 54">
            <a:extLst>
              <a:ext uri="{FF2B5EF4-FFF2-40B4-BE49-F238E27FC236}">
                <a16:creationId xmlns:a16="http://schemas.microsoft.com/office/drawing/2014/main" id="{E9A5CCCE-D75D-4917-8066-31F9EDE07D99}"/>
              </a:ext>
            </a:extLst>
          </p:cNvPr>
          <p:cNvSpPr/>
          <p:nvPr/>
        </p:nvSpPr>
        <p:spPr>
          <a:xfrm>
            <a:off x="4281977" y="2678652"/>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73" name="Oval 72">
            <a:extLst>
              <a:ext uri="{FF2B5EF4-FFF2-40B4-BE49-F238E27FC236}">
                <a16:creationId xmlns:a16="http://schemas.microsoft.com/office/drawing/2014/main" id="{B4C18C07-A02F-4687-BBB1-FFC65AF006F9}"/>
              </a:ext>
            </a:extLst>
          </p:cNvPr>
          <p:cNvSpPr/>
          <p:nvPr/>
        </p:nvSpPr>
        <p:spPr>
          <a:xfrm>
            <a:off x="1919237" y="5160309"/>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74" name="Oval 73">
            <a:extLst>
              <a:ext uri="{FF2B5EF4-FFF2-40B4-BE49-F238E27FC236}">
                <a16:creationId xmlns:a16="http://schemas.microsoft.com/office/drawing/2014/main" id="{9DBE4B27-1477-472F-98F4-F6F4A92AFC7C}"/>
              </a:ext>
            </a:extLst>
          </p:cNvPr>
          <p:cNvSpPr/>
          <p:nvPr/>
        </p:nvSpPr>
        <p:spPr>
          <a:xfrm>
            <a:off x="2575115" y="5798847"/>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75" name="Oval 74">
            <a:extLst>
              <a:ext uri="{FF2B5EF4-FFF2-40B4-BE49-F238E27FC236}">
                <a16:creationId xmlns:a16="http://schemas.microsoft.com/office/drawing/2014/main" id="{80B904C6-F8DF-422F-9C6F-CC0F7AAC23E7}"/>
              </a:ext>
            </a:extLst>
          </p:cNvPr>
          <p:cNvSpPr/>
          <p:nvPr/>
        </p:nvSpPr>
        <p:spPr>
          <a:xfrm>
            <a:off x="2145791" y="6284362"/>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76" name="Oval 75">
            <a:extLst>
              <a:ext uri="{FF2B5EF4-FFF2-40B4-BE49-F238E27FC236}">
                <a16:creationId xmlns:a16="http://schemas.microsoft.com/office/drawing/2014/main" id="{8205D8EF-BA23-48A3-9752-70CEEF10C9F3}"/>
              </a:ext>
            </a:extLst>
          </p:cNvPr>
          <p:cNvSpPr/>
          <p:nvPr/>
        </p:nvSpPr>
        <p:spPr>
          <a:xfrm>
            <a:off x="2301977" y="5474713"/>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77" name="Oval 76">
            <a:extLst>
              <a:ext uri="{FF2B5EF4-FFF2-40B4-BE49-F238E27FC236}">
                <a16:creationId xmlns:a16="http://schemas.microsoft.com/office/drawing/2014/main" id="{697235F1-2919-4144-81A2-D5AB53A688A5}"/>
              </a:ext>
            </a:extLst>
          </p:cNvPr>
          <p:cNvSpPr/>
          <p:nvPr/>
        </p:nvSpPr>
        <p:spPr>
          <a:xfrm>
            <a:off x="3124565" y="5314083"/>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pic>
        <p:nvPicPr>
          <p:cNvPr id="82" name="Graphic 81" descr="Hourglass">
            <a:extLst>
              <a:ext uri="{FF2B5EF4-FFF2-40B4-BE49-F238E27FC236}">
                <a16:creationId xmlns:a16="http://schemas.microsoft.com/office/drawing/2014/main" id="{6DC0D363-BDC1-4D78-A8E2-51F7D6A6B5E7}"/>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615280" y="4661373"/>
            <a:ext cx="252240" cy="200564"/>
          </a:xfrm>
          <a:prstGeom prst="rect">
            <a:avLst/>
          </a:prstGeom>
        </p:spPr>
      </p:pic>
      <p:grpSp>
        <p:nvGrpSpPr>
          <p:cNvPr id="89" name="Group 88">
            <a:extLst>
              <a:ext uri="{FF2B5EF4-FFF2-40B4-BE49-F238E27FC236}">
                <a16:creationId xmlns:a16="http://schemas.microsoft.com/office/drawing/2014/main" id="{61A5B9A5-8BCC-40E2-90FA-F5964E0C948E}"/>
              </a:ext>
            </a:extLst>
          </p:cNvPr>
          <p:cNvGrpSpPr/>
          <p:nvPr/>
        </p:nvGrpSpPr>
        <p:grpSpPr>
          <a:xfrm>
            <a:off x="2806802" y="6556481"/>
            <a:ext cx="3417018" cy="246221"/>
            <a:chOff x="1990724" y="6364860"/>
            <a:chExt cx="3417018" cy="246221"/>
          </a:xfrm>
        </p:grpSpPr>
        <p:sp>
          <p:nvSpPr>
            <p:cNvPr id="90" name="Oval 89">
              <a:extLst>
                <a:ext uri="{FF2B5EF4-FFF2-40B4-BE49-F238E27FC236}">
                  <a16:creationId xmlns:a16="http://schemas.microsoft.com/office/drawing/2014/main" id="{A402DC10-9E6F-424C-9770-E914B0A77067}"/>
                </a:ext>
              </a:extLst>
            </p:cNvPr>
            <p:cNvSpPr/>
            <p:nvPr/>
          </p:nvSpPr>
          <p:spPr>
            <a:xfrm>
              <a:off x="1990724" y="6409427"/>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91" name="TextBox 90">
              <a:extLst>
                <a:ext uri="{FF2B5EF4-FFF2-40B4-BE49-F238E27FC236}">
                  <a16:creationId xmlns:a16="http://schemas.microsoft.com/office/drawing/2014/main" id="{1015DEC9-7D1C-4EBA-8BAF-759D03841070}"/>
                </a:ext>
              </a:extLst>
            </p:cNvPr>
            <p:cNvSpPr txBox="1"/>
            <p:nvPr/>
          </p:nvSpPr>
          <p:spPr>
            <a:xfrm>
              <a:off x="2095499" y="6364860"/>
              <a:ext cx="3312243" cy="246221"/>
            </a:xfrm>
            <a:prstGeom prst="rect">
              <a:avLst/>
            </a:prstGeom>
            <a:noFill/>
          </p:spPr>
          <p:txBody>
            <a:bodyPr wrap="square">
              <a:spAutoFit/>
            </a:bodyPr>
            <a:lstStyle/>
            <a:p>
              <a:r>
                <a:rPr lang="en-US" sz="1000"/>
                <a:t>Commercial strategy &amp; analytics to identify opportunities</a:t>
              </a:r>
            </a:p>
          </p:txBody>
        </p:sp>
      </p:grpSp>
      <p:grpSp>
        <p:nvGrpSpPr>
          <p:cNvPr id="92" name="Group 91">
            <a:extLst>
              <a:ext uri="{FF2B5EF4-FFF2-40B4-BE49-F238E27FC236}">
                <a16:creationId xmlns:a16="http://schemas.microsoft.com/office/drawing/2014/main" id="{D83C187B-DE2E-4B9C-BE46-20EFB59B3C1A}"/>
              </a:ext>
            </a:extLst>
          </p:cNvPr>
          <p:cNvGrpSpPr/>
          <p:nvPr/>
        </p:nvGrpSpPr>
        <p:grpSpPr>
          <a:xfrm>
            <a:off x="6149669" y="6556481"/>
            <a:ext cx="1645142" cy="246221"/>
            <a:chOff x="4537058" y="6372401"/>
            <a:chExt cx="1645142" cy="246221"/>
          </a:xfrm>
        </p:grpSpPr>
        <p:sp>
          <p:nvSpPr>
            <p:cNvPr id="93" name="Oval 92">
              <a:extLst>
                <a:ext uri="{FF2B5EF4-FFF2-40B4-BE49-F238E27FC236}">
                  <a16:creationId xmlns:a16="http://schemas.microsoft.com/office/drawing/2014/main" id="{F58DF08D-8151-4D3F-B62E-6ACF937F992F}"/>
                </a:ext>
              </a:extLst>
            </p:cNvPr>
            <p:cNvSpPr/>
            <p:nvPr/>
          </p:nvSpPr>
          <p:spPr>
            <a:xfrm>
              <a:off x="4537058"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94" name="TextBox 93">
              <a:extLst>
                <a:ext uri="{FF2B5EF4-FFF2-40B4-BE49-F238E27FC236}">
                  <a16:creationId xmlns:a16="http://schemas.microsoft.com/office/drawing/2014/main" id="{824D8844-D1B8-4F69-ADD4-10A85A7878A3}"/>
                </a:ext>
              </a:extLst>
            </p:cNvPr>
            <p:cNvSpPr txBox="1"/>
            <p:nvPr/>
          </p:nvSpPr>
          <p:spPr>
            <a:xfrm>
              <a:off x="4689458" y="6372401"/>
              <a:ext cx="1492742" cy="246221"/>
            </a:xfrm>
            <a:prstGeom prst="rect">
              <a:avLst/>
            </a:prstGeom>
            <a:noFill/>
          </p:spPr>
          <p:txBody>
            <a:bodyPr wrap="square">
              <a:spAutoFit/>
            </a:bodyPr>
            <a:lstStyle>
              <a:defPPr>
                <a:defRPr lang="en-US"/>
              </a:defPPr>
              <a:lvl1pPr>
                <a:defRPr sz="1000"/>
              </a:lvl1pPr>
            </a:lstStyle>
            <a:p>
              <a:r>
                <a:rPr lang="en-US"/>
                <a:t>Eliminate manual work</a:t>
              </a:r>
            </a:p>
          </p:txBody>
        </p:sp>
      </p:grpSp>
      <p:grpSp>
        <p:nvGrpSpPr>
          <p:cNvPr id="95" name="Group 94">
            <a:extLst>
              <a:ext uri="{FF2B5EF4-FFF2-40B4-BE49-F238E27FC236}">
                <a16:creationId xmlns:a16="http://schemas.microsoft.com/office/drawing/2014/main" id="{5845AAFA-7228-4AA1-AA47-6FD27BB55EE8}"/>
              </a:ext>
            </a:extLst>
          </p:cNvPr>
          <p:cNvGrpSpPr/>
          <p:nvPr/>
        </p:nvGrpSpPr>
        <p:grpSpPr>
          <a:xfrm>
            <a:off x="7729368" y="6556481"/>
            <a:ext cx="1442714" cy="246221"/>
            <a:chOff x="7131015" y="6364314"/>
            <a:chExt cx="1442714" cy="246221"/>
          </a:xfrm>
        </p:grpSpPr>
        <p:sp>
          <p:nvSpPr>
            <p:cNvPr id="96" name="Oval 95">
              <a:extLst>
                <a:ext uri="{FF2B5EF4-FFF2-40B4-BE49-F238E27FC236}">
                  <a16:creationId xmlns:a16="http://schemas.microsoft.com/office/drawing/2014/main" id="{3519C138-CA53-4CD8-A938-CF6046D02C3A}"/>
                </a:ext>
              </a:extLst>
            </p:cNvPr>
            <p:cNvSpPr/>
            <p:nvPr/>
          </p:nvSpPr>
          <p:spPr>
            <a:xfrm>
              <a:off x="7131015"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97" name="TextBox 96">
              <a:extLst>
                <a:ext uri="{FF2B5EF4-FFF2-40B4-BE49-F238E27FC236}">
                  <a16:creationId xmlns:a16="http://schemas.microsoft.com/office/drawing/2014/main" id="{38BB77C4-07FB-4A0F-8B12-D9B286FF760D}"/>
                </a:ext>
              </a:extLst>
            </p:cNvPr>
            <p:cNvSpPr txBox="1"/>
            <p:nvPr/>
          </p:nvSpPr>
          <p:spPr>
            <a:xfrm>
              <a:off x="7283415" y="6364314"/>
              <a:ext cx="1290314" cy="246221"/>
            </a:xfrm>
            <a:prstGeom prst="rect">
              <a:avLst/>
            </a:prstGeom>
            <a:noFill/>
          </p:spPr>
          <p:txBody>
            <a:bodyPr wrap="square">
              <a:spAutoFit/>
            </a:bodyPr>
            <a:lstStyle>
              <a:defPPr>
                <a:defRPr lang="en-US"/>
              </a:defPPr>
              <a:lvl1pPr>
                <a:defRPr sz="1000"/>
              </a:lvl1pPr>
            </a:lstStyle>
            <a:p>
              <a:r>
                <a:rPr lang="en-US"/>
                <a:t>Measuring success</a:t>
              </a:r>
            </a:p>
          </p:txBody>
        </p:sp>
      </p:grpSp>
      <p:sp>
        <p:nvSpPr>
          <p:cNvPr id="98" name="TextBox 97">
            <a:extLst>
              <a:ext uri="{FF2B5EF4-FFF2-40B4-BE49-F238E27FC236}">
                <a16:creationId xmlns:a16="http://schemas.microsoft.com/office/drawing/2014/main" id="{E2D32709-9182-49C7-B6EF-BADEF23ECF76}"/>
              </a:ext>
            </a:extLst>
          </p:cNvPr>
          <p:cNvSpPr txBox="1"/>
          <p:nvPr/>
        </p:nvSpPr>
        <p:spPr>
          <a:xfrm>
            <a:off x="717448" y="6540479"/>
            <a:ext cx="2089355" cy="246221"/>
          </a:xfrm>
          <a:prstGeom prst="rect">
            <a:avLst/>
          </a:prstGeom>
          <a:noFill/>
        </p:spPr>
        <p:txBody>
          <a:bodyPr wrap="square">
            <a:spAutoFit/>
          </a:bodyPr>
          <a:lstStyle/>
          <a:p>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Global research and insight strategy </a:t>
            </a:r>
            <a:endParaRPr lang="en-US" sz="1000" b="1"/>
          </a:p>
        </p:txBody>
      </p:sp>
      <p:sp>
        <p:nvSpPr>
          <p:cNvPr id="99" name="Oval 98">
            <a:extLst>
              <a:ext uri="{FF2B5EF4-FFF2-40B4-BE49-F238E27FC236}">
                <a16:creationId xmlns:a16="http://schemas.microsoft.com/office/drawing/2014/main" id="{693FC048-9049-4807-845A-A38C63C00C0F}"/>
              </a:ext>
            </a:extLst>
          </p:cNvPr>
          <p:cNvSpPr/>
          <p:nvPr/>
        </p:nvSpPr>
        <p:spPr>
          <a:xfrm>
            <a:off x="9165030" y="6603076"/>
            <a:ext cx="152400" cy="15303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a:t>
            </a:r>
          </a:p>
        </p:txBody>
      </p:sp>
      <p:sp>
        <p:nvSpPr>
          <p:cNvPr id="100" name="TextBox 99">
            <a:extLst>
              <a:ext uri="{FF2B5EF4-FFF2-40B4-BE49-F238E27FC236}">
                <a16:creationId xmlns:a16="http://schemas.microsoft.com/office/drawing/2014/main" id="{8AD1A4CE-D75D-477A-B30B-BAF59F9EF594}"/>
              </a:ext>
            </a:extLst>
          </p:cNvPr>
          <p:cNvSpPr txBox="1"/>
          <p:nvPr/>
        </p:nvSpPr>
        <p:spPr>
          <a:xfrm>
            <a:off x="9374812" y="6602647"/>
            <a:ext cx="382949" cy="153888"/>
          </a:xfrm>
          <a:prstGeom prst="rect">
            <a:avLst/>
          </a:prstGeom>
        </p:spPr>
        <p:txBody>
          <a:bodyPr wrap="square" lIns="0" tIns="0" rIns="0" bIns="0" rtlCol="0" anchor="t" anchorCtr="0">
            <a:spAutoFit/>
          </a:bodyPr>
          <a:lstStyle/>
          <a:p>
            <a:r>
              <a:rPr lang="en-US" sz="1000"/>
              <a:t>Other</a:t>
            </a:r>
            <a:endParaRPr lang="en-US" sz="1000">
              <a:solidFill>
                <a:schemeClr val="tx1"/>
              </a:solidFill>
            </a:endParaRPr>
          </a:p>
        </p:txBody>
      </p:sp>
      <p:sp>
        <p:nvSpPr>
          <p:cNvPr id="109" name="Oval 108">
            <a:extLst>
              <a:ext uri="{FF2B5EF4-FFF2-40B4-BE49-F238E27FC236}">
                <a16:creationId xmlns:a16="http://schemas.microsoft.com/office/drawing/2014/main" id="{17206696-4F7A-4DC6-B15C-73127A345BED}"/>
              </a:ext>
            </a:extLst>
          </p:cNvPr>
          <p:cNvSpPr/>
          <p:nvPr/>
        </p:nvSpPr>
        <p:spPr>
          <a:xfrm>
            <a:off x="4926455" y="5296142"/>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110" name="Oval 109">
            <a:extLst>
              <a:ext uri="{FF2B5EF4-FFF2-40B4-BE49-F238E27FC236}">
                <a16:creationId xmlns:a16="http://schemas.microsoft.com/office/drawing/2014/main" id="{A598964F-1294-4B05-9397-1C50AC075986}"/>
              </a:ext>
            </a:extLst>
          </p:cNvPr>
          <p:cNvSpPr/>
          <p:nvPr/>
        </p:nvSpPr>
        <p:spPr>
          <a:xfrm>
            <a:off x="5087701" y="5296142"/>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111" name="Oval 110">
            <a:extLst>
              <a:ext uri="{FF2B5EF4-FFF2-40B4-BE49-F238E27FC236}">
                <a16:creationId xmlns:a16="http://schemas.microsoft.com/office/drawing/2014/main" id="{8B15107E-AA1D-49A8-83BD-3EFC154D899A}"/>
              </a:ext>
            </a:extLst>
          </p:cNvPr>
          <p:cNvSpPr/>
          <p:nvPr/>
        </p:nvSpPr>
        <p:spPr>
          <a:xfrm>
            <a:off x="5248947" y="5296142"/>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112" name="Oval 111">
            <a:extLst>
              <a:ext uri="{FF2B5EF4-FFF2-40B4-BE49-F238E27FC236}">
                <a16:creationId xmlns:a16="http://schemas.microsoft.com/office/drawing/2014/main" id="{BDB11A0B-4460-4D5D-8CD8-9A85BA28ABBA}"/>
              </a:ext>
            </a:extLst>
          </p:cNvPr>
          <p:cNvSpPr/>
          <p:nvPr/>
        </p:nvSpPr>
        <p:spPr>
          <a:xfrm>
            <a:off x="4945505" y="6086717"/>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113" name="Oval 112">
            <a:extLst>
              <a:ext uri="{FF2B5EF4-FFF2-40B4-BE49-F238E27FC236}">
                <a16:creationId xmlns:a16="http://schemas.microsoft.com/office/drawing/2014/main" id="{A3BA1997-E004-443B-83F9-DC6C819FBE59}"/>
              </a:ext>
            </a:extLst>
          </p:cNvPr>
          <p:cNvSpPr/>
          <p:nvPr/>
        </p:nvSpPr>
        <p:spPr>
          <a:xfrm>
            <a:off x="5106751" y="6086717"/>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114" name="Oval 113">
            <a:extLst>
              <a:ext uri="{FF2B5EF4-FFF2-40B4-BE49-F238E27FC236}">
                <a16:creationId xmlns:a16="http://schemas.microsoft.com/office/drawing/2014/main" id="{E2EFBB54-8749-4357-A524-69857AE4190F}"/>
              </a:ext>
            </a:extLst>
          </p:cNvPr>
          <p:cNvSpPr/>
          <p:nvPr/>
        </p:nvSpPr>
        <p:spPr>
          <a:xfrm>
            <a:off x="5267997" y="6086717"/>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115" name="Oval 114">
            <a:extLst>
              <a:ext uri="{FF2B5EF4-FFF2-40B4-BE49-F238E27FC236}">
                <a16:creationId xmlns:a16="http://schemas.microsoft.com/office/drawing/2014/main" id="{CB578B3A-B0E7-4904-B026-3FEA3E2D620E}"/>
              </a:ext>
            </a:extLst>
          </p:cNvPr>
          <p:cNvSpPr/>
          <p:nvPr/>
        </p:nvSpPr>
        <p:spPr>
          <a:xfrm>
            <a:off x="4640026" y="6401042"/>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116" name="Rectangle 115">
            <a:extLst>
              <a:ext uri="{FF2B5EF4-FFF2-40B4-BE49-F238E27FC236}">
                <a16:creationId xmlns:a16="http://schemas.microsoft.com/office/drawing/2014/main" id="{89956078-DA95-4E05-9104-58356D3D5E7F}"/>
              </a:ext>
            </a:extLst>
          </p:cNvPr>
          <p:cNvSpPr/>
          <p:nvPr/>
        </p:nvSpPr>
        <p:spPr>
          <a:xfrm>
            <a:off x="3217955" y="4628806"/>
            <a:ext cx="2353726" cy="288000"/>
          </a:xfrm>
          <a:prstGeom prst="rect">
            <a:avLst/>
          </a:prstGeom>
          <a:solidFill>
            <a:schemeClr val="accent3"/>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Foundational use cases</a:t>
            </a:r>
          </a:p>
        </p:txBody>
      </p:sp>
      <p:pic>
        <p:nvPicPr>
          <p:cNvPr id="118" name="Graphic 117" descr="Document">
            <a:extLst>
              <a:ext uri="{FF2B5EF4-FFF2-40B4-BE49-F238E27FC236}">
                <a16:creationId xmlns:a16="http://schemas.microsoft.com/office/drawing/2014/main" id="{070F8303-5938-4BA7-89AF-18EA4F3C4BDD}"/>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241717" y="4637994"/>
            <a:ext cx="268275" cy="280553"/>
          </a:xfrm>
          <a:prstGeom prst="rect">
            <a:avLst/>
          </a:prstGeom>
        </p:spPr>
      </p:pic>
      <p:pic>
        <p:nvPicPr>
          <p:cNvPr id="119" name="Picture 118">
            <a:extLst>
              <a:ext uri="{FF2B5EF4-FFF2-40B4-BE49-F238E27FC236}">
                <a16:creationId xmlns:a16="http://schemas.microsoft.com/office/drawing/2014/main" id="{09293213-16E0-4CBA-9C6D-5EAE2CD0F843}"/>
              </a:ext>
            </a:extLst>
          </p:cNvPr>
          <p:cNvPicPr>
            <a:picLocks noChangeAspect="1"/>
          </p:cNvPicPr>
          <p:nvPr/>
        </p:nvPicPr>
        <p:blipFill>
          <a:blip r:embed="rId17"/>
          <a:stretch>
            <a:fillRect/>
          </a:stretch>
        </p:blipFill>
        <p:spPr>
          <a:xfrm>
            <a:off x="823550" y="4652163"/>
            <a:ext cx="280552" cy="242160"/>
          </a:xfrm>
          <a:prstGeom prst="rect">
            <a:avLst/>
          </a:prstGeom>
        </p:spPr>
      </p:pic>
    </p:spTree>
    <p:extLst>
      <p:ext uri="{BB962C8B-B14F-4D97-AF65-F5344CB8AC3E}">
        <p14:creationId xmlns:p14="http://schemas.microsoft.com/office/powerpoint/2010/main" val="15523737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2D42B5C-BB40-4EB9-9481-E585A33296B0}"/>
              </a:ext>
            </a:extLst>
          </p:cNvPr>
          <p:cNvSpPr/>
          <p:nvPr/>
        </p:nvSpPr>
        <p:spPr>
          <a:xfrm>
            <a:off x="820153" y="1800890"/>
            <a:ext cx="10363672" cy="4536408"/>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5">
            <a:extLst>
              <a:ext uri="{FF2B5EF4-FFF2-40B4-BE49-F238E27FC236}">
                <a16:creationId xmlns:a16="http://schemas.microsoft.com/office/drawing/2014/main" id="{3BAF9928-6299-406F-AEF6-7E036EBBC275}"/>
              </a:ext>
            </a:extLst>
          </p:cNvPr>
          <p:cNvSpPr txBox="1">
            <a:spLocks/>
          </p:cNvSpPr>
          <p:nvPr/>
        </p:nvSpPr>
        <p:spPr>
          <a:xfrm>
            <a:off x="517441" y="295741"/>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0" normalizeH="0" baseline="0" noProof="0">
                <a:ln>
                  <a:noFill/>
                </a:ln>
                <a:solidFill>
                  <a:srgbClr val="0069B4"/>
                </a:solidFill>
                <a:effectLst/>
                <a:uLnTx/>
                <a:uFillTx/>
                <a:latin typeface="Calibri Light" panose="020F0302020204030204" pitchFamily="34" charset="0"/>
                <a:ea typeface="+mj-ea"/>
                <a:cs typeface="Calibri Light" panose="020F0302020204030204" pitchFamily="34" charset="0"/>
              </a:rPr>
              <a:t>Key use cases linked to Objective 4 (1/2)</a:t>
            </a:r>
            <a:endParaRPr kumimoji="0" lang="nl-NL" sz="2400" b="0" i="0" u="none" strike="noStrike" kern="1200" cap="none" spc="0" normalizeH="0" baseline="0" noProof="0">
              <a:ln>
                <a:noFill/>
              </a:ln>
              <a:solidFill>
                <a:srgbClr val="0069B4"/>
              </a:solidFill>
              <a:effectLst/>
              <a:uLnTx/>
              <a:uFillTx/>
              <a:latin typeface="Calibri Light" panose="020F0302020204030204" pitchFamily="34" charset="0"/>
              <a:ea typeface="+mj-ea"/>
              <a:cs typeface="Calibri Light" panose="020F0302020204030204" pitchFamily="34" charset="0"/>
            </a:endParaRPr>
          </a:p>
        </p:txBody>
      </p:sp>
      <p:sp>
        <p:nvSpPr>
          <p:cNvPr id="5" name="Rectangle 4">
            <a:extLst>
              <a:ext uri="{FF2B5EF4-FFF2-40B4-BE49-F238E27FC236}">
                <a16:creationId xmlns:a16="http://schemas.microsoft.com/office/drawing/2014/main" id="{3A23FAE6-30D2-4863-AC08-42FAE1486AC7}"/>
              </a:ext>
            </a:extLst>
          </p:cNvPr>
          <p:cNvSpPr/>
          <p:nvPr/>
        </p:nvSpPr>
        <p:spPr>
          <a:xfrm>
            <a:off x="820155" y="1167899"/>
            <a:ext cx="10363672" cy="414160"/>
          </a:xfrm>
          <a:prstGeom prst="rect">
            <a:avLst/>
          </a:prstGeom>
          <a:solidFill>
            <a:schemeClr val="accent3"/>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Key Use Cases</a:t>
            </a:r>
          </a:p>
        </p:txBody>
      </p:sp>
      <p:pic>
        <p:nvPicPr>
          <p:cNvPr id="8" name="Graphic 7" descr="Document">
            <a:extLst>
              <a:ext uri="{FF2B5EF4-FFF2-40B4-BE49-F238E27FC236}">
                <a16:creationId xmlns:a16="http://schemas.microsoft.com/office/drawing/2014/main" id="{EE398403-83EA-4511-9523-591585C1C41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20154" y="1234702"/>
            <a:ext cx="280553" cy="280553"/>
          </a:xfrm>
          <a:prstGeom prst="rect">
            <a:avLst/>
          </a:prstGeom>
        </p:spPr>
      </p:pic>
      <p:sp>
        <p:nvSpPr>
          <p:cNvPr id="9" name="Rectangle 8">
            <a:extLst>
              <a:ext uri="{FF2B5EF4-FFF2-40B4-BE49-F238E27FC236}">
                <a16:creationId xmlns:a16="http://schemas.microsoft.com/office/drawing/2014/main" id="{2DBFFCC6-892F-439E-A19B-E14DB181347B}"/>
              </a:ext>
            </a:extLst>
          </p:cNvPr>
          <p:cNvSpPr/>
          <p:nvPr/>
        </p:nvSpPr>
        <p:spPr>
          <a:xfrm>
            <a:off x="2600325" y="824322"/>
            <a:ext cx="8634845"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Building a global way of working in enabling the business to use analytics and data innovation techniques to improve  investment decisions and client experience</a:t>
            </a:r>
          </a:p>
        </p:txBody>
      </p:sp>
      <p:cxnSp>
        <p:nvCxnSpPr>
          <p:cNvPr id="10" name="Straight Connector 9">
            <a:extLst>
              <a:ext uri="{FF2B5EF4-FFF2-40B4-BE49-F238E27FC236}">
                <a16:creationId xmlns:a16="http://schemas.microsoft.com/office/drawing/2014/main" id="{C9D8F6DC-1AA2-4CF5-8D8B-A4EDF2945D72}"/>
              </a:ext>
            </a:extLst>
          </p:cNvPr>
          <p:cNvCxnSpPr>
            <a:cxnSpLocks/>
          </p:cNvCxnSpPr>
          <p:nvPr/>
        </p:nvCxnSpPr>
        <p:spPr>
          <a:xfrm>
            <a:off x="820155" y="1149953"/>
            <a:ext cx="10363672"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Flowchart: Manual Input 11">
            <a:extLst>
              <a:ext uri="{FF2B5EF4-FFF2-40B4-BE49-F238E27FC236}">
                <a16:creationId xmlns:a16="http://schemas.microsoft.com/office/drawing/2014/main" id="{D43FBD03-6942-4227-92CD-9D117322833B}"/>
              </a:ext>
            </a:extLst>
          </p:cNvPr>
          <p:cNvSpPr/>
          <p:nvPr/>
        </p:nvSpPr>
        <p:spPr>
          <a:xfrm>
            <a:off x="820154" y="821124"/>
            <a:ext cx="1780171"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4</a:t>
            </a:r>
          </a:p>
        </p:txBody>
      </p:sp>
      <p:sp>
        <p:nvSpPr>
          <p:cNvPr id="13" name="TextBox 12">
            <a:extLst>
              <a:ext uri="{FF2B5EF4-FFF2-40B4-BE49-F238E27FC236}">
                <a16:creationId xmlns:a16="http://schemas.microsoft.com/office/drawing/2014/main" id="{E81466E9-5FC6-4C55-8DD8-6EDB226069AE}"/>
              </a:ext>
            </a:extLst>
          </p:cNvPr>
          <p:cNvSpPr txBox="1"/>
          <p:nvPr/>
        </p:nvSpPr>
        <p:spPr>
          <a:xfrm>
            <a:off x="820153" y="3024472"/>
            <a:ext cx="4619355" cy="2426305"/>
          </a:xfrm>
          <a:prstGeom prst="rect">
            <a:avLst/>
          </a:prstGeom>
          <a:noFill/>
        </p:spPr>
        <p:txBody>
          <a:bodyPr wrap="square">
            <a:spAutoFit/>
          </a:bodyPr>
          <a:lstStyle/>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Automation of performance calculations</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539750" marR="0" lvl="2" indent="-274638"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Understand what impact (performance in general and ESG) AAM is making to be prepared for the asks of the clients and society  </a:t>
            </a: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Trend analysis</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Robo investment</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Front/middle office activities:</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536575" marR="0" lvl="2" indent="-273050" algn="l" defTabSz="914400" rtl="0" eaLnBrk="1" fontAlgn="auto" latinLnBrk="0" hangingPunct="0">
              <a:lnSpc>
                <a:spcPts val="1350"/>
              </a:lnSpc>
              <a:spcBef>
                <a:spcPts val="0"/>
              </a:spcBef>
              <a:spcAft>
                <a:spcPts val="0"/>
              </a:spcAft>
              <a:buClrTx/>
              <a:buSzTx/>
              <a:buFont typeface="+mj-lt"/>
              <a:buAutoNum type="arabi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To constantly renew data for investment processes</a:t>
            </a:r>
            <a:endParaRPr kumimoji="0" lang="nl-NL" sz="12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endParaRPr>
          </a:p>
          <a:p>
            <a:pPr marL="536575" marR="0" lvl="2" indent="-273050" algn="l" defTabSz="914400" rtl="0" eaLnBrk="1" fontAlgn="auto" latinLnBrk="0" hangingPunct="0">
              <a:lnSpc>
                <a:spcPts val="1350"/>
              </a:lnSpc>
              <a:spcBef>
                <a:spcPts val="0"/>
              </a:spcBef>
              <a:spcAft>
                <a:spcPts val="0"/>
              </a:spcAft>
              <a:buClrTx/>
              <a:buSzTx/>
              <a:buFont typeface="+mj-lt"/>
              <a:buAutoNum type="arabi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What information you derive from clients to provide right suggestions/proposals?</a:t>
            </a:r>
            <a:endParaRPr kumimoji="0" lang="nl-NL" sz="12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endParaRPr>
          </a:p>
          <a:p>
            <a:pPr marL="536575" marR="0" lvl="2" indent="-273050" algn="l" defTabSz="914400" rtl="0" eaLnBrk="1" fontAlgn="auto" latinLnBrk="0" hangingPunct="0">
              <a:lnSpc>
                <a:spcPts val="1350"/>
              </a:lnSpc>
              <a:spcBef>
                <a:spcPts val="0"/>
              </a:spcBef>
              <a:spcAft>
                <a:spcPts val="0"/>
              </a:spcAft>
              <a:buClrTx/>
              <a:buSzTx/>
              <a:buFont typeface="+mj-lt"/>
              <a:buAutoNum type="arabi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Prospects/market analysis to target most likely prospects</a:t>
            </a:r>
            <a:endParaRPr kumimoji="0" lang="nl-NL" sz="12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Combine daily positions with ESG data, play around with different matrix: risk and return &amp; ESG</a:t>
            </a:r>
          </a:p>
        </p:txBody>
      </p:sp>
      <p:sp>
        <p:nvSpPr>
          <p:cNvPr id="14" name="TextBox 13">
            <a:extLst>
              <a:ext uri="{FF2B5EF4-FFF2-40B4-BE49-F238E27FC236}">
                <a16:creationId xmlns:a16="http://schemas.microsoft.com/office/drawing/2014/main" id="{7F72E001-94C0-4AC0-9089-B2ACB10CC752}"/>
              </a:ext>
            </a:extLst>
          </p:cNvPr>
          <p:cNvSpPr txBox="1"/>
          <p:nvPr/>
        </p:nvSpPr>
        <p:spPr>
          <a:xfrm>
            <a:off x="820152" y="5677610"/>
            <a:ext cx="4619356" cy="646331"/>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Analyze investment universes on the basis of financial and non-financial data to construct portfolios that meet your clients' risk return requirements, regulatory restrictions and ESG preferences</a:t>
            </a:r>
            <a:endParaRPr kumimoji="0" lang="en-US" sz="12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endParaRPr>
          </a:p>
        </p:txBody>
      </p:sp>
      <p:sp>
        <p:nvSpPr>
          <p:cNvPr id="21" name="Rectangle 20">
            <a:extLst>
              <a:ext uri="{FF2B5EF4-FFF2-40B4-BE49-F238E27FC236}">
                <a16:creationId xmlns:a16="http://schemas.microsoft.com/office/drawing/2014/main" id="{4FE58803-35CA-419A-B772-E980447713AD}"/>
              </a:ext>
            </a:extLst>
          </p:cNvPr>
          <p:cNvSpPr/>
          <p:nvPr/>
        </p:nvSpPr>
        <p:spPr>
          <a:xfrm>
            <a:off x="824345" y="2787958"/>
            <a:ext cx="5023561" cy="252000"/>
          </a:xfrm>
          <a:prstGeom prst="rect">
            <a:avLst/>
          </a:prstGeom>
          <a:noFill/>
          <a:ln w="25400" cap="flat" cmpd="sng" algn="ctr">
            <a:solidFill>
              <a:schemeClr val="tx2"/>
            </a:solid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a:ea typeface="+mn-ea"/>
                <a:cs typeface="+mn-cs"/>
              </a:rPr>
              <a:t>Portfolio management</a:t>
            </a:r>
          </a:p>
        </p:txBody>
      </p:sp>
      <p:sp>
        <p:nvSpPr>
          <p:cNvPr id="22" name="Rectangle 21">
            <a:extLst>
              <a:ext uri="{FF2B5EF4-FFF2-40B4-BE49-F238E27FC236}">
                <a16:creationId xmlns:a16="http://schemas.microsoft.com/office/drawing/2014/main" id="{DEB99EE6-BC43-420C-A40B-328138E9D423}"/>
              </a:ext>
            </a:extLst>
          </p:cNvPr>
          <p:cNvSpPr/>
          <p:nvPr/>
        </p:nvSpPr>
        <p:spPr>
          <a:xfrm>
            <a:off x="824345" y="5425610"/>
            <a:ext cx="5023561" cy="252000"/>
          </a:xfrm>
          <a:prstGeom prst="rect">
            <a:avLst/>
          </a:prstGeom>
          <a:noFill/>
          <a:ln w="25400" cap="flat" cmpd="sng" algn="ctr">
            <a:solidFill>
              <a:schemeClr val="tx2"/>
            </a:solid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a:ea typeface="+mn-ea"/>
                <a:cs typeface="+mn-cs"/>
              </a:rPr>
              <a:t>Equities</a:t>
            </a:r>
          </a:p>
        </p:txBody>
      </p:sp>
      <p:sp>
        <p:nvSpPr>
          <p:cNvPr id="15" name="TextBox 14">
            <a:extLst>
              <a:ext uri="{FF2B5EF4-FFF2-40B4-BE49-F238E27FC236}">
                <a16:creationId xmlns:a16="http://schemas.microsoft.com/office/drawing/2014/main" id="{D5027047-6373-4A7C-B190-CE8858696801}"/>
              </a:ext>
            </a:extLst>
          </p:cNvPr>
          <p:cNvSpPr txBox="1"/>
          <p:nvPr/>
        </p:nvSpPr>
        <p:spPr>
          <a:xfrm>
            <a:off x="6156074" y="1873801"/>
            <a:ext cx="4536000" cy="810478"/>
          </a:xfrm>
          <a:prstGeom prst="rect">
            <a:avLst/>
          </a:prstGeom>
          <a:noFill/>
        </p:spPr>
        <p:txBody>
          <a:bodyPr wrap="square">
            <a:spAutoFit/>
          </a:bodyPr>
          <a:lstStyle/>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Use demographic data</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Specify underwriting strategies</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Impact of climate change/carbon reduction</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Data at macro &amp; asset level</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p:txBody>
      </p:sp>
      <p:sp>
        <p:nvSpPr>
          <p:cNvPr id="18" name="TextBox 17">
            <a:extLst>
              <a:ext uri="{FF2B5EF4-FFF2-40B4-BE49-F238E27FC236}">
                <a16:creationId xmlns:a16="http://schemas.microsoft.com/office/drawing/2014/main" id="{6D50669B-C6B5-43FE-B227-D52ED440CE50}"/>
              </a:ext>
            </a:extLst>
          </p:cNvPr>
          <p:cNvSpPr txBox="1"/>
          <p:nvPr/>
        </p:nvSpPr>
        <p:spPr>
          <a:xfrm>
            <a:off x="6156072" y="3058431"/>
            <a:ext cx="4536000" cy="630942"/>
          </a:xfrm>
          <a:prstGeom prst="rect">
            <a:avLst/>
          </a:prstGeom>
          <a:noFill/>
        </p:spPr>
        <p:txBody>
          <a:bodyPr wrap="square">
            <a:spAutoFit/>
          </a:bodyPr>
          <a:lstStyle/>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Integrate analytics (of internal and external data) in investment process to improve performance management and use it as a marketing tool</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Need more data on ESG</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p:txBody>
      </p:sp>
      <p:sp>
        <p:nvSpPr>
          <p:cNvPr id="20" name="TextBox 19">
            <a:extLst>
              <a:ext uri="{FF2B5EF4-FFF2-40B4-BE49-F238E27FC236}">
                <a16:creationId xmlns:a16="http://schemas.microsoft.com/office/drawing/2014/main" id="{5210BCCB-196B-48BF-B79D-30878A396319}"/>
              </a:ext>
            </a:extLst>
          </p:cNvPr>
          <p:cNvSpPr txBox="1"/>
          <p:nvPr/>
        </p:nvSpPr>
        <p:spPr>
          <a:xfrm>
            <a:off x="6156074" y="4137502"/>
            <a:ext cx="4536000" cy="1349087"/>
          </a:xfrm>
          <a:prstGeom prst="rect">
            <a:avLst/>
          </a:prstGeom>
          <a:noFill/>
        </p:spPr>
        <p:txBody>
          <a:bodyPr wrap="square">
            <a:spAutoFit/>
          </a:bodyPr>
          <a:lstStyle/>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Automate principles of investment process to track out of sample results and inform a fundamental (or "</a:t>
            </a:r>
            <a:r>
              <a:rPr kumimoji="0" lang="en-US" sz="1200" b="0" i="0" u="none" strike="noStrike" kern="1200" cap="none" spc="0" normalizeH="0" baseline="0" noProof="0" err="1">
                <a:ln>
                  <a:noFill/>
                </a:ln>
                <a:solidFill>
                  <a:srgbClr val="000000"/>
                </a:solidFill>
                <a:effectLst/>
                <a:uLnTx/>
                <a:uFillTx/>
                <a:latin typeface="Calibri Light" panose="020F0302020204030204"/>
                <a:ea typeface="+mn-ea"/>
                <a:cs typeface="+mn-cs"/>
              </a:rPr>
              <a:t>quantamental</a:t>
            </a: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 research process</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536575" marR="0" lvl="2" indent="-273050" algn="l" defTabSz="914400" rtl="0" eaLnBrk="1" fontAlgn="auto" latinLnBrk="0" hangingPunct="0">
              <a:lnSpc>
                <a:spcPts val="1350"/>
              </a:lnSpc>
              <a:spcBef>
                <a:spcPts val="0"/>
              </a:spcBef>
              <a:spcAft>
                <a:spcPts val="0"/>
              </a:spcAft>
              <a:buClrTx/>
              <a:buSzTx/>
              <a:buFont typeface="+mj-lt"/>
              <a:buAutoNum type="arabi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Algorithms to buy/sell + meta-algorithms to evaluate effectiveness/timing/costs of made decisions</a:t>
            </a:r>
            <a:endParaRPr kumimoji="0" lang="nl-NL"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Review different indicators and their impact on markets</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Need more benchmarking information</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Hire data scientists and look for alternative data providers</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p:txBody>
      </p:sp>
      <p:sp>
        <p:nvSpPr>
          <p:cNvPr id="23" name="Rectangle 22">
            <a:extLst>
              <a:ext uri="{FF2B5EF4-FFF2-40B4-BE49-F238E27FC236}">
                <a16:creationId xmlns:a16="http://schemas.microsoft.com/office/drawing/2014/main" id="{0F031FB9-9CA1-44D8-8B02-D82CF5E6970F}"/>
              </a:ext>
            </a:extLst>
          </p:cNvPr>
          <p:cNvSpPr/>
          <p:nvPr/>
        </p:nvSpPr>
        <p:spPr>
          <a:xfrm>
            <a:off x="6156073" y="1612107"/>
            <a:ext cx="5027752" cy="252000"/>
          </a:xfrm>
          <a:prstGeom prst="rect">
            <a:avLst/>
          </a:prstGeom>
          <a:noFill/>
          <a:ln w="25400" cap="flat" cmpd="sng" algn="ctr">
            <a:solidFill>
              <a:schemeClr val="tx2"/>
            </a:solid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a:ea typeface="+mn-ea"/>
                <a:cs typeface="+mn-cs"/>
              </a:rPr>
              <a:t>Real assets US (still on SQL DB) – out of scope, first to re-platform</a:t>
            </a:r>
            <a:endParaRPr kumimoji="0" lang="nl-NL" sz="12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29168089-C23B-4ACA-AF4D-AB4F6B653BBB}"/>
              </a:ext>
            </a:extLst>
          </p:cNvPr>
          <p:cNvSpPr/>
          <p:nvPr/>
        </p:nvSpPr>
        <p:spPr>
          <a:xfrm>
            <a:off x="6156073" y="2790611"/>
            <a:ext cx="5027752" cy="252000"/>
          </a:xfrm>
          <a:prstGeom prst="rect">
            <a:avLst/>
          </a:prstGeom>
          <a:noFill/>
          <a:ln w="25400" cap="flat" cmpd="sng" algn="ctr">
            <a:solidFill>
              <a:schemeClr val="tx2"/>
            </a:solid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a:ea typeface="+mn-ea"/>
                <a:cs typeface="+mn-cs"/>
              </a:rPr>
              <a:t>Alternative fixed income</a:t>
            </a:r>
            <a:endParaRPr kumimoji="0" lang="nl-NL" sz="12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7F949393-4E5E-41C8-89C0-94A39BF04C62}"/>
              </a:ext>
            </a:extLst>
          </p:cNvPr>
          <p:cNvSpPr/>
          <p:nvPr/>
        </p:nvSpPr>
        <p:spPr>
          <a:xfrm>
            <a:off x="6156073" y="3892118"/>
            <a:ext cx="5027752" cy="252000"/>
          </a:xfrm>
          <a:prstGeom prst="rect">
            <a:avLst/>
          </a:prstGeom>
          <a:noFill/>
          <a:ln w="25400" cap="flat" cmpd="sng" algn="ctr">
            <a:solidFill>
              <a:schemeClr val="tx2"/>
            </a:solid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a:ea typeface="+mn-ea"/>
                <a:cs typeface="+mn-cs"/>
              </a:rPr>
              <a:t>Fixed income</a:t>
            </a:r>
            <a:endParaRPr kumimoji="0" lang="nl-NL" sz="1200" b="1" i="0" u="none" strike="noStrike" kern="0" cap="none" spc="0" normalizeH="0" baseline="0" noProof="0">
              <a:ln>
                <a:noFill/>
              </a:ln>
              <a:solidFill>
                <a:srgbClr val="000000"/>
              </a:solidFill>
              <a:effectLst/>
              <a:uLnTx/>
              <a:uFillTx/>
              <a:latin typeface="Calibri" panose="020F0502020204030204"/>
              <a:ea typeface="+mn-ea"/>
              <a:cs typeface="+mn-cs"/>
            </a:endParaRPr>
          </a:p>
        </p:txBody>
      </p:sp>
      <p:pic>
        <p:nvPicPr>
          <p:cNvPr id="35" name="Picture 34">
            <a:extLst>
              <a:ext uri="{FF2B5EF4-FFF2-40B4-BE49-F238E27FC236}">
                <a16:creationId xmlns:a16="http://schemas.microsoft.com/office/drawing/2014/main" id="{887A9A62-5684-4D3D-8811-24A075B0561E}"/>
              </a:ext>
            </a:extLst>
          </p:cNvPr>
          <p:cNvPicPr>
            <a:picLocks noChangeAspect="1"/>
          </p:cNvPicPr>
          <p:nvPr/>
        </p:nvPicPr>
        <p:blipFill>
          <a:blip r:embed="rId5"/>
          <a:stretch>
            <a:fillRect/>
          </a:stretch>
        </p:blipFill>
        <p:spPr>
          <a:xfrm>
            <a:off x="891153" y="2802829"/>
            <a:ext cx="234043" cy="234043"/>
          </a:xfrm>
          <a:prstGeom prst="rect">
            <a:avLst/>
          </a:prstGeom>
        </p:spPr>
      </p:pic>
      <p:pic>
        <p:nvPicPr>
          <p:cNvPr id="44" name="Picture 43">
            <a:extLst>
              <a:ext uri="{FF2B5EF4-FFF2-40B4-BE49-F238E27FC236}">
                <a16:creationId xmlns:a16="http://schemas.microsoft.com/office/drawing/2014/main" id="{4E0EE909-CE23-49D9-8690-8477D1AF4B19}"/>
              </a:ext>
            </a:extLst>
          </p:cNvPr>
          <p:cNvPicPr>
            <a:picLocks noChangeAspect="1"/>
          </p:cNvPicPr>
          <p:nvPr/>
        </p:nvPicPr>
        <p:blipFill>
          <a:blip r:embed="rId6"/>
          <a:stretch>
            <a:fillRect/>
          </a:stretch>
        </p:blipFill>
        <p:spPr>
          <a:xfrm>
            <a:off x="903397" y="5449597"/>
            <a:ext cx="209554" cy="207479"/>
          </a:xfrm>
          <a:prstGeom prst="rect">
            <a:avLst/>
          </a:prstGeom>
        </p:spPr>
      </p:pic>
      <p:pic>
        <p:nvPicPr>
          <p:cNvPr id="52" name="Picture 51">
            <a:extLst>
              <a:ext uri="{FF2B5EF4-FFF2-40B4-BE49-F238E27FC236}">
                <a16:creationId xmlns:a16="http://schemas.microsoft.com/office/drawing/2014/main" id="{339D4867-5643-4C9B-AA7E-5116B70182D3}"/>
              </a:ext>
            </a:extLst>
          </p:cNvPr>
          <p:cNvPicPr>
            <a:picLocks noChangeAspect="1"/>
          </p:cNvPicPr>
          <p:nvPr/>
        </p:nvPicPr>
        <p:blipFill>
          <a:blip r:embed="rId7"/>
          <a:stretch>
            <a:fillRect/>
          </a:stretch>
        </p:blipFill>
        <p:spPr>
          <a:xfrm>
            <a:off x="6177337" y="1623562"/>
            <a:ext cx="234158" cy="212205"/>
          </a:xfrm>
          <a:prstGeom prst="rect">
            <a:avLst/>
          </a:prstGeom>
        </p:spPr>
      </p:pic>
      <p:pic>
        <p:nvPicPr>
          <p:cNvPr id="59" name="Picture 58">
            <a:extLst>
              <a:ext uri="{FF2B5EF4-FFF2-40B4-BE49-F238E27FC236}">
                <a16:creationId xmlns:a16="http://schemas.microsoft.com/office/drawing/2014/main" id="{F1F018B9-E1D4-4ED3-BE18-2DD0C2C8C9ED}"/>
              </a:ext>
            </a:extLst>
          </p:cNvPr>
          <p:cNvPicPr>
            <a:picLocks noChangeAspect="1"/>
          </p:cNvPicPr>
          <p:nvPr/>
        </p:nvPicPr>
        <p:blipFill>
          <a:blip r:embed="rId8"/>
          <a:stretch>
            <a:fillRect/>
          </a:stretch>
        </p:blipFill>
        <p:spPr>
          <a:xfrm>
            <a:off x="6184427" y="3916552"/>
            <a:ext cx="255425" cy="217783"/>
          </a:xfrm>
          <a:prstGeom prst="rect">
            <a:avLst/>
          </a:prstGeom>
        </p:spPr>
      </p:pic>
      <p:pic>
        <p:nvPicPr>
          <p:cNvPr id="66" name="Picture 65">
            <a:extLst>
              <a:ext uri="{FF2B5EF4-FFF2-40B4-BE49-F238E27FC236}">
                <a16:creationId xmlns:a16="http://schemas.microsoft.com/office/drawing/2014/main" id="{80F4E96C-9415-42A6-B4BB-A8F6E749FC4E}"/>
              </a:ext>
            </a:extLst>
          </p:cNvPr>
          <p:cNvPicPr>
            <a:picLocks noChangeAspect="1"/>
          </p:cNvPicPr>
          <p:nvPr/>
        </p:nvPicPr>
        <p:blipFill>
          <a:blip r:embed="rId9"/>
          <a:stretch>
            <a:fillRect/>
          </a:stretch>
        </p:blipFill>
        <p:spPr>
          <a:xfrm>
            <a:off x="6184427" y="2814989"/>
            <a:ext cx="227068" cy="211173"/>
          </a:xfrm>
          <a:prstGeom prst="rect">
            <a:avLst/>
          </a:prstGeom>
        </p:spPr>
      </p:pic>
      <p:sp>
        <p:nvSpPr>
          <p:cNvPr id="26" name="Flowchart: Preparation 25">
            <a:extLst>
              <a:ext uri="{FF2B5EF4-FFF2-40B4-BE49-F238E27FC236}">
                <a16:creationId xmlns:a16="http://schemas.microsoft.com/office/drawing/2014/main" id="{DAA106AA-D67B-431F-A569-CC137AA2C840}"/>
              </a:ext>
            </a:extLst>
          </p:cNvPr>
          <p:cNvSpPr/>
          <p:nvPr/>
        </p:nvSpPr>
        <p:spPr>
          <a:xfrm rot="20421027">
            <a:off x="26435" y="126539"/>
            <a:ext cx="525497" cy="248232"/>
          </a:xfrm>
          <a:prstGeom prst="flowChartPreparation">
            <a:avLst/>
          </a:prstGeom>
          <a:solidFill>
            <a:schemeClr val="accent4"/>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WIP</a:t>
            </a:r>
          </a:p>
        </p:txBody>
      </p:sp>
      <p:sp>
        <p:nvSpPr>
          <p:cNvPr id="27" name="TextBox 26">
            <a:extLst>
              <a:ext uri="{FF2B5EF4-FFF2-40B4-BE49-F238E27FC236}">
                <a16:creationId xmlns:a16="http://schemas.microsoft.com/office/drawing/2014/main" id="{25CE059D-96F7-4206-A84F-FB947FF10477}"/>
              </a:ext>
            </a:extLst>
          </p:cNvPr>
          <p:cNvSpPr txBox="1"/>
          <p:nvPr/>
        </p:nvSpPr>
        <p:spPr>
          <a:xfrm>
            <a:off x="903397" y="1599476"/>
            <a:ext cx="4536111" cy="1200329"/>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Assess which artifacts are necessary to build out usage of data &amp; analytics throughout the organization (architectural capabilities such as tools,</a:t>
            </a:r>
            <a:r>
              <a:rPr lang="en-US" sz="1200">
                <a:solidFill>
                  <a:srgbClr val="000000"/>
                </a:solidFill>
                <a:latin typeface="+mj-lt"/>
              </a:rPr>
              <a:t> etc.</a:t>
            </a:r>
            <a:r>
              <a:rPr kumimoji="0" lang="en-US" sz="1200" b="0" i="0" u="none" strike="noStrike" kern="1200" cap="none" spc="0" normalizeH="0" baseline="0" noProof="0">
                <a:ln>
                  <a:noFill/>
                </a:ln>
                <a:solidFill>
                  <a:srgbClr val="000000"/>
                </a:solidFill>
                <a:effectLst/>
                <a:uLnTx/>
                <a:uFillTx/>
                <a:latin typeface="+mj-lt"/>
                <a:ea typeface="+mn-ea"/>
                <a:cs typeface="+mn-cs"/>
              </a:rPr>
              <a:t>) </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mj-lt"/>
                <a:ea typeface="+mn-ea"/>
                <a:cs typeface="+mn-cs"/>
              </a:rPr>
              <a:t>Establish an analytics way of working including the relevant governance and enabler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a:solidFill>
                  <a:srgbClr val="000000"/>
                </a:solidFill>
                <a:latin typeface="+mj-lt"/>
              </a:rPr>
              <a:t>Build self-service information products for clients</a:t>
            </a:r>
            <a:endParaRPr kumimoji="0" lang="en-US" sz="1200" b="0" i="0" u="none" strike="noStrike" kern="1200" cap="none" spc="0" normalizeH="0" baseline="0" noProof="0">
              <a:ln>
                <a:noFill/>
              </a:ln>
              <a:solidFill>
                <a:srgbClr val="000000"/>
              </a:solidFill>
              <a:effectLst/>
              <a:uLnTx/>
              <a:uFillTx/>
              <a:latin typeface="+mj-lt"/>
              <a:ea typeface="+mn-ea"/>
              <a:cs typeface="+mn-cs"/>
            </a:endParaRPr>
          </a:p>
        </p:txBody>
      </p:sp>
      <p:sp>
        <p:nvSpPr>
          <p:cNvPr id="51" name="Oval 50">
            <a:extLst>
              <a:ext uri="{FF2B5EF4-FFF2-40B4-BE49-F238E27FC236}">
                <a16:creationId xmlns:a16="http://schemas.microsoft.com/office/drawing/2014/main" id="{DC1828A5-A02B-41BF-AF4F-CD00955A5691}"/>
              </a:ext>
            </a:extLst>
          </p:cNvPr>
          <p:cNvSpPr/>
          <p:nvPr/>
        </p:nvSpPr>
        <p:spPr>
          <a:xfrm>
            <a:off x="2105569" y="2040108"/>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53" name="Oval 52">
            <a:extLst>
              <a:ext uri="{FF2B5EF4-FFF2-40B4-BE49-F238E27FC236}">
                <a16:creationId xmlns:a16="http://schemas.microsoft.com/office/drawing/2014/main" id="{ED2F744D-8F0D-4AFC-8E35-DF02C9415B2D}"/>
              </a:ext>
            </a:extLst>
          </p:cNvPr>
          <p:cNvSpPr/>
          <p:nvPr/>
        </p:nvSpPr>
        <p:spPr>
          <a:xfrm>
            <a:off x="2381115" y="2040108"/>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54" name="Oval 53">
            <a:extLst>
              <a:ext uri="{FF2B5EF4-FFF2-40B4-BE49-F238E27FC236}">
                <a16:creationId xmlns:a16="http://schemas.microsoft.com/office/drawing/2014/main" id="{2C1A8384-506E-4C0B-824F-FA52D65B5BF7}"/>
              </a:ext>
            </a:extLst>
          </p:cNvPr>
          <p:cNvSpPr/>
          <p:nvPr/>
        </p:nvSpPr>
        <p:spPr>
          <a:xfrm>
            <a:off x="2656661" y="2040108"/>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55" name="Oval 54">
            <a:extLst>
              <a:ext uri="{FF2B5EF4-FFF2-40B4-BE49-F238E27FC236}">
                <a16:creationId xmlns:a16="http://schemas.microsoft.com/office/drawing/2014/main" id="{7067167C-0CB1-48F8-AB2B-7718C10A119F}"/>
              </a:ext>
            </a:extLst>
          </p:cNvPr>
          <p:cNvSpPr/>
          <p:nvPr/>
        </p:nvSpPr>
        <p:spPr>
          <a:xfrm>
            <a:off x="2815321" y="2392809"/>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56" name="Oval 55">
            <a:extLst>
              <a:ext uri="{FF2B5EF4-FFF2-40B4-BE49-F238E27FC236}">
                <a16:creationId xmlns:a16="http://schemas.microsoft.com/office/drawing/2014/main" id="{16C06691-1AF6-4035-9B81-1AAA7772F567}"/>
              </a:ext>
            </a:extLst>
          </p:cNvPr>
          <p:cNvSpPr/>
          <p:nvPr/>
        </p:nvSpPr>
        <p:spPr>
          <a:xfrm>
            <a:off x="3090867" y="2392809"/>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57" name="Oval 56">
            <a:extLst>
              <a:ext uri="{FF2B5EF4-FFF2-40B4-BE49-F238E27FC236}">
                <a16:creationId xmlns:a16="http://schemas.microsoft.com/office/drawing/2014/main" id="{20233C3E-6D66-4661-9A62-C785D28946A2}"/>
              </a:ext>
            </a:extLst>
          </p:cNvPr>
          <p:cNvSpPr/>
          <p:nvPr/>
        </p:nvSpPr>
        <p:spPr>
          <a:xfrm>
            <a:off x="3366413" y="2392809"/>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58" name="Oval 57">
            <a:extLst>
              <a:ext uri="{FF2B5EF4-FFF2-40B4-BE49-F238E27FC236}">
                <a16:creationId xmlns:a16="http://schemas.microsoft.com/office/drawing/2014/main" id="{17DC2726-591C-4C01-963E-B86387D34CB6}"/>
              </a:ext>
            </a:extLst>
          </p:cNvPr>
          <p:cNvSpPr/>
          <p:nvPr/>
        </p:nvSpPr>
        <p:spPr>
          <a:xfrm>
            <a:off x="4262177" y="2571336"/>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60" name="Oval 59">
            <a:extLst>
              <a:ext uri="{FF2B5EF4-FFF2-40B4-BE49-F238E27FC236}">
                <a16:creationId xmlns:a16="http://schemas.microsoft.com/office/drawing/2014/main" id="{08F10C93-2EB6-4E32-B7F6-8BBEBBFB37D8}"/>
              </a:ext>
            </a:extLst>
          </p:cNvPr>
          <p:cNvSpPr/>
          <p:nvPr/>
        </p:nvSpPr>
        <p:spPr>
          <a:xfrm>
            <a:off x="3757083" y="3093847"/>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61" name="Oval 60">
            <a:extLst>
              <a:ext uri="{FF2B5EF4-FFF2-40B4-BE49-F238E27FC236}">
                <a16:creationId xmlns:a16="http://schemas.microsoft.com/office/drawing/2014/main" id="{41897209-B5C6-4E11-A615-BBE64C15ECCB}"/>
              </a:ext>
            </a:extLst>
          </p:cNvPr>
          <p:cNvSpPr/>
          <p:nvPr/>
        </p:nvSpPr>
        <p:spPr>
          <a:xfrm>
            <a:off x="4032629" y="3093847"/>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62" name="Oval 61">
            <a:extLst>
              <a:ext uri="{FF2B5EF4-FFF2-40B4-BE49-F238E27FC236}">
                <a16:creationId xmlns:a16="http://schemas.microsoft.com/office/drawing/2014/main" id="{C8BA7E2F-7E70-4255-B732-147026D04E58}"/>
              </a:ext>
            </a:extLst>
          </p:cNvPr>
          <p:cNvSpPr/>
          <p:nvPr/>
        </p:nvSpPr>
        <p:spPr>
          <a:xfrm>
            <a:off x="2144756" y="3794888"/>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63" name="Oval 62">
            <a:extLst>
              <a:ext uri="{FF2B5EF4-FFF2-40B4-BE49-F238E27FC236}">
                <a16:creationId xmlns:a16="http://schemas.microsoft.com/office/drawing/2014/main" id="{ED7D219A-CF32-4775-8957-3EDCA8C9ACDB}"/>
              </a:ext>
            </a:extLst>
          </p:cNvPr>
          <p:cNvSpPr/>
          <p:nvPr/>
        </p:nvSpPr>
        <p:spPr>
          <a:xfrm>
            <a:off x="2320161" y="3982129"/>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67" name="Oval 66">
            <a:extLst>
              <a:ext uri="{FF2B5EF4-FFF2-40B4-BE49-F238E27FC236}">
                <a16:creationId xmlns:a16="http://schemas.microsoft.com/office/drawing/2014/main" id="{2B015567-8FCB-4C9B-8A2B-868F073667BE}"/>
              </a:ext>
            </a:extLst>
          </p:cNvPr>
          <p:cNvSpPr/>
          <p:nvPr/>
        </p:nvSpPr>
        <p:spPr>
          <a:xfrm>
            <a:off x="2985139" y="4687524"/>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68" name="Oval 67">
            <a:extLst>
              <a:ext uri="{FF2B5EF4-FFF2-40B4-BE49-F238E27FC236}">
                <a16:creationId xmlns:a16="http://schemas.microsoft.com/office/drawing/2014/main" id="{6D9648ED-3939-4236-B00D-0036D7DFFEB2}"/>
              </a:ext>
            </a:extLst>
          </p:cNvPr>
          <p:cNvSpPr/>
          <p:nvPr/>
        </p:nvSpPr>
        <p:spPr>
          <a:xfrm>
            <a:off x="5079559" y="4874760"/>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69" name="Oval 68">
            <a:extLst>
              <a:ext uri="{FF2B5EF4-FFF2-40B4-BE49-F238E27FC236}">
                <a16:creationId xmlns:a16="http://schemas.microsoft.com/office/drawing/2014/main" id="{9CFCE496-D0CB-42FA-83E2-C7294FA0AA37}"/>
              </a:ext>
            </a:extLst>
          </p:cNvPr>
          <p:cNvSpPr/>
          <p:nvPr/>
        </p:nvSpPr>
        <p:spPr>
          <a:xfrm>
            <a:off x="3093994" y="521439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70" name="Oval 69">
            <a:extLst>
              <a:ext uri="{FF2B5EF4-FFF2-40B4-BE49-F238E27FC236}">
                <a16:creationId xmlns:a16="http://schemas.microsoft.com/office/drawing/2014/main" id="{DD118F1A-002A-4576-A3B8-01E0C2F72298}"/>
              </a:ext>
            </a:extLst>
          </p:cNvPr>
          <p:cNvSpPr/>
          <p:nvPr/>
        </p:nvSpPr>
        <p:spPr>
          <a:xfrm>
            <a:off x="5188408" y="5915438"/>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71" name="Oval 70">
            <a:extLst>
              <a:ext uri="{FF2B5EF4-FFF2-40B4-BE49-F238E27FC236}">
                <a16:creationId xmlns:a16="http://schemas.microsoft.com/office/drawing/2014/main" id="{D46DB278-2A83-42FB-80EE-474A643CE6EC}"/>
              </a:ext>
            </a:extLst>
          </p:cNvPr>
          <p:cNvSpPr/>
          <p:nvPr/>
        </p:nvSpPr>
        <p:spPr>
          <a:xfrm>
            <a:off x="7513605" y="3459613"/>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76" name="Oval 75">
            <a:extLst>
              <a:ext uri="{FF2B5EF4-FFF2-40B4-BE49-F238E27FC236}">
                <a16:creationId xmlns:a16="http://schemas.microsoft.com/office/drawing/2014/main" id="{8EEE5CC0-BFDB-40B4-BEB4-89268D412984}"/>
              </a:ext>
            </a:extLst>
          </p:cNvPr>
          <p:cNvSpPr/>
          <p:nvPr/>
        </p:nvSpPr>
        <p:spPr>
          <a:xfrm>
            <a:off x="4693250" y="4334832"/>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77" name="Oval 76">
            <a:extLst>
              <a:ext uri="{FF2B5EF4-FFF2-40B4-BE49-F238E27FC236}">
                <a16:creationId xmlns:a16="http://schemas.microsoft.com/office/drawing/2014/main" id="{A507D715-56CF-4BCD-B8BE-AFC288B5FD40}"/>
              </a:ext>
            </a:extLst>
          </p:cNvPr>
          <p:cNvSpPr/>
          <p:nvPr/>
        </p:nvSpPr>
        <p:spPr>
          <a:xfrm>
            <a:off x="7083756" y="4539486"/>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78" name="Oval 77">
            <a:extLst>
              <a:ext uri="{FF2B5EF4-FFF2-40B4-BE49-F238E27FC236}">
                <a16:creationId xmlns:a16="http://schemas.microsoft.com/office/drawing/2014/main" id="{617FDE0A-3151-4ACF-BDC3-BB5466364707}"/>
              </a:ext>
            </a:extLst>
          </p:cNvPr>
          <p:cNvSpPr/>
          <p:nvPr/>
        </p:nvSpPr>
        <p:spPr>
          <a:xfrm>
            <a:off x="10223206" y="4787683"/>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79" name="Oval 78">
            <a:extLst>
              <a:ext uri="{FF2B5EF4-FFF2-40B4-BE49-F238E27FC236}">
                <a16:creationId xmlns:a16="http://schemas.microsoft.com/office/drawing/2014/main" id="{D5CA7326-45DC-4280-9039-FA002FF6988F}"/>
              </a:ext>
            </a:extLst>
          </p:cNvPr>
          <p:cNvSpPr/>
          <p:nvPr/>
        </p:nvSpPr>
        <p:spPr>
          <a:xfrm>
            <a:off x="9986853" y="5088123"/>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80" name="Oval 79">
            <a:extLst>
              <a:ext uri="{FF2B5EF4-FFF2-40B4-BE49-F238E27FC236}">
                <a16:creationId xmlns:a16="http://schemas.microsoft.com/office/drawing/2014/main" id="{40446C42-FD7E-434F-ABDF-CC0ED9AAA092}"/>
              </a:ext>
            </a:extLst>
          </p:cNvPr>
          <p:cNvSpPr/>
          <p:nvPr/>
        </p:nvSpPr>
        <p:spPr>
          <a:xfrm>
            <a:off x="8963588" y="5249232"/>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83" name="Oval 82">
            <a:extLst>
              <a:ext uri="{FF2B5EF4-FFF2-40B4-BE49-F238E27FC236}">
                <a16:creationId xmlns:a16="http://schemas.microsoft.com/office/drawing/2014/main" id="{5A0E51E8-A017-487D-9137-F7C50F15E1CB}"/>
              </a:ext>
            </a:extLst>
          </p:cNvPr>
          <p:cNvSpPr/>
          <p:nvPr/>
        </p:nvSpPr>
        <p:spPr>
          <a:xfrm>
            <a:off x="8083066" y="3648691"/>
            <a:ext cx="152400" cy="15303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a:t>
            </a:r>
          </a:p>
        </p:txBody>
      </p:sp>
      <p:sp>
        <p:nvSpPr>
          <p:cNvPr id="84" name="Oval 83">
            <a:extLst>
              <a:ext uri="{FF2B5EF4-FFF2-40B4-BE49-F238E27FC236}">
                <a16:creationId xmlns:a16="http://schemas.microsoft.com/office/drawing/2014/main" id="{69B7DAD9-4639-46AE-8477-E09C1BC375C6}"/>
              </a:ext>
            </a:extLst>
          </p:cNvPr>
          <p:cNvSpPr/>
          <p:nvPr/>
        </p:nvSpPr>
        <p:spPr>
          <a:xfrm>
            <a:off x="10107151" y="5457356"/>
            <a:ext cx="152400" cy="15303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a:t>
            </a:r>
          </a:p>
        </p:txBody>
      </p:sp>
      <p:sp>
        <p:nvSpPr>
          <p:cNvPr id="85" name="Oval 84">
            <a:extLst>
              <a:ext uri="{FF2B5EF4-FFF2-40B4-BE49-F238E27FC236}">
                <a16:creationId xmlns:a16="http://schemas.microsoft.com/office/drawing/2014/main" id="{6FB02FB2-2519-4AF1-AE68-F9FA94F1386F}"/>
              </a:ext>
            </a:extLst>
          </p:cNvPr>
          <p:cNvSpPr/>
          <p:nvPr/>
        </p:nvSpPr>
        <p:spPr>
          <a:xfrm>
            <a:off x="10982366" y="1673468"/>
            <a:ext cx="152400" cy="15303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a:t>
            </a:r>
          </a:p>
        </p:txBody>
      </p:sp>
      <p:grpSp>
        <p:nvGrpSpPr>
          <p:cNvPr id="64" name="Group 63">
            <a:extLst>
              <a:ext uri="{FF2B5EF4-FFF2-40B4-BE49-F238E27FC236}">
                <a16:creationId xmlns:a16="http://schemas.microsoft.com/office/drawing/2014/main" id="{377E79E5-1FF6-450C-B5DC-41006E418BC5}"/>
              </a:ext>
            </a:extLst>
          </p:cNvPr>
          <p:cNvGrpSpPr/>
          <p:nvPr/>
        </p:nvGrpSpPr>
        <p:grpSpPr>
          <a:xfrm>
            <a:off x="2759178" y="6423131"/>
            <a:ext cx="3464642" cy="246221"/>
            <a:chOff x="1943100" y="6364860"/>
            <a:chExt cx="3464642" cy="246221"/>
          </a:xfrm>
        </p:grpSpPr>
        <p:sp>
          <p:nvSpPr>
            <p:cNvPr id="65" name="Oval 64">
              <a:extLst>
                <a:ext uri="{FF2B5EF4-FFF2-40B4-BE49-F238E27FC236}">
                  <a16:creationId xmlns:a16="http://schemas.microsoft.com/office/drawing/2014/main" id="{3690E6A2-EF3F-4109-88C6-170DDC957E4B}"/>
                </a:ext>
              </a:extLst>
            </p:cNvPr>
            <p:cNvSpPr/>
            <p:nvPr/>
          </p:nvSpPr>
          <p:spPr>
            <a:xfrm>
              <a:off x="1943100"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72" name="TextBox 71">
              <a:extLst>
                <a:ext uri="{FF2B5EF4-FFF2-40B4-BE49-F238E27FC236}">
                  <a16:creationId xmlns:a16="http://schemas.microsoft.com/office/drawing/2014/main" id="{B91D8C5A-2FCB-46B7-BDD6-156C9CDBF36C}"/>
                </a:ext>
              </a:extLst>
            </p:cNvPr>
            <p:cNvSpPr txBox="1"/>
            <p:nvPr/>
          </p:nvSpPr>
          <p:spPr>
            <a:xfrm>
              <a:off x="2095499" y="6364860"/>
              <a:ext cx="3312243" cy="246221"/>
            </a:xfrm>
            <a:prstGeom prst="rect">
              <a:avLst/>
            </a:prstGeom>
            <a:noFill/>
          </p:spPr>
          <p:txBody>
            <a:bodyPr wrap="square">
              <a:spAutoFit/>
            </a:bodyPr>
            <a:lstStyle/>
            <a:p>
              <a:r>
                <a:rPr lang="en-US" sz="1000"/>
                <a:t>Commercial strategy &amp; analytics to identify opportunities</a:t>
              </a:r>
            </a:p>
          </p:txBody>
        </p:sp>
      </p:grpSp>
      <p:grpSp>
        <p:nvGrpSpPr>
          <p:cNvPr id="73" name="Group 72">
            <a:extLst>
              <a:ext uri="{FF2B5EF4-FFF2-40B4-BE49-F238E27FC236}">
                <a16:creationId xmlns:a16="http://schemas.microsoft.com/office/drawing/2014/main" id="{E1E63BF4-0AA1-483F-9E79-38A157A6CD7A}"/>
              </a:ext>
            </a:extLst>
          </p:cNvPr>
          <p:cNvGrpSpPr/>
          <p:nvPr/>
        </p:nvGrpSpPr>
        <p:grpSpPr>
          <a:xfrm>
            <a:off x="6149669" y="6423131"/>
            <a:ext cx="1645142" cy="246221"/>
            <a:chOff x="4537058" y="6372401"/>
            <a:chExt cx="1645142" cy="246221"/>
          </a:xfrm>
        </p:grpSpPr>
        <p:sp>
          <p:nvSpPr>
            <p:cNvPr id="74" name="Oval 73">
              <a:extLst>
                <a:ext uri="{FF2B5EF4-FFF2-40B4-BE49-F238E27FC236}">
                  <a16:creationId xmlns:a16="http://schemas.microsoft.com/office/drawing/2014/main" id="{FC2860EC-981B-4A89-829D-42CE32CB0608}"/>
                </a:ext>
              </a:extLst>
            </p:cNvPr>
            <p:cNvSpPr/>
            <p:nvPr/>
          </p:nvSpPr>
          <p:spPr>
            <a:xfrm>
              <a:off x="4537058"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75" name="TextBox 74">
              <a:extLst>
                <a:ext uri="{FF2B5EF4-FFF2-40B4-BE49-F238E27FC236}">
                  <a16:creationId xmlns:a16="http://schemas.microsoft.com/office/drawing/2014/main" id="{80F67AF3-2FFF-4DE2-88E1-8D9ACCA097C5}"/>
                </a:ext>
              </a:extLst>
            </p:cNvPr>
            <p:cNvSpPr txBox="1"/>
            <p:nvPr/>
          </p:nvSpPr>
          <p:spPr>
            <a:xfrm>
              <a:off x="4689458" y="6372401"/>
              <a:ext cx="1492742" cy="246221"/>
            </a:xfrm>
            <a:prstGeom prst="rect">
              <a:avLst/>
            </a:prstGeom>
            <a:noFill/>
          </p:spPr>
          <p:txBody>
            <a:bodyPr wrap="square">
              <a:spAutoFit/>
            </a:bodyPr>
            <a:lstStyle>
              <a:defPPr>
                <a:defRPr lang="en-US"/>
              </a:defPPr>
              <a:lvl1pPr>
                <a:defRPr sz="1000"/>
              </a:lvl1pPr>
            </a:lstStyle>
            <a:p>
              <a:r>
                <a:rPr lang="en-US"/>
                <a:t>Eliminate manual work</a:t>
              </a:r>
            </a:p>
          </p:txBody>
        </p:sp>
      </p:grpSp>
      <p:grpSp>
        <p:nvGrpSpPr>
          <p:cNvPr id="82" name="Group 81">
            <a:extLst>
              <a:ext uri="{FF2B5EF4-FFF2-40B4-BE49-F238E27FC236}">
                <a16:creationId xmlns:a16="http://schemas.microsoft.com/office/drawing/2014/main" id="{E11BE03D-1313-4EA7-8507-294902D05D8B}"/>
              </a:ext>
            </a:extLst>
          </p:cNvPr>
          <p:cNvGrpSpPr/>
          <p:nvPr/>
        </p:nvGrpSpPr>
        <p:grpSpPr>
          <a:xfrm>
            <a:off x="7729368" y="6423131"/>
            <a:ext cx="1442714" cy="246221"/>
            <a:chOff x="7131015" y="6364314"/>
            <a:chExt cx="1442714" cy="246221"/>
          </a:xfrm>
        </p:grpSpPr>
        <p:sp>
          <p:nvSpPr>
            <p:cNvPr id="86" name="Oval 85">
              <a:extLst>
                <a:ext uri="{FF2B5EF4-FFF2-40B4-BE49-F238E27FC236}">
                  <a16:creationId xmlns:a16="http://schemas.microsoft.com/office/drawing/2014/main" id="{628686D4-E431-4020-B2BD-A267ADFA21B2}"/>
                </a:ext>
              </a:extLst>
            </p:cNvPr>
            <p:cNvSpPr/>
            <p:nvPr/>
          </p:nvSpPr>
          <p:spPr>
            <a:xfrm>
              <a:off x="7131015"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87" name="TextBox 86">
              <a:extLst>
                <a:ext uri="{FF2B5EF4-FFF2-40B4-BE49-F238E27FC236}">
                  <a16:creationId xmlns:a16="http://schemas.microsoft.com/office/drawing/2014/main" id="{0A55037B-A7B9-4E72-AEF8-B00E0F3C4DDA}"/>
                </a:ext>
              </a:extLst>
            </p:cNvPr>
            <p:cNvSpPr txBox="1"/>
            <p:nvPr/>
          </p:nvSpPr>
          <p:spPr>
            <a:xfrm>
              <a:off x="7283415" y="6364314"/>
              <a:ext cx="1290314" cy="246221"/>
            </a:xfrm>
            <a:prstGeom prst="rect">
              <a:avLst/>
            </a:prstGeom>
            <a:noFill/>
          </p:spPr>
          <p:txBody>
            <a:bodyPr wrap="square">
              <a:spAutoFit/>
            </a:bodyPr>
            <a:lstStyle>
              <a:defPPr>
                <a:defRPr lang="en-US"/>
              </a:defPPr>
              <a:lvl1pPr>
                <a:defRPr sz="1000"/>
              </a:lvl1pPr>
            </a:lstStyle>
            <a:p>
              <a:r>
                <a:rPr lang="en-US"/>
                <a:t>Measuring success</a:t>
              </a:r>
            </a:p>
          </p:txBody>
        </p:sp>
      </p:grpSp>
      <p:sp>
        <p:nvSpPr>
          <p:cNvPr id="88" name="TextBox 87">
            <a:extLst>
              <a:ext uri="{FF2B5EF4-FFF2-40B4-BE49-F238E27FC236}">
                <a16:creationId xmlns:a16="http://schemas.microsoft.com/office/drawing/2014/main" id="{576463DB-DB80-411B-9DE3-BFD95BF61D9C}"/>
              </a:ext>
            </a:extLst>
          </p:cNvPr>
          <p:cNvSpPr txBox="1"/>
          <p:nvPr/>
        </p:nvSpPr>
        <p:spPr>
          <a:xfrm>
            <a:off x="717448" y="6407129"/>
            <a:ext cx="2089355" cy="246221"/>
          </a:xfrm>
          <a:prstGeom prst="rect">
            <a:avLst/>
          </a:prstGeom>
          <a:noFill/>
        </p:spPr>
        <p:txBody>
          <a:bodyPr wrap="square">
            <a:spAutoFit/>
          </a:bodyPr>
          <a:lstStyle/>
          <a:p>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Global research and insight strategy </a:t>
            </a:r>
            <a:endParaRPr lang="en-US" sz="1000" b="1"/>
          </a:p>
        </p:txBody>
      </p:sp>
      <p:sp>
        <p:nvSpPr>
          <p:cNvPr id="89" name="Oval 88">
            <a:extLst>
              <a:ext uri="{FF2B5EF4-FFF2-40B4-BE49-F238E27FC236}">
                <a16:creationId xmlns:a16="http://schemas.microsoft.com/office/drawing/2014/main" id="{DE636761-0A8D-4C50-BD13-09250341F167}"/>
              </a:ext>
            </a:extLst>
          </p:cNvPr>
          <p:cNvSpPr/>
          <p:nvPr/>
        </p:nvSpPr>
        <p:spPr>
          <a:xfrm>
            <a:off x="9165030" y="6469726"/>
            <a:ext cx="152400" cy="15303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a:t>
            </a:r>
          </a:p>
        </p:txBody>
      </p:sp>
      <p:sp>
        <p:nvSpPr>
          <p:cNvPr id="90" name="TextBox 89">
            <a:extLst>
              <a:ext uri="{FF2B5EF4-FFF2-40B4-BE49-F238E27FC236}">
                <a16:creationId xmlns:a16="http://schemas.microsoft.com/office/drawing/2014/main" id="{6E1285AD-DE66-4178-9148-F11A4023A351}"/>
              </a:ext>
            </a:extLst>
          </p:cNvPr>
          <p:cNvSpPr txBox="1"/>
          <p:nvPr/>
        </p:nvSpPr>
        <p:spPr>
          <a:xfrm>
            <a:off x="9374812" y="6469297"/>
            <a:ext cx="382949" cy="153888"/>
          </a:xfrm>
          <a:prstGeom prst="rect">
            <a:avLst/>
          </a:prstGeom>
        </p:spPr>
        <p:txBody>
          <a:bodyPr wrap="square" lIns="0" tIns="0" rIns="0" bIns="0" rtlCol="0" anchor="t" anchorCtr="0">
            <a:spAutoFit/>
          </a:bodyPr>
          <a:lstStyle/>
          <a:p>
            <a:r>
              <a:rPr lang="en-US" sz="1000"/>
              <a:t>Other</a:t>
            </a:r>
            <a:endParaRPr lang="en-US" sz="1000">
              <a:solidFill>
                <a:schemeClr val="tx1"/>
              </a:solidFill>
            </a:endParaRPr>
          </a:p>
        </p:txBody>
      </p:sp>
    </p:spTree>
    <p:extLst>
      <p:ext uri="{BB962C8B-B14F-4D97-AF65-F5344CB8AC3E}">
        <p14:creationId xmlns:p14="http://schemas.microsoft.com/office/powerpoint/2010/main" val="15956489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2D42B5C-BB40-4EB9-9481-E585A33296B0}"/>
              </a:ext>
            </a:extLst>
          </p:cNvPr>
          <p:cNvSpPr/>
          <p:nvPr/>
        </p:nvSpPr>
        <p:spPr>
          <a:xfrm>
            <a:off x="820153" y="1800890"/>
            <a:ext cx="10363672" cy="4536408"/>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5">
            <a:extLst>
              <a:ext uri="{FF2B5EF4-FFF2-40B4-BE49-F238E27FC236}">
                <a16:creationId xmlns:a16="http://schemas.microsoft.com/office/drawing/2014/main" id="{3BAF9928-6299-406F-AEF6-7E036EBBC275}"/>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0" normalizeH="0" baseline="0" noProof="0">
                <a:ln>
                  <a:noFill/>
                </a:ln>
                <a:solidFill>
                  <a:srgbClr val="0069B4"/>
                </a:solidFill>
                <a:effectLst/>
                <a:uLnTx/>
                <a:uFillTx/>
                <a:latin typeface="Calibri Light" panose="020F0302020204030204" pitchFamily="34" charset="0"/>
                <a:ea typeface="+mj-ea"/>
                <a:cs typeface="Calibri Light" panose="020F0302020204030204" pitchFamily="34" charset="0"/>
              </a:rPr>
              <a:t>Key use cases linked to Objective 4 (2/2)</a:t>
            </a:r>
            <a:endParaRPr kumimoji="0" lang="nl-NL" sz="2400" b="0" i="0" u="none" strike="noStrike" kern="1200" cap="none" spc="0" normalizeH="0" baseline="0" noProof="0">
              <a:ln>
                <a:noFill/>
              </a:ln>
              <a:solidFill>
                <a:srgbClr val="0069B4"/>
              </a:solidFill>
              <a:effectLst/>
              <a:uLnTx/>
              <a:uFillTx/>
              <a:latin typeface="Calibri Light" panose="020F0302020204030204" pitchFamily="34" charset="0"/>
              <a:ea typeface="+mj-ea"/>
              <a:cs typeface="Calibri Light" panose="020F0302020204030204" pitchFamily="34" charset="0"/>
            </a:endParaRPr>
          </a:p>
        </p:txBody>
      </p:sp>
      <p:sp>
        <p:nvSpPr>
          <p:cNvPr id="5" name="Rectangle 4">
            <a:extLst>
              <a:ext uri="{FF2B5EF4-FFF2-40B4-BE49-F238E27FC236}">
                <a16:creationId xmlns:a16="http://schemas.microsoft.com/office/drawing/2014/main" id="{3A23FAE6-30D2-4863-AC08-42FAE1486AC7}"/>
              </a:ext>
            </a:extLst>
          </p:cNvPr>
          <p:cNvSpPr/>
          <p:nvPr/>
        </p:nvSpPr>
        <p:spPr>
          <a:xfrm>
            <a:off x="820155" y="1386731"/>
            <a:ext cx="10363672" cy="414160"/>
          </a:xfrm>
          <a:prstGeom prst="rect">
            <a:avLst/>
          </a:prstGeom>
          <a:solidFill>
            <a:schemeClr val="accent3"/>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Key Use Cases</a:t>
            </a:r>
          </a:p>
        </p:txBody>
      </p:sp>
      <p:pic>
        <p:nvPicPr>
          <p:cNvPr id="8" name="Graphic 7" descr="Document">
            <a:extLst>
              <a:ext uri="{FF2B5EF4-FFF2-40B4-BE49-F238E27FC236}">
                <a16:creationId xmlns:a16="http://schemas.microsoft.com/office/drawing/2014/main" id="{EE398403-83EA-4511-9523-591585C1C41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0154" y="1453534"/>
            <a:ext cx="280553" cy="280553"/>
          </a:xfrm>
          <a:prstGeom prst="rect">
            <a:avLst/>
          </a:prstGeom>
        </p:spPr>
      </p:pic>
      <p:cxnSp>
        <p:nvCxnSpPr>
          <p:cNvPr id="10" name="Straight Connector 9">
            <a:extLst>
              <a:ext uri="{FF2B5EF4-FFF2-40B4-BE49-F238E27FC236}">
                <a16:creationId xmlns:a16="http://schemas.microsoft.com/office/drawing/2014/main" id="{C9D8F6DC-1AA2-4CF5-8D8B-A4EDF2945D72}"/>
              </a:ext>
            </a:extLst>
          </p:cNvPr>
          <p:cNvCxnSpPr>
            <a:cxnSpLocks/>
          </p:cNvCxnSpPr>
          <p:nvPr/>
        </p:nvCxnSpPr>
        <p:spPr>
          <a:xfrm>
            <a:off x="820155" y="1368785"/>
            <a:ext cx="10363672"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Flowchart: Manual Input 11">
            <a:extLst>
              <a:ext uri="{FF2B5EF4-FFF2-40B4-BE49-F238E27FC236}">
                <a16:creationId xmlns:a16="http://schemas.microsoft.com/office/drawing/2014/main" id="{D43FBD03-6942-4227-92CD-9D117322833B}"/>
              </a:ext>
            </a:extLst>
          </p:cNvPr>
          <p:cNvSpPr/>
          <p:nvPr/>
        </p:nvSpPr>
        <p:spPr>
          <a:xfrm>
            <a:off x="820154" y="1039956"/>
            <a:ext cx="1780171"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4</a:t>
            </a:r>
          </a:p>
        </p:txBody>
      </p:sp>
      <p:sp>
        <p:nvSpPr>
          <p:cNvPr id="13" name="TextBox 12">
            <a:extLst>
              <a:ext uri="{FF2B5EF4-FFF2-40B4-BE49-F238E27FC236}">
                <a16:creationId xmlns:a16="http://schemas.microsoft.com/office/drawing/2014/main" id="{E81466E9-5FC6-4C55-8DD8-6EDB226069AE}"/>
              </a:ext>
            </a:extLst>
          </p:cNvPr>
          <p:cNvSpPr txBox="1"/>
          <p:nvPr/>
        </p:nvSpPr>
        <p:spPr>
          <a:xfrm>
            <a:off x="809520" y="2158818"/>
            <a:ext cx="5027753" cy="990015"/>
          </a:xfrm>
          <a:prstGeom prst="rect">
            <a:avLst/>
          </a:prstGeom>
          <a:noFill/>
        </p:spPr>
        <p:txBody>
          <a:bodyPr wrap="square">
            <a:spAutoFit/>
          </a:bodyPr>
          <a:lstStyle/>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Track funds and sales</a:t>
            </a: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Track clients performance</a:t>
            </a: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Create standardized BI dashboards for client reporting across all asset classes</a:t>
            </a: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1" i="0" u="sng" strike="noStrike" kern="1200" cap="none" spc="0" normalizeH="0" baseline="0" noProof="0">
                <a:ln>
                  <a:noFill/>
                </a:ln>
                <a:solidFill>
                  <a:srgbClr val="000000"/>
                </a:solidFill>
                <a:effectLst/>
                <a:uLnTx/>
                <a:uFillTx/>
                <a:latin typeface="Calibri Light" panose="020F0302020204030204"/>
                <a:ea typeface="+mn-ea"/>
                <a:cs typeface="+mn-cs"/>
              </a:rPr>
              <a:t>Current use case: Opportunities and sales activities tracking</a:t>
            </a:r>
          </a:p>
        </p:txBody>
      </p:sp>
      <p:sp>
        <p:nvSpPr>
          <p:cNvPr id="14" name="TextBox 13">
            <a:extLst>
              <a:ext uri="{FF2B5EF4-FFF2-40B4-BE49-F238E27FC236}">
                <a16:creationId xmlns:a16="http://schemas.microsoft.com/office/drawing/2014/main" id="{7F72E001-94C0-4AC0-9089-B2ACB10CC752}"/>
              </a:ext>
            </a:extLst>
          </p:cNvPr>
          <p:cNvSpPr txBox="1"/>
          <p:nvPr/>
        </p:nvSpPr>
        <p:spPr>
          <a:xfrm>
            <a:off x="820151" y="3676366"/>
            <a:ext cx="5027753" cy="830997"/>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Automation/use more technology to get data from global data model to reports to provide insights to mgm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Use more visualization/PowerBI/more user friend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Automate manual forecasts, use predictive analytics</a:t>
            </a:r>
          </a:p>
        </p:txBody>
      </p:sp>
      <p:sp>
        <p:nvSpPr>
          <p:cNvPr id="21" name="Rectangle 20">
            <a:extLst>
              <a:ext uri="{FF2B5EF4-FFF2-40B4-BE49-F238E27FC236}">
                <a16:creationId xmlns:a16="http://schemas.microsoft.com/office/drawing/2014/main" id="{4FE58803-35CA-419A-B772-E980447713AD}"/>
              </a:ext>
            </a:extLst>
          </p:cNvPr>
          <p:cNvSpPr/>
          <p:nvPr/>
        </p:nvSpPr>
        <p:spPr>
          <a:xfrm>
            <a:off x="824345" y="1911671"/>
            <a:ext cx="5023561" cy="252000"/>
          </a:xfrm>
          <a:prstGeom prst="rect">
            <a:avLst/>
          </a:prstGeom>
          <a:noFill/>
          <a:ln w="25400" cap="flat" cmpd="sng" algn="ctr">
            <a:solidFill>
              <a:schemeClr val="tx2"/>
            </a:solid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a:ea typeface="+mn-ea"/>
                <a:cs typeface="+mn-cs"/>
              </a:rPr>
              <a:t>Distribution/product incl. Client Group:</a:t>
            </a:r>
          </a:p>
        </p:txBody>
      </p:sp>
      <p:sp>
        <p:nvSpPr>
          <p:cNvPr id="22" name="Rectangle 21">
            <a:extLst>
              <a:ext uri="{FF2B5EF4-FFF2-40B4-BE49-F238E27FC236}">
                <a16:creationId xmlns:a16="http://schemas.microsoft.com/office/drawing/2014/main" id="{DEB99EE6-BC43-420C-A40B-328138E9D423}"/>
              </a:ext>
            </a:extLst>
          </p:cNvPr>
          <p:cNvSpPr/>
          <p:nvPr/>
        </p:nvSpPr>
        <p:spPr>
          <a:xfrm>
            <a:off x="824345" y="3407907"/>
            <a:ext cx="5023561" cy="252000"/>
          </a:xfrm>
          <a:prstGeom prst="rect">
            <a:avLst/>
          </a:prstGeom>
          <a:noFill/>
          <a:ln w="25400" cap="flat" cmpd="sng" algn="ctr">
            <a:solidFill>
              <a:schemeClr val="tx2"/>
            </a:solid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a:ea typeface="+mn-ea"/>
                <a:cs typeface="+mn-cs"/>
              </a:rPr>
              <a:t>Finance</a:t>
            </a:r>
          </a:p>
        </p:txBody>
      </p:sp>
      <p:sp>
        <p:nvSpPr>
          <p:cNvPr id="15" name="TextBox 14">
            <a:extLst>
              <a:ext uri="{FF2B5EF4-FFF2-40B4-BE49-F238E27FC236}">
                <a16:creationId xmlns:a16="http://schemas.microsoft.com/office/drawing/2014/main" id="{D5027047-6373-4A7C-B190-CE8858696801}"/>
              </a:ext>
            </a:extLst>
          </p:cNvPr>
          <p:cNvSpPr txBox="1"/>
          <p:nvPr/>
        </p:nvSpPr>
        <p:spPr>
          <a:xfrm>
            <a:off x="6145440" y="2179232"/>
            <a:ext cx="5027751" cy="810478"/>
          </a:xfrm>
          <a:prstGeom prst="rect">
            <a:avLst/>
          </a:prstGeom>
          <a:noFill/>
        </p:spPr>
        <p:txBody>
          <a:bodyPr wrap="square">
            <a:spAutoFit/>
          </a:bodyPr>
          <a:lstStyle/>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More analytics/forecasting on what is going to happen/turnover for leaders</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Understand what is driving people/how to drive behavior &amp; performance</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Systems for employee experience</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p:txBody>
      </p:sp>
      <p:sp>
        <p:nvSpPr>
          <p:cNvPr id="18" name="TextBox 17">
            <a:extLst>
              <a:ext uri="{FF2B5EF4-FFF2-40B4-BE49-F238E27FC236}">
                <a16:creationId xmlns:a16="http://schemas.microsoft.com/office/drawing/2014/main" id="{6D50669B-C6B5-43FE-B227-D52ED440CE50}"/>
              </a:ext>
            </a:extLst>
          </p:cNvPr>
          <p:cNvSpPr txBox="1"/>
          <p:nvPr/>
        </p:nvSpPr>
        <p:spPr>
          <a:xfrm>
            <a:off x="6156072" y="3676366"/>
            <a:ext cx="5027751" cy="1708160"/>
          </a:xfrm>
          <a:prstGeom prst="rect">
            <a:avLst/>
          </a:prstGeom>
          <a:noFill/>
        </p:spPr>
        <p:txBody>
          <a:bodyPr wrap="square">
            <a:spAutoFit/>
          </a:bodyPr>
          <a:lstStyle/>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err="1">
                <a:ln>
                  <a:noFill/>
                </a:ln>
                <a:solidFill>
                  <a:srgbClr val="000000"/>
                </a:solidFill>
                <a:effectLst/>
                <a:uLnTx/>
                <a:uFillTx/>
                <a:latin typeface="Calibri Light" panose="020F0302020204030204"/>
                <a:ea typeface="+mn-ea"/>
                <a:cs typeface="+mn-cs"/>
              </a:rPr>
              <a:t>AuM</a:t>
            </a: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 personnel data, performance data, portfolio characteristics and portfolio attribution</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Automate update of factsheets and presentation on the website -&gt; good for sales &amp; RFPs; Focus more on advertising, Show trends to sales team, Thought leadership &amp; Individual campaigns</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Prospects/market analysis; What products are hot? Which industries/type of clients?</a:t>
            </a: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Cross sell/suggestions for new buying decisions</a:t>
            </a:r>
            <a:endParaRPr kumimoji="0" lang="nl-NL" sz="1200" b="0" i="0" u="none" strike="noStrike" kern="1200" cap="none" spc="0" normalizeH="0" baseline="0" noProof="0">
              <a:ln>
                <a:noFill/>
              </a:ln>
              <a:solidFill>
                <a:srgbClr val="000000"/>
              </a:solidFill>
              <a:effectLst/>
              <a:uLnTx/>
              <a:uFillTx/>
              <a:latin typeface="Calibri Light" panose="020F0302020204030204"/>
              <a:ea typeface="+mn-ea"/>
              <a:cs typeface="+mn-cs"/>
            </a:endParaRPr>
          </a:p>
          <a:p>
            <a:pPr marL="314325" marR="0" lvl="1" indent="-228600" algn="l" defTabSz="914400" rtl="0" eaLnBrk="1" fontAlgn="auto" latinLnBrk="0" hangingPunct="1">
              <a:lnSpc>
                <a:spcPts val="135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000000"/>
                </a:solidFill>
                <a:effectLst/>
                <a:uLnTx/>
                <a:uFillTx/>
                <a:latin typeface="Calibri Light" panose="020F0302020204030204"/>
                <a:ea typeface="+mn-ea"/>
                <a:cs typeface="+mn-cs"/>
              </a:rPr>
              <a:t>Prepare sales with social media data</a:t>
            </a:r>
            <a:endPar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endParaRPr>
          </a:p>
        </p:txBody>
      </p:sp>
      <p:sp>
        <p:nvSpPr>
          <p:cNvPr id="23" name="Rectangle 22">
            <a:extLst>
              <a:ext uri="{FF2B5EF4-FFF2-40B4-BE49-F238E27FC236}">
                <a16:creationId xmlns:a16="http://schemas.microsoft.com/office/drawing/2014/main" id="{0F031FB9-9CA1-44D8-8B02-D82CF5E6970F}"/>
              </a:ext>
            </a:extLst>
          </p:cNvPr>
          <p:cNvSpPr/>
          <p:nvPr/>
        </p:nvSpPr>
        <p:spPr>
          <a:xfrm>
            <a:off x="6156073" y="1906905"/>
            <a:ext cx="5027752" cy="252000"/>
          </a:xfrm>
          <a:prstGeom prst="rect">
            <a:avLst/>
          </a:prstGeom>
          <a:noFill/>
          <a:ln w="25400" cap="flat" cmpd="sng" algn="ctr">
            <a:solidFill>
              <a:schemeClr val="tx2"/>
            </a:solid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a:ea typeface="+mn-ea"/>
                <a:cs typeface="+mn-cs"/>
              </a:rPr>
              <a:t>Human Resources</a:t>
            </a:r>
            <a:endParaRPr kumimoji="0" lang="nl-NL" sz="12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29168089-C23B-4ACA-AF4D-AB4F6B653BBB}"/>
              </a:ext>
            </a:extLst>
          </p:cNvPr>
          <p:cNvSpPr/>
          <p:nvPr/>
        </p:nvSpPr>
        <p:spPr>
          <a:xfrm>
            <a:off x="6156073" y="3407907"/>
            <a:ext cx="5027752" cy="252000"/>
          </a:xfrm>
          <a:prstGeom prst="rect">
            <a:avLst/>
          </a:prstGeom>
          <a:noFill/>
          <a:ln w="25400" cap="flat" cmpd="sng" algn="ctr">
            <a:solidFill>
              <a:schemeClr val="tx2"/>
            </a:solid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panose="020F0502020204030204"/>
                <a:ea typeface="+mn-ea"/>
                <a:cs typeface="+mn-cs"/>
              </a:rPr>
              <a:t>Marketing</a:t>
            </a:r>
            <a:endParaRPr kumimoji="0" lang="nl-NL" sz="1200" b="1" i="0" u="none" strike="noStrike" kern="0" cap="none" spc="0" normalizeH="0" baseline="0" noProof="0">
              <a:ln>
                <a:noFill/>
              </a:ln>
              <a:solidFill>
                <a:srgbClr val="000000"/>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333E7F73-502D-4695-A410-5A36F288FFA5}"/>
              </a:ext>
            </a:extLst>
          </p:cNvPr>
          <p:cNvPicPr>
            <a:picLocks noChangeAspect="1"/>
          </p:cNvPicPr>
          <p:nvPr/>
        </p:nvPicPr>
        <p:blipFill>
          <a:blip r:embed="rId4"/>
          <a:stretch>
            <a:fillRect/>
          </a:stretch>
        </p:blipFill>
        <p:spPr>
          <a:xfrm>
            <a:off x="878232" y="1922453"/>
            <a:ext cx="259886" cy="220903"/>
          </a:xfrm>
          <a:prstGeom prst="rect">
            <a:avLst/>
          </a:prstGeom>
        </p:spPr>
      </p:pic>
      <p:pic>
        <p:nvPicPr>
          <p:cNvPr id="4" name="Picture 3">
            <a:extLst>
              <a:ext uri="{FF2B5EF4-FFF2-40B4-BE49-F238E27FC236}">
                <a16:creationId xmlns:a16="http://schemas.microsoft.com/office/drawing/2014/main" id="{59A6E984-FAFD-45AD-A490-548A52C8425F}"/>
              </a:ext>
            </a:extLst>
          </p:cNvPr>
          <p:cNvPicPr>
            <a:picLocks noChangeAspect="1"/>
          </p:cNvPicPr>
          <p:nvPr/>
        </p:nvPicPr>
        <p:blipFill>
          <a:blip r:embed="rId5"/>
          <a:stretch>
            <a:fillRect/>
          </a:stretch>
        </p:blipFill>
        <p:spPr>
          <a:xfrm>
            <a:off x="6204318" y="3415991"/>
            <a:ext cx="259087" cy="240581"/>
          </a:xfrm>
          <a:prstGeom prst="rect">
            <a:avLst/>
          </a:prstGeom>
        </p:spPr>
      </p:pic>
      <p:pic>
        <p:nvPicPr>
          <p:cNvPr id="6" name="Picture 5">
            <a:extLst>
              <a:ext uri="{FF2B5EF4-FFF2-40B4-BE49-F238E27FC236}">
                <a16:creationId xmlns:a16="http://schemas.microsoft.com/office/drawing/2014/main" id="{B49BDB2C-3601-4964-ABE4-B19974A1876C}"/>
              </a:ext>
            </a:extLst>
          </p:cNvPr>
          <p:cNvPicPr>
            <a:picLocks noChangeAspect="1"/>
          </p:cNvPicPr>
          <p:nvPr/>
        </p:nvPicPr>
        <p:blipFill>
          <a:blip r:embed="rId6"/>
          <a:stretch>
            <a:fillRect/>
          </a:stretch>
        </p:blipFill>
        <p:spPr>
          <a:xfrm>
            <a:off x="854282" y="3445804"/>
            <a:ext cx="212295" cy="176205"/>
          </a:xfrm>
          <a:prstGeom prst="rect">
            <a:avLst/>
          </a:prstGeom>
        </p:spPr>
      </p:pic>
      <p:pic>
        <p:nvPicPr>
          <p:cNvPr id="7" name="Picture 6">
            <a:extLst>
              <a:ext uri="{FF2B5EF4-FFF2-40B4-BE49-F238E27FC236}">
                <a16:creationId xmlns:a16="http://schemas.microsoft.com/office/drawing/2014/main" id="{E0BB0879-12F5-4104-BC4D-A15746BCAAF6}"/>
              </a:ext>
            </a:extLst>
          </p:cNvPr>
          <p:cNvPicPr>
            <a:picLocks noChangeAspect="1"/>
          </p:cNvPicPr>
          <p:nvPr/>
        </p:nvPicPr>
        <p:blipFill>
          <a:blip r:embed="rId7"/>
          <a:stretch>
            <a:fillRect/>
          </a:stretch>
        </p:blipFill>
        <p:spPr>
          <a:xfrm>
            <a:off x="6230454" y="1958455"/>
            <a:ext cx="243584" cy="169553"/>
          </a:xfrm>
          <a:prstGeom prst="rect">
            <a:avLst/>
          </a:prstGeom>
        </p:spPr>
      </p:pic>
      <p:sp>
        <p:nvSpPr>
          <p:cNvPr id="25" name="Rectangle 24">
            <a:extLst>
              <a:ext uri="{FF2B5EF4-FFF2-40B4-BE49-F238E27FC236}">
                <a16:creationId xmlns:a16="http://schemas.microsoft.com/office/drawing/2014/main" id="{ADFCFA08-C4C2-4A60-A92E-DC1628062A56}"/>
              </a:ext>
            </a:extLst>
          </p:cNvPr>
          <p:cNvSpPr/>
          <p:nvPr/>
        </p:nvSpPr>
        <p:spPr>
          <a:xfrm>
            <a:off x="2600325" y="1043154"/>
            <a:ext cx="8634845"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Building a global way of working in enabling the business to use analytics and data innovation techniques to improve  investment decisions and client experience</a:t>
            </a:r>
          </a:p>
        </p:txBody>
      </p:sp>
      <p:sp>
        <p:nvSpPr>
          <p:cNvPr id="26" name="Flowchart: Preparation 25">
            <a:extLst>
              <a:ext uri="{FF2B5EF4-FFF2-40B4-BE49-F238E27FC236}">
                <a16:creationId xmlns:a16="http://schemas.microsoft.com/office/drawing/2014/main" id="{28232F06-08DF-40FE-8221-814511B42D85}"/>
              </a:ext>
            </a:extLst>
          </p:cNvPr>
          <p:cNvSpPr/>
          <p:nvPr/>
        </p:nvSpPr>
        <p:spPr>
          <a:xfrm rot="20421027">
            <a:off x="26435" y="126539"/>
            <a:ext cx="525497" cy="248232"/>
          </a:xfrm>
          <a:prstGeom prst="flowChartPreparation">
            <a:avLst/>
          </a:prstGeom>
          <a:solidFill>
            <a:schemeClr val="accent4"/>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WIP</a:t>
            </a:r>
          </a:p>
        </p:txBody>
      </p:sp>
      <p:sp>
        <p:nvSpPr>
          <p:cNvPr id="42" name="Oval 41">
            <a:extLst>
              <a:ext uri="{FF2B5EF4-FFF2-40B4-BE49-F238E27FC236}">
                <a16:creationId xmlns:a16="http://schemas.microsoft.com/office/drawing/2014/main" id="{9919BDD1-72CF-49D2-A65E-CC737DAEA054}"/>
              </a:ext>
            </a:extLst>
          </p:cNvPr>
          <p:cNvSpPr/>
          <p:nvPr/>
        </p:nvSpPr>
        <p:spPr>
          <a:xfrm>
            <a:off x="2580189" y="2227341"/>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43" name="Oval 42">
            <a:extLst>
              <a:ext uri="{FF2B5EF4-FFF2-40B4-BE49-F238E27FC236}">
                <a16:creationId xmlns:a16="http://schemas.microsoft.com/office/drawing/2014/main" id="{8CE7C23F-C62B-4587-8D36-823758199BA9}"/>
              </a:ext>
            </a:extLst>
          </p:cNvPr>
          <p:cNvSpPr/>
          <p:nvPr/>
        </p:nvSpPr>
        <p:spPr>
          <a:xfrm>
            <a:off x="2837089" y="2388451"/>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44" name="Oval 43">
            <a:extLst>
              <a:ext uri="{FF2B5EF4-FFF2-40B4-BE49-F238E27FC236}">
                <a16:creationId xmlns:a16="http://schemas.microsoft.com/office/drawing/2014/main" id="{CC035BED-126E-4F06-889E-2F603C5E2DA2}"/>
              </a:ext>
            </a:extLst>
          </p:cNvPr>
          <p:cNvSpPr/>
          <p:nvPr/>
        </p:nvSpPr>
        <p:spPr>
          <a:xfrm>
            <a:off x="1674489" y="2749859"/>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45" name="Oval 44">
            <a:extLst>
              <a:ext uri="{FF2B5EF4-FFF2-40B4-BE49-F238E27FC236}">
                <a16:creationId xmlns:a16="http://schemas.microsoft.com/office/drawing/2014/main" id="{34ED36A3-7F79-4465-B38F-0840A1541DE7}"/>
              </a:ext>
            </a:extLst>
          </p:cNvPr>
          <p:cNvSpPr/>
          <p:nvPr/>
        </p:nvSpPr>
        <p:spPr>
          <a:xfrm>
            <a:off x="4831357" y="2928386"/>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46" name="Oval 45">
            <a:extLst>
              <a:ext uri="{FF2B5EF4-FFF2-40B4-BE49-F238E27FC236}">
                <a16:creationId xmlns:a16="http://schemas.microsoft.com/office/drawing/2014/main" id="{02F55B31-FA7D-4FF4-B12F-36AF49CDB3A2}"/>
              </a:ext>
            </a:extLst>
          </p:cNvPr>
          <p:cNvSpPr/>
          <p:nvPr/>
        </p:nvSpPr>
        <p:spPr>
          <a:xfrm>
            <a:off x="3369538" y="3916814"/>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47" name="Oval 46">
            <a:extLst>
              <a:ext uri="{FF2B5EF4-FFF2-40B4-BE49-F238E27FC236}">
                <a16:creationId xmlns:a16="http://schemas.microsoft.com/office/drawing/2014/main" id="{46BBBB92-F45F-4592-AABC-05F7D6EEAF6B}"/>
              </a:ext>
            </a:extLst>
          </p:cNvPr>
          <p:cNvSpPr/>
          <p:nvPr/>
        </p:nvSpPr>
        <p:spPr>
          <a:xfrm>
            <a:off x="4336111" y="4100716"/>
            <a:ext cx="152400" cy="15303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a:t>
            </a:r>
          </a:p>
        </p:txBody>
      </p:sp>
      <p:sp>
        <p:nvSpPr>
          <p:cNvPr id="48" name="Oval 47">
            <a:extLst>
              <a:ext uri="{FF2B5EF4-FFF2-40B4-BE49-F238E27FC236}">
                <a16:creationId xmlns:a16="http://schemas.microsoft.com/office/drawing/2014/main" id="{788B6F23-B42A-409A-95F5-92B5AD3A5D13}"/>
              </a:ext>
            </a:extLst>
          </p:cNvPr>
          <p:cNvSpPr/>
          <p:nvPr/>
        </p:nvSpPr>
        <p:spPr>
          <a:xfrm>
            <a:off x="4375381" y="4295640"/>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50" name="Oval 49">
            <a:extLst>
              <a:ext uri="{FF2B5EF4-FFF2-40B4-BE49-F238E27FC236}">
                <a16:creationId xmlns:a16="http://schemas.microsoft.com/office/drawing/2014/main" id="{E20089DA-EA16-4179-97A9-DA97EC2A5D88}"/>
              </a:ext>
            </a:extLst>
          </p:cNvPr>
          <p:cNvSpPr/>
          <p:nvPr/>
        </p:nvSpPr>
        <p:spPr>
          <a:xfrm>
            <a:off x="10989477" y="1958398"/>
            <a:ext cx="152400" cy="15303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a:t>
            </a:r>
          </a:p>
        </p:txBody>
      </p:sp>
      <p:sp>
        <p:nvSpPr>
          <p:cNvPr id="51" name="Oval 50">
            <a:extLst>
              <a:ext uri="{FF2B5EF4-FFF2-40B4-BE49-F238E27FC236}">
                <a16:creationId xmlns:a16="http://schemas.microsoft.com/office/drawing/2014/main" id="{5B1195F2-E8D5-4613-85BC-42133DA11170}"/>
              </a:ext>
            </a:extLst>
          </p:cNvPr>
          <p:cNvSpPr/>
          <p:nvPr/>
        </p:nvSpPr>
        <p:spPr>
          <a:xfrm>
            <a:off x="7858731" y="3904769"/>
            <a:ext cx="152400" cy="15303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a:t>
            </a:r>
          </a:p>
        </p:txBody>
      </p:sp>
      <p:sp>
        <p:nvSpPr>
          <p:cNvPr id="52" name="Oval 51">
            <a:extLst>
              <a:ext uri="{FF2B5EF4-FFF2-40B4-BE49-F238E27FC236}">
                <a16:creationId xmlns:a16="http://schemas.microsoft.com/office/drawing/2014/main" id="{3D76B0B4-BAAC-4A3D-9D4A-7749218806C2}"/>
              </a:ext>
            </a:extLst>
          </p:cNvPr>
          <p:cNvSpPr/>
          <p:nvPr/>
        </p:nvSpPr>
        <p:spPr>
          <a:xfrm>
            <a:off x="9239138" y="4430617"/>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53" name="Oval 52">
            <a:extLst>
              <a:ext uri="{FF2B5EF4-FFF2-40B4-BE49-F238E27FC236}">
                <a16:creationId xmlns:a16="http://schemas.microsoft.com/office/drawing/2014/main" id="{5E40DAD9-808B-4F59-B7E9-C460576FF35D}"/>
              </a:ext>
            </a:extLst>
          </p:cNvPr>
          <p:cNvSpPr/>
          <p:nvPr/>
        </p:nvSpPr>
        <p:spPr>
          <a:xfrm>
            <a:off x="7265407" y="479637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54" name="Oval 53">
            <a:extLst>
              <a:ext uri="{FF2B5EF4-FFF2-40B4-BE49-F238E27FC236}">
                <a16:creationId xmlns:a16="http://schemas.microsoft.com/office/drawing/2014/main" id="{61D40A80-B6E0-4FD2-B616-B0450F50FEB2}"/>
              </a:ext>
            </a:extLst>
          </p:cNvPr>
          <p:cNvSpPr/>
          <p:nvPr/>
        </p:nvSpPr>
        <p:spPr>
          <a:xfrm>
            <a:off x="9490453" y="4983613"/>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55" name="Oval 54">
            <a:extLst>
              <a:ext uri="{FF2B5EF4-FFF2-40B4-BE49-F238E27FC236}">
                <a16:creationId xmlns:a16="http://schemas.microsoft.com/office/drawing/2014/main" id="{80918CB4-A7AB-47F3-8EE1-6C8E2BAECFDA}"/>
              </a:ext>
            </a:extLst>
          </p:cNvPr>
          <p:cNvSpPr/>
          <p:nvPr/>
        </p:nvSpPr>
        <p:spPr>
          <a:xfrm>
            <a:off x="8832952" y="5179558"/>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grpSp>
        <p:nvGrpSpPr>
          <p:cNvPr id="49" name="Group 48">
            <a:extLst>
              <a:ext uri="{FF2B5EF4-FFF2-40B4-BE49-F238E27FC236}">
                <a16:creationId xmlns:a16="http://schemas.microsoft.com/office/drawing/2014/main" id="{E087A64F-D7BC-40F8-A7C7-50FC8B66F504}"/>
              </a:ext>
            </a:extLst>
          </p:cNvPr>
          <p:cNvGrpSpPr/>
          <p:nvPr/>
        </p:nvGrpSpPr>
        <p:grpSpPr>
          <a:xfrm>
            <a:off x="2759178" y="6423131"/>
            <a:ext cx="3464642" cy="246221"/>
            <a:chOff x="1943100" y="6364860"/>
            <a:chExt cx="3464642" cy="246221"/>
          </a:xfrm>
        </p:grpSpPr>
        <p:sp>
          <p:nvSpPr>
            <p:cNvPr id="56" name="Oval 55">
              <a:extLst>
                <a:ext uri="{FF2B5EF4-FFF2-40B4-BE49-F238E27FC236}">
                  <a16:creationId xmlns:a16="http://schemas.microsoft.com/office/drawing/2014/main" id="{3A6E1885-A412-494A-884E-F43B80266A03}"/>
                </a:ext>
              </a:extLst>
            </p:cNvPr>
            <p:cNvSpPr/>
            <p:nvPr/>
          </p:nvSpPr>
          <p:spPr>
            <a:xfrm>
              <a:off x="1943100"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1</a:t>
              </a:r>
            </a:p>
          </p:txBody>
        </p:sp>
        <p:sp>
          <p:nvSpPr>
            <p:cNvPr id="57" name="TextBox 56">
              <a:extLst>
                <a:ext uri="{FF2B5EF4-FFF2-40B4-BE49-F238E27FC236}">
                  <a16:creationId xmlns:a16="http://schemas.microsoft.com/office/drawing/2014/main" id="{1377C21A-C050-45F8-9F5C-FC51CC972ECB}"/>
                </a:ext>
              </a:extLst>
            </p:cNvPr>
            <p:cNvSpPr txBox="1"/>
            <p:nvPr/>
          </p:nvSpPr>
          <p:spPr>
            <a:xfrm>
              <a:off x="2095499" y="6364860"/>
              <a:ext cx="3312243" cy="246221"/>
            </a:xfrm>
            <a:prstGeom prst="rect">
              <a:avLst/>
            </a:prstGeom>
            <a:noFill/>
          </p:spPr>
          <p:txBody>
            <a:bodyPr wrap="square">
              <a:spAutoFit/>
            </a:bodyPr>
            <a:lstStyle/>
            <a:p>
              <a:r>
                <a:rPr lang="en-US" sz="1000"/>
                <a:t>Commercial strategy &amp; analytics to identify opportunities</a:t>
              </a:r>
            </a:p>
          </p:txBody>
        </p:sp>
      </p:grpSp>
      <p:grpSp>
        <p:nvGrpSpPr>
          <p:cNvPr id="58" name="Group 57">
            <a:extLst>
              <a:ext uri="{FF2B5EF4-FFF2-40B4-BE49-F238E27FC236}">
                <a16:creationId xmlns:a16="http://schemas.microsoft.com/office/drawing/2014/main" id="{1EBFC928-70DD-4DFE-A1EC-B7E7E6738BBA}"/>
              </a:ext>
            </a:extLst>
          </p:cNvPr>
          <p:cNvGrpSpPr/>
          <p:nvPr/>
        </p:nvGrpSpPr>
        <p:grpSpPr>
          <a:xfrm>
            <a:off x="6149669" y="6423131"/>
            <a:ext cx="1645142" cy="246221"/>
            <a:chOff x="4537058" y="6372401"/>
            <a:chExt cx="1645142" cy="246221"/>
          </a:xfrm>
        </p:grpSpPr>
        <p:sp>
          <p:nvSpPr>
            <p:cNvPr id="59" name="Oval 58">
              <a:extLst>
                <a:ext uri="{FF2B5EF4-FFF2-40B4-BE49-F238E27FC236}">
                  <a16:creationId xmlns:a16="http://schemas.microsoft.com/office/drawing/2014/main" id="{FB0BE7DF-4758-4931-B265-BF4ADB90AD13}"/>
                </a:ext>
              </a:extLst>
            </p:cNvPr>
            <p:cNvSpPr/>
            <p:nvPr/>
          </p:nvSpPr>
          <p:spPr>
            <a:xfrm>
              <a:off x="4537058"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2</a:t>
              </a:r>
            </a:p>
          </p:txBody>
        </p:sp>
        <p:sp>
          <p:nvSpPr>
            <p:cNvPr id="60" name="TextBox 59">
              <a:extLst>
                <a:ext uri="{FF2B5EF4-FFF2-40B4-BE49-F238E27FC236}">
                  <a16:creationId xmlns:a16="http://schemas.microsoft.com/office/drawing/2014/main" id="{20D40D2D-71A3-4C36-A2CA-5977D4CC5BDC}"/>
                </a:ext>
              </a:extLst>
            </p:cNvPr>
            <p:cNvSpPr txBox="1"/>
            <p:nvPr/>
          </p:nvSpPr>
          <p:spPr>
            <a:xfrm>
              <a:off x="4689458" y="6372401"/>
              <a:ext cx="1492742" cy="246221"/>
            </a:xfrm>
            <a:prstGeom prst="rect">
              <a:avLst/>
            </a:prstGeom>
            <a:noFill/>
          </p:spPr>
          <p:txBody>
            <a:bodyPr wrap="square">
              <a:spAutoFit/>
            </a:bodyPr>
            <a:lstStyle>
              <a:defPPr>
                <a:defRPr lang="en-US"/>
              </a:defPPr>
              <a:lvl1pPr>
                <a:defRPr sz="1000"/>
              </a:lvl1pPr>
            </a:lstStyle>
            <a:p>
              <a:r>
                <a:rPr lang="en-US"/>
                <a:t>Eliminate manual work</a:t>
              </a:r>
            </a:p>
          </p:txBody>
        </p:sp>
      </p:grpSp>
      <p:grpSp>
        <p:nvGrpSpPr>
          <p:cNvPr id="61" name="Group 60">
            <a:extLst>
              <a:ext uri="{FF2B5EF4-FFF2-40B4-BE49-F238E27FC236}">
                <a16:creationId xmlns:a16="http://schemas.microsoft.com/office/drawing/2014/main" id="{E57F94CF-FB51-487C-9CFC-73F1C57394B0}"/>
              </a:ext>
            </a:extLst>
          </p:cNvPr>
          <p:cNvGrpSpPr/>
          <p:nvPr/>
        </p:nvGrpSpPr>
        <p:grpSpPr>
          <a:xfrm>
            <a:off x="7729368" y="6423131"/>
            <a:ext cx="1442714" cy="246221"/>
            <a:chOff x="7131015" y="6364314"/>
            <a:chExt cx="1442714" cy="246221"/>
          </a:xfrm>
        </p:grpSpPr>
        <p:sp>
          <p:nvSpPr>
            <p:cNvPr id="62" name="Oval 61">
              <a:extLst>
                <a:ext uri="{FF2B5EF4-FFF2-40B4-BE49-F238E27FC236}">
                  <a16:creationId xmlns:a16="http://schemas.microsoft.com/office/drawing/2014/main" id="{1C7EF1BE-83FD-4EF1-A35D-3D346FA2A537}"/>
                </a:ext>
              </a:extLst>
            </p:cNvPr>
            <p:cNvSpPr/>
            <p:nvPr/>
          </p:nvSpPr>
          <p:spPr>
            <a:xfrm>
              <a:off x="7131015" y="6407525"/>
              <a:ext cx="152400" cy="153031"/>
            </a:xfrm>
            <a:prstGeom prst="ellips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3</a:t>
              </a:r>
            </a:p>
          </p:txBody>
        </p:sp>
        <p:sp>
          <p:nvSpPr>
            <p:cNvPr id="63" name="TextBox 62">
              <a:extLst>
                <a:ext uri="{FF2B5EF4-FFF2-40B4-BE49-F238E27FC236}">
                  <a16:creationId xmlns:a16="http://schemas.microsoft.com/office/drawing/2014/main" id="{AE92C38D-4F04-4A9C-8CFE-8709C64990D4}"/>
                </a:ext>
              </a:extLst>
            </p:cNvPr>
            <p:cNvSpPr txBox="1"/>
            <p:nvPr/>
          </p:nvSpPr>
          <p:spPr>
            <a:xfrm>
              <a:off x="7283415" y="6364314"/>
              <a:ext cx="1290314" cy="246221"/>
            </a:xfrm>
            <a:prstGeom prst="rect">
              <a:avLst/>
            </a:prstGeom>
            <a:noFill/>
          </p:spPr>
          <p:txBody>
            <a:bodyPr wrap="square">
              <a:spAutoFit/>
            </a:bodyPr>
            <a:lstStyle>
              <a:defPPr>
                <a:defRPr lang="en-US"/>
              </a:defPPr>
              <a:lvl1pPr>
                <a:defRPr sz="1000"/>
              </a:lvl1pPr>
            </a:lstStyle>
            <a:p>
              <a:r>
                <a:rPr lang="en-US"/>
                <a:t>Measuring success</a:t>
              </a:r>
            </a:p>
          </p:txBody>
        </p:sp>
      </p:grpSp>
      <p:sp>
        <p:nvSpPr>
          <p:cNvPr id="64" name="TextBox 63">
            <a:extLst>
              <a:ext uri="{FF2B5EF4-FFF2-40B4-BE49-F238E27FC236}">
                <a16:creationId xmlns:a16="http://schemas.microsoft.com/office/drawing/2014/main" id="{08D4487E-0206-41C1-B8E9-17431E2E5B29}"/>
              </a:ext>
            </a:extLst>
          </p:cNvPr>
          <p:cNvSpPr txBox="1"/>
          <p:nvPr/>
        </p:nvSpPr>
        <p:spPr>
          <a:xfrm>
            <a:off x="717448" y="6407129"/>
            <a:ext cx="2089355" cy="246221"/>
          </a:xfrm>
          <a:prstGeom prst="rect">
            <a:avLst/>
          </a:prstGeom>
          <a:noFill/>
        </p:spPr>
        <p:txBody>
          <a:bodyPr wrap="square">
            <a:spAutoFit/>
          </a:bodyPr>
          <a:lstStyle/>
          <a:p>
            <a:r>
              <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rPr>
              <a:t>Global research and insight strategy </a:t>
            </a:r>
            <a:endParaRPr lang="en-US" sz="1000" b="1"/>
          </a:p>
        </p:txBody>
      </p:sp>
      <p:sp>
        <p:nvSpPr>
          <p:cNvPr id="65" name="Oval 64">
            <a:extLst>
              <a:ext uri="{FF2B5EF4-FFF2-40B4-BE49-F238E27FC236}">
                <a16:creationId xmlns:a16="http://schemas.microsoft.com/office/drawing/2014/main" id="{85042204-0C53-4B1D-A1F0-11F57E80CC53}"/>
              </a:ext>
            </a:extLst>
          </p:cNvPr>
          <p:cNvSpPr/>
          <p:nvPr/>
        </p:nvSpPr>
        <p:spPr>
          <a:xfrm>
            <a:off x="9165030" y="6469726"/>
            <a:ext cx="152400" cy="153031"/>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a:t>
            </a:r>
          </a:p>
        </p:txBody>
      </p:sp>
      <p:sp>
        <p:nvSpPr>
          <p:cNvPr id="66" name="TextBox 65">
            <a:extLst>
              <a:ext uri="{FF2B5EF4-FFF2-40B4-BE49-F238E27FC236}">
                <a16:creationId xmlns:a16="http://schemas.microsoft.com/office/drawing/2014/main" id="{FBB446A5-893F-421D-A7CE-DF9FC80436A6}"/>
              </a:ext>
            </a:extLst>
          </p:cNvPr>
          <p:cNvSpPr txBox="1"/>
          <p:nvPr/>
        </p:nvSpPr>
        <p:spPr>
          <a:xfrm>
            <a:off x="9374812" y="6469297"/>
            <a:ext cx="382949" cy="153888"/>
          </a:xfrm>
          <a:prstGeom prst="rect">
            <a:avLst/>
          </a:prstGeom>
        </p:spPr>
        <p:txBody>
          <a:bodyPr wrap="square" lIns="0" tIns="0" rIns="0" bIns="0" rtlCol="0" anchor="t" anchorCtr="0">
            <a:spAutoFit/>
          </a:bodyPr>
          <a:lstStyle/>
          <a:p>
            <a:r>
              <a:rPr lang="en-US" sz="1000"/>
              <a:t>Other</a:t>
            </a:r>
            <a:endParaRPr lang="en-US" sz="1000">
              <a:solidFill>
                <a:schemeClr val="tx1"/>
              </a:solidFill>
            </a:endParaRPr>
          </a:p>
        </p:txBody>
      </p:sp>
    </p:spTree>
    <p:extLst>
      <p:ext uri="{BB962C8B-B14F-4D97-AF65-F5344CB8AC3E}">
        <p14:creationId xmlns:p14="http://schemas.microsoft.com/office/powerpoint/2010/main" val="1269676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B22B3FF2-3E0F-4602-9D95-ABF4C9939437}"/>
              </a:ext>
            </a:extLst>
          </p:cNvPr>
          <p:cNvSpPr/>
          <p:nvPr/>
        </p:nvSpPr>
        <p:spPr>
          <a:xfrm>
            <a:off x="5879195" y="2989030"/>
            <a:ext cx="5355976" cy="106795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82952029-6BB7-4A31-A512-AF8F0BE6EA6C}"/>
              </a:ext>
            </a:extLst>
          </p:cNvPr>
          <p:cNvSpPr txBox="1"/>
          <p:nvPr/>
        </p:nvSpPr>
        <p:spPr>
          <a:xfrm>
            <a:off x="5880100" y="3289152"/>
            <a:ext cx="5355975" cy="938719"/>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entralize ESG data to create trusted sources of truth (&amp; golden source for carbon data)</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Build ESG data quality checks secured within corporate ESG policy</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ocument ESG business terms, business rules, data lineage and transformations in a central business glossary (e.g. Collibra)</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4E215F30-5DD1-44D7-B1FC-142444411C31}"/>
              </a:ext>
            </a:extLst>
          </p:cNvPr>
          <p:cNvSpPr/>
          <p:nvPr/>
        </p:nvSpPr>
        <p:spPr>
          <a:xfrm>
            <a:off x="837402" y="4174041"/>
            <a:ext cx="4863259" cy="203271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68BE7FBA-7060-4F3A-B244-2006BF0ECDB4}"/>
              </a:ext>
            </a:extLst>
          </p:cNvPr>
          <p:cNvSpPr txBox="1"/>
          <p:nvPr/>
        </p:nvSpPr>
        <p:spPr>
          <a:xfrm>
            <a:off x="820136" y="4483694"/>
            <a:ext cx="4863259" cy="1785104"/>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a:solidFill>
                  <a:srgbClr val="000000"/>
                </a:solidFill>
                <a:latin typeface="Calibri" panose="020F0502020204030204"/>
              </a:rPr>
              <a:t>Collect</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 input from clients and business units on ESG (reporting) needs</a:t>
            </a:r>
          </a:p>
          <a:p>
            <a:pPr marL="314325" indent="-228600">
              <a:buFont typeface="+mj-lt"/>
              <a:buAutoNum type="arabicPeriod"/>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etermine AAM enterprise-wide ESG methodology (per investment platform, per asset class and per investor objective) to take into account while making investment decisions in order to be transparent to our clients</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evelop capabilities to retrieve, review, store and maintain (un)structured external/internal ESG data</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Standardize and </a:t>
            </a:r>
            <a:r>
              <a:rPr lang="en-US" b="1">
                <a:solidFill>
                  <a:srgbClr val="000000"/>
                </a:solidFill>
                <a:latin typeface="Calibri" panose="020F0502020204030204"/>
              </a:rPr>
              <a:t>automate </a:t>
            </a:r>
            <a:r>
              <a:rPr kumimoji="0" lang="en-US" sz="1100" b="1" i="0" u="none" strike="noStrike" kern="1200" cap="none" spc="0" normalizeH="0" baseline="0" noProof="0">
                <a:ln>
                  <a:noFill/>
                </a:ln>
                <a:solidFill>
                  <a:srgbClr val="000000"/>
                </a:solidFill>
                <a:effectLst/>
                <a:uLnTx/>
                <a:uFillTx/>
                <a:latin typeface="Calibri" panose="020F0502020204030204"/>
                <a:ea typeface="+mn-ea"/>
                <a:cs typeface="+mn-cs"/>
              </a:rPr>
              <a:t>operational ESG reporting (internal/global) and the regulatory ESG reporting (external/local)</a:t>
            </a:r>
          </a:p>
          <a:p>
            <a:pPr marL="314325"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Develop framework for commercial teams to standardize (external) ESG reporting for clients</a:t>
            </a:r>
          </a:p>
        </p:txBody>
      </p:sp>
      <p:sp>
        <p:nvSpPr>
          <p:cNvPr id="35" name="Rectangle 34">
            <a:extLst>
              <a:ext uri="{FF2B5EF4-FFF2-40B4-BE49-F238E27FC236}">
                <a16:creationId xmlns:a16="http://schemas.microsoft.com/office/drawing/2014/main" id="{C7ECA67C-9606-45F6-8EC4-9C26F6CE8F3A}"/>
              </a:ext>
            </a:extLst>
          </p:cNvPr>
          <p:cNvSpPr/>
          <p:nvPr/>
        </p:nvSpPr>
        <p:spPr>
          <a:xfrm>
            <a:off x="2152649" y="1516413"/>
            <a:ext cx="3619501" cy="2540576"/>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685B36B4-0BD9-4EAA-AE5E-F97F02DD7BC0}"/>
              </a:ext>
            </a:extLst>
          </p:cNvPr>
          <p:cNvSpPr txBox="1"/>
          <p:nvPr/>
        </p:nvSpPr>
        <p:spPr>
          <a:xfrm>
            <a:off x="2152647" y="1810357"/>
            <a:ext cx="3619503" cy="1954381"/>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Build Responsible Investment data approach in line with AAM’s business strategy, Aegon Groups ESG strategy, regulatory requirements and determine the role of the internal and external ESG data in it</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Calibri" panose="020F0502020204030204"/>
              </a:rPr>
              <a:t>Leverage improved data management capabilities for ESG data</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rofessionalize enterprise wide ESG rating methodology across regions that is taking into account clients’ needs and asks (per investment platform, per asset class and per investor objectiv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62549C25-8B51-48C0-98D4-C1550C8B7ACE}"/>
              </a:ext>
            </a:extLst>
          </p:cNvPr>
          <p:cNvSpPr/>
          <p:nvPr/>
        </p:nvSpPr>
        <p:spPr>
          <a:xfrm>
            <a:off x="8039483" y="4164178"/>
            <a:ext cx="3195687" cy="204257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3FFE9F0D-BF89-45BB-A80D-418C611EAB95}"/>
              </a:ext>
            </a:extLst>
          </p:cNvPr>
          <p:cNvSpPr/>
          <p:nvPr/>
        </p:nvSpPr>
        <p:spPr>
          <a:xfrm>
            <a:off x="5879195" y="1516412"/>
            <a:ext cx="5355976" cy="139027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05B8C25-F0DA-4399-B55A-AE66A373AF1E}"/>
              </a:ext>
            </a:extLst>
          </p:cNvPr>
          <p:cNvSpPr/>
          <p:nvPr/>
        </p:nvSpPr>
        <p:spPr>
          <a:xfrm>
            <a:off x="838310" y="1516412"/>
            <a:ext cx="1199976" cy="1338464"/>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9AC5F50E-28EE-4312-88E1-87359E29D14D}"/>
              </a:ext>
            </a:extLst>
          </p:cNvPr>
          <p:cNvSpPr/>
          <p:nvPr/>
        </p:nvSpPr>
        <p:spPr>
          <a:xfrm>
            <a:off x="2600325" y="1059196"/>
            <a:ext cx="8634845"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AAM as user of data-driven technologies to become the preferred Responsible Investment provider</a:t>
            </a:r>
            <a:endParaRPr kumimoji="0" lang="en-US" sz="1400" b="0"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1423B210-1D67-46E0-9991-131C6CE6300F}"/>
              </a:ext>
            </a:extLst>
          </p:cNvPr>
          <p:cNvSpPr/>
          <p:nvPr/>
        </p:nvSpPr>
        <p:spPr>
          <a:xfrm>
            <a:off x="2152648" y="1516413"/>
            <a:ext cx="3632911"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Description</a:t>
            </a:r>
          </a:p>
        </p:txBody>
      </p:sp>
      <p:sp>
        <p:nvSpPr>
          <p:cNvPr id="11" name="Rectangle 10">
            <a:extLst>
              <a:ext uri="{FF2B5EF4-FFF2-40B4-BE49-F238E27FC236}">
                <a16:creationId xmlns:a16="http://schemas.microsoft.com/office/drawing/2014/main" id="{1BDC89DB-996B-483A-BA4D-19EE9B629B46}"/>
              </a:ext>
            </a:extLst>
          </p:cNvPr>
          <p:cNvSpPr/>
          <p:nvPr/>
        </p:nvSpPr>
        <p:spPr>
          <a:xfrm>
            <a:off x="5880100" y="1516414"/>
            <a:ext cx="5355976" cy="288000"/>
          </a:xfrm>
          <a:prstGeom prst="rect">
            <a:avLst/>
          </a:prstGeom>
          <a:solidFill>
            <a:srgbClr val="2BAEA3"/>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Organizational Requirements</a:t>
            </a:r>
          </a:p>
        </p:txBody>
      </p:sp>
      <p:sp>
        <p:nvSpPr>
          <p:cNvPr id="14" name="Rectangle 13">
            <a:extLst>
              <a:ext uri="{FF2B5EF4-FFF2-40B4-BE49-F238E27FC236}">
                <a16:creationId xmlns:a16="http://schemas.microsoft.com/office/drawing/2014/main" id="{D7931A0B-3AFA-4EA6-9C9F-39EBC60F3089}"/>
              </a:ext>
            </a:extLst>
          </p:cNvPr>
          <p:cNvSpPr/>
          <p:nvPr/>
        </p:nvSpPr>
        <p:spPr>
          <a:xfrm>
            <a:off x="838310" y="4174041"/>
            <a:ext cx="4886118" cy="288000"/>
          </a:xfrm>
          <a:prstGeom prst="rect">
            <a:avLst/>
          </a:prstGeom>
          <a:solidFill>
            <a:schemeClr val="accent3"/>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n-cs"/>
              </a:rPr>
              <a:t>Key Use Cases</a:t>
            </a:r>
          </a:p>
        </p:txBody>
      </p:sp>
      <p:sp>
        <p:nvSpPr>
          <p:cNvPr id="15" name="Rectangle 14">
            <a:extLst>
              <a:ext uri="{FF2B5EF4-FFF2-40B4-BE49-F238E27FC236}">
                <a16:creationId xmlns:a16="http://schemas.microsoft.com/office/drawing/2014/main" id="{7524A068-07F3-47C8-8FB5-87E1559D7A3A}"/>
              </a:ext>
            </a:extLst>
          </p:cNvPr>
          <p:cNvSpPr/>
          <p:nvPr/>
        </p:nvSpPr>
        <p:spPr>
          <a:xfrm>
            <a:off x="8040388" y="4174041"/>
            <a:ext cx="3194815"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Estimated effort &amp; resources</a:t>
            </a:r>
          </a:p>
        </p:txBody>
      </p:sp>
      <p:sp>
        <p:nvSpPr>
          <p:cNvPr id="30" name="TextBox 29">
            <a:extLst>
              <a:ext uri="{FF2B5EF4-FFF2-40B4-BE49-F238E27FC236}">
                <a16:creationId xmlns:a16="http://schemas.microsoft.com/office/drawing/2014/main" id="{F389E858-A470-4C96-B7C1-907C5AF62127}"/>
              </a:ext>
            </a:extLst>
          </p:cNvPr>
          <p:cNvSpPr txBox="1"/>
          <p:nvPr/>
        </p:nvSpPr>
        <p:spPr>
          <a:xfrm>
            <a:off x="8039450" y="4483694"/>
            <a:ext cx="3195688" cy="600164"/>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Populate after specifying use case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A60197FE-1894-45BD-A453-779621B3CEAA}"/>
              </a:ext>
            </a:extLst>
          </p:cNvPr>
          <p:cNvSpPr/>
          <p:nvPr/>
        </p:nvSpPr>
        <p:spPr>
          <a:xfrm>
            <a:off x="838311" y="1516413"/>
            <a:ext cx="1199975"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Owner (s)</a:t>
            </a:r>
          </a:p>
        </p:txBody>
      </p:sp>
      <p:sp>
        <p:nvSpPr>
          <p:cNvPr id="34" name="TextBox 33">
            <a:extLst>
              <a:ext uri="{FF2B5EF4-FFF2-40B4-BE49-F238E27FC236}">
                <a16:creationId xmlns:a16="http://schemas.microsoft.com/office/drawing/2014/main" id="{7212C24E-EDB2-4549-B3DA-085417606D8B}"/>
              </a:ext>
            </a:extLst>
          </p:cNvPr>
          <p:cNvSpPr txBox="1"/>
          <p:nvPr/>
        </p:nvSpPr>
        <p:spPr>
          <a:xfrm>
            <a:off x="852353" y="1810357"/>
            <a:ext cx="1109797" cy="769441"/>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DO, COO, CIOs, Head of Responsible Investment</a:t>
            </a:r>
          </a:p>
        </p:txBody>
      </p:sp>
      <p:sp>
        <p:nvSpPr>
          <p:cNvPr id="38" name="Rectangle 37">
            <a:extLst>
              <a:ext uri="{FF2B5EF4-FFF2-40B4-BE49-F238E27FC236}">
                <a16:creationId xmlns:a16="http://schemas.microsoft.com/office/drawing/2014/main" id="{14677884-B84C-4112-B064-71BB47E090D9}"/>
              </a:ext>
            </a:extLst>
          </p:cNvPr>
          <p:cNvSpPr/>
          <p:nvPr/>
        </p:nvSpPr>
        <p:spPr>
          <a:xfrm>
            <a:off x="5880100" y="2989028"/>
            <a:ext cx="5355103" cy="288000"/>
          </a:xfrm>
          <a:prstGeom prst="rect">
            <a:avLst/>
          </a:prstGeom>
          <a:solidFill>
            <a:srgbClr val="FFB15E"/>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prstClr val="white"/>
                </a:solidFill>
                <a:effectLst/>
                <a:uLnTx/>
                <a:uFillTx/>
                <a:latin typeface="Calibri" panose="020F0502020204030204"/>
                <a:ea typeface="+mn-ea"/>
                <a:cs typeface="Myriad Pro"/>
              </a:rPr>
              <a:t>Data Foundation Requirements</a:t>
            </a:r>
          </a:p>
        </p:txBody>
      </p:sp>
      <p:sp>
        <p:nvSpPr>
          <p:cNvPr id="32" name="Title 5">
            <a:extLst>
              <a:ext uri="{FF2B5EF4-FFF2-40B4-BE49-F238E27FC236}">
                <a16:creationId xmlns:a16="http://schemas.microsoft.com/office/drawing/2014/main" id="{FA216D96-6C9D-4447-9D4E-C7FC824DD24F}"/>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69B4"/>
                </a:solidFill>
                <a:effectLst/>
                <a:uLnTx/>
                <a:uFillTx/>
                <a:latin typeface="Calibri Light" panose="020F0302020204030204"/>
                <a:ea typeface="+mj-ea"/>
                <a:cs typeface="+mj-cs"/>
              </a:rPr>
              <a:t>Strategic Data Objective 5: </a:t>
            </a:r>
            <a:r>
              <a:rPr kumimoji="0" lang="en-US" sz="2400" b="0" i="0" u="none" strike="noStrike" kern="1200" cap="none" spc="20" normalizeH="0" baseline="0" noProof="0">
                <a:ln>
                  <a:noFill/>
                </a:ln>
                <a:solidFill>
                  <a:srgbClr val="0069B4"/>
                </a:solidFill>
                <a:effectLst/>
                <a:uLnTx/>
                <a:uFillTx/>
                <a:latin typeface="Calibri Light" panose="020F0302020204030204"/>
                <a:ea typeface="Times New Roman" panose="02020603050405020304" pitchFamily="18" charset="0"/>
                <a:cs typeface="Times New Roman" panose="02020603050405020304" pitchFamily="18" charset="0"/>
              </a:rPr>
              <a:t>AAM as user of data-driven technologies to become the preferred Responsible Investment provider</a:t>
            </a:r>
          </a:p>
          <a:p>
            <a:pPr marL="0" marR="0" lvl="0" indent="0" algn="l" defTabSz="913943"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a:ln>
                <a:noFill/>
              </a:ln>
              <a:solidFill>
                <a:srgbClr val="0069B4"/>
              </a:solidFill>
              <a:effectLst/>
              <a:uLnTx/>
              <a:uFillTx/>
              <a:latin typeface="Calibri Light" panose="020F0302020204030204"/>
              <a:ea typeface="+mj-ea"/>
              <a:cs typeface="+mj-cs"/>
            </a:endParaRPr>
          </a:p>
        </p:txBody>
      </p:sp>
      <p:sp>
        <p:nvSpPr>
          <p:cNvPr id="29" name="TextBox 28">
            <a:extLst>
              <a:ext uri="{FF2B5EF4-FFF2-40B4-BE49-F238E27FC236}">
                <a16:creationId xmlns:a16="http://schemas.microsoft.com/office/drawing/2014/main" id="{E4DDC895-4533-43A5-B1D9-A626F73E30A3}"/>
              </a:ext>
            </a:extLst>
          </p:cNvPr>
          <p:cNvSpPr txBox="1"/>
          <p:nvPr/>
        </p:nvSpPr>
        <p:spPr>
          <a:xfrm>
            <a:off x="5880099" y="1810357"/>
            <a:ext cx="5313253" cy="1107996"/>
          </a:xfrm>
          <a:prstGeom prst="rect">
            <a:avLst/>
          </a:prstGeom>
          <a:noFill/>
          <a:ln>
            <a:noFill/>
          </a:ln>
        </p:spPr>
        <p:txBody>
          <a:bodyPr wrap="square" lIns="0" rIns="0" rtlCol="0" anchor="t" anchorCtr="0">
            <a:spAutoFit/>
          </a:bodyPr>
          <a:lstStyle>
            <a:defPPr>
              <a:defRPr lang="en-US"/>
            </a:defPPr>
            <a:lvl1pPr marL="180975" indent="-180975">
              <a:buFont typeface="Arial" panose="020B0604020202020204" pitchFamily="34" charset="0"/>
              <a:buChar char="•"/>
              <a:defRPr sz="1100"/>
            </a:lvl1pPr>
          </a:lstStyle>
          <a:p>
            <a:pPr marL="266700">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Identify executive sponsorship</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Build standardized processes to work with ESG data across all region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rovide training and education on ESG data methodology to front office to ensure using the same language while advising to clients</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rovide training and education to the back office to ensure data management/governance processes are integrated into the ESG approach</a:t>
            </a:r>
          </a:p>
        </p:txBody>
      </p:sp>
      <p:sp>
        <p:nvSpPr>
          <p:cNvPr id="33" name="Rectangle 32">
            <a:extLst>
              <a:ext uri="{FF2B5EF4-FFF2-40B4-BE49-F238E27FC236}">
                <a16:creationId xmlns:a16="http://schemas.microsoft.com/office/drawing/2014/main" id="{085FBE86-E7A2-4E87-A9B0-5C016FDE37E8}"/>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49" name="Graphic 48" descr="Teacher">
            <a:extLst>
              <a:ext uri="{FF2B5EF4-FFF2-40B4-BE49-F238E27FC236}">
                <a16:creationId xmlns:a16="http://schemas.microsoft.com/office/drawing/2014/main" id="{9D25AFB6-D427-44D5-AB06-AFA85EE2045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80319" y="1517100"/>
            <a:ext cx="302899" cy="302899"/>
          </a:xfrm>
          <a:prstGeom prst="rect">
            <a:avLst/>
          </a:prstGeom>
        </p:spPr>
      </p:pic>
      <p:pic>
        <p:nvPicPr>
          <p:cNvPr id="51" name="Graphic 50" descr="User">
            <a:extLst>
              <a:ext uri="{FF2B5EF4-FFF2-40B4-BE49-F238E27FC236}">
                <a16:creationId xmlns:a16="http://schemas.microsoft.com/office/drawing/2014/main" id="{80428B59-E0A7-4DB4-84D7-4747FE039638}"/>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0155" y="1517050"/>
            <a:ext cx="293219" cy="293219"/>
          </a:xfrm>
          <a:prstGeom prst="rect">
            <a:avLst/>
          </a:prstGeom>
        </p:spPr>
      </p:pic>
      <p:pic>
        <p:nvPicPr>
          <p:cNvPr id="56" name="Graphic 55" descr="Venn diagram">
            <a:extLst>
              <a:ext uri="{FF2B5EF4-FFF2-40B4-BE49-F238E27FC236}">
                <a16:creationId xmlns:a16="http://schemas.microsoft.com/office/drawing/2014/main" id="{76B15EF1-54B6-4B6A-B8C6-6DDA513932E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92037" y="1501073"/>
            <a:ext cx="300636" cy="300636"/>
          </a:xfrm>
          <a:prstGeom prst="rect">
            <a:avLst/>
          </a:prstGeom>
        </p:spPr>
      </p:pic>
      <p:pic>
        <p:nvPicPr>
          <p:cNvPr id="57" name="Graphic 56" descr="Document">
            <a:extLst>
              <a:ext uri="{FF2B5EF4-FFF2-40B4-BE49-F238E27FC236}">
                <a16:creationId xmlns:a16="http://schemas.microsoft.com/office/drawing/2014/main" id="{C485186D-011E-46F5-B00E-4F1DF5779C8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52353" y="4164179"/>
            <a:ext cx="280553" cy="280553"/>
          </a:xfrm>
          <a:prstGeom prst="rect">
            <a:avLst/>
          </a:prstGeom>
        </p:spPr>
      </p:pic>
      <p:pic>
        <p:nvPicPr>
          <p:cNvPr id="58" name="Graphic 57" descr="Boardroom">
            <a:extLst>
              <a:ext uri="{FF2B5EF4-FFF2-40B4-BE49-F238E27FC236}">
                <a16:creationId xmlns:a16="http://schemas.microsoft.com/office/drawing/2014/main" id="{4E5C24BB-C906-4540-B069-A513F7BFA18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081421" y="4144916"/>
            <a:ext cx="319079" cy="319079"/>
          </a:xfrm>
          <a:prstGeom prst="rect">
            <a:avLst/>
          </a:prstGeom>
        </p:spPr>
      </p:pic>
      <p:sp>
        <p:nvSpPr>
          <p:cNvPr id="46" name="Rectangle 45">
            <a:extLst>
              <a:ext uri="{FF2B5EF4-FFF2-40B4-BE49-F238E27FC236}">
                <a16:creationId xmlns:a16="http://schemas.microsoft.com/office/drawing/2014/main" id="{738D352E-85BD-482E-B423-E049F1140936}"/>
              </a:ext>
            </a:extLst>
          </p:cNvPr>
          <p:cNvSpPr/>
          <p:nvPr/>
        </p:nvSpPr>
        <p:spPr>
          <a:xfrm>
            <a:off x="5779719" y="4277174"/>
            <a:ext cx="2188276" cy="1929579"/>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AF466AE7-8D20-4536-B357-4FA03FB5853C}"/>
              </a:ext>
            </a:extLst>
          </p:cNvPr>
          <p:cNvSpPr/>
          <p:nvPr/>
        </p:nvSpPr>
        <p:spPr>
          <a:xfrm>
            <a:off x="5772150" y="4174041"/>
            <a:ext cx="2195850"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Timing &amp; Dependencies</a:t>
            </a:r>
          </a:p>
        </p:txBody>
      </p:sp>
      <p:pic>
        <p:nvPicPr>
          <p:cNvPr id="59" name="Graphic 58" descr="Hourglass">
            <a:extLst>
              <a:ext uri="{FF2B5EF4-FFF2-40B4-BE49-F238E27FC236}">
                <a16:creationId xmlns:a16="http://schemas.microsoft.com/office/drawing/2014/main" id="{119FE742-24AE-445A-BF6D-E83A663F2977}"/>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785549" y="4204173"/>
            <a:ext cx="231819" cy="200564"/>
          </a:xfrm>
          <a:prstGeom prst="rect">
            <a:avLst/>
          </a:prstGeom>
        </p:spPr>
      </p:pic>
      <p:cxnSp>
        <p:nvCxnSpPr>
          <p:cNvPr id="13" name="Straight Connector 12">
            <a:extLst>
              <a:ext uri="{FF2B5EF4-FFF2-40B4-BE49-F238E27FC236}">
                <a16:creationId xmlns:a16="http://schemas.microsoft.com/office/drawing/2014/main" id="{9DC6A804-7D66-4F30-AF44-BE367FD9E059}"/>
              </a:ext>
            </a:extLst>
          </p:cNvPr>
          <p:cNvCxnSpPr>
            <a:cxnSpLocks/>
          </p:cNvCxnSpPr>
          <p:nvPr/>
        </p:nvCxnSpPr>
        <p:spPr>
          <a:xfrm>
            <a:off x="820155" y="1368785"/>
            <a:ext cx="10363672"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0" name="Flowchart: Manual Input 59">
            <a:extLst>
              <a:ext uri="{FF2B5EF4-FFF2-40B4-BE49-F238E27FC236}">
                <a16:creationId xmlns:a16="http://schemas.microsoft.com/office/drawing/2014/main" id="{3D42F83C-DCF0-48E4-BF7A-909020AF5DFC}"/>
              </a:ext>
            </a:extLst>
          </p:cNvPr>
          <p:cNvSpPr/>
          <p:nvPr/>
        </p:nvSpPr>
        <p:spPr>
          <a:xfrm>
            <a:off x="820154" y="1039956"/>
            <a:ext cx="1780171"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5</a:t>
            </a:r>
          </a:p>
        </p:txBody>
      </p:sp>
      <p:grpSp>
        <p:nvGrpSpPr>
          <p:cNvPr id="61" name="Group 60">
            <a:extLst>
              <a:ext uri="{FF2B5EF4-FFF2-40B4-BE49-F238E27FC236}">
                <a16:creationId xmlns:a16="http://schemas.microsoft.com/office/drawing/2014/main" id="{78EB94CD-1095-4126-8716-A89389A65961}"/>
              </a:ext>
            </a:extLst>
          </p:cNvPr>
          <p:cNvGrpSpPr/>
          <p:nvPr/>
        </p:nvGrpSpPr>
        <p:grpSpPr>
          <a:xfrm>
            <a:off x="7292037" y="3024421"/>
            <a:ext cx="209550" cy="183264"/>
            <a:chOff x="1149350" y="-1619250"/>
            <a:chExt cx="374650" cy="328613"/>
          </a:xfrm>
          <a:solidFill>
            <a:schemeClr val="bg1"/>
          </a:solidFill>
        </p:grpSpPr>
        <p:sp>
          <p:nvSpPr>
            <p:cNvPr id="62" name="Oval 60833">
              <a:extLst>
                <a:ext uri="{FF2B5EF4-FFF2-40B4-BE49-F238E27FC236}">
                  <a16:creationId xmlns:a16="http://schemas.microsoft.com/office/drawing/2014/main" id="{D04E19AF-9A16-44B1-A4E8-6017A76F5522}"/>
                </a:ext>
              </a:extLst>
            </p:cNvPr>
            <p:cNvSpPr>
              <a:spLocks noChangeArrowheads="1"/>
            </p:cNvSpPr>
            <p:nvPr/>
          </p:nvSpPr>
          <p:spPr bwMode="auto">
            <a:xfrm>
              <a:off x="1341438" y="-1465263"/>
              <a:ext cx="58738" cy="58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3" name="Oval 60834">
              <a:extLst>
                <a:ext uri="{FF2B5EF4-FFF2-40B4-BE49-F238E27FC236}">
                  <a16:creationId xmlns:a16="http://schemas.microsoft.com/office/drawing/2014/main" id="{3234EBD3-82C5-49B0-97CA-2E8B61B77BC5}"/>
                </a:ext>
              </a:extLst>
            </p:cNvPr>
            <p:cNvSpPr>
              <a:spLocks noChangeArrowheads="1"/>
            </p:cNvSpPr>
            <p:nvPr/>
          </p:nvSpPr>
          <p:spPr bwMode="auto">
            <a:xfrm>
              <a:off x="1446213" y="-15652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4" name="Freeform 60835">
              <a:extLst>
                <a:ext uri="{FF2B5EF4-FFF2-40B4-BE49-F238E27FC236}">
                  <a16:creationId xmlns:a16="http://schemas.microsoft.com/office/drawing/2014/main" id="{7F24F43C-B9BC-42F3-9C64-45BE05479B71}"/>
                </a:ext>
              </a:extLst>
            </p:cNvPr>
            <p:cNvSpPr>
              <a:spLocks noEditPoints="1"/>
            </p:cNvSpPr>
            <p:nvPr/>
          </p:nvSpPr>
          <p:spPr bwMode="auto">
            <a:xfrm>
              <a:off x="1149350" y="-1619250"/>
              <a:ext cx="374650" cy="328613"/>
            </a:xfrm>
            <a:custGeom>
              <a:avLst/>
              <a:gdLst>
                <a:gd name="T0" fmla="*/ 70 w 100"/>
                <a:gd name="T1" fmla="*/ 57 h 85"/>
                <a:gd name="T2" fmla="*/ 79 w 100"/>
                <a:gd name="T3" fmla="*/ 24 h 85"/>
                <a:gd name="T4" fmla="*/ 83 w 100"/>
                <a:gd name="T5" fmla="*/ 11 h 85"/>
                <a:gd name="T6" fmla="*/ 67 w 100"/>
                <a:gd name="T7" fmla="*/ 35 h 85"/>
                <a:gd name="T8" fmla="*/ 37 w 100"/>
                <a:gd name="T9" fmla="*/ 12 h 85"/>
                <a:gd name="T10" fmla="*/ 32 w 100"/>
                <a:gd name="T11" fmla="*/ 0 h 85"/>
                <a:gd name="T12" fmla="*/ 35 w 100"/>
                <a:gd name="T13" fmla="*/ 14 h 85"/>
                <a:gd name="T14" fmla="*/ 44 w 100"/>
                <a:gd name="T15" fmla="*/ 43 h 85"/>
                <a:gd name="T16" fmla="*/ 7 w 100"/>
                <a:gd name="T17" fmla="*/ 26 h 85"/>
                <a:gd name="T18" fmla="*/ 7 w 100"/>
                <a:gd name="T19" fmla="*/ 40 h 85"/>
                <a:gd name="T20" fmla="*/ 44 w 100"/>
                <a:gd name="T21" fmla="*/ 45 h 85"/>
                <a:gd name="T22" fmla="*/ 22 w 100"/>
                <a:gd name="T23" fmla="*/ 73 h 85"/>
                <a:gd name="T24" fmla="*/ 9 w 100"/>
                <a:gd name="T25" fmla="*/ 77 h 85"/>
                <a:gd name="T26" fmla="*/ 23 w 100"/>
                <a:gd name="T27" fmla="*/ 75 h 85"/>
                <a:gd name="T28" fmla="*/ 47 w 100"/>
                <a:gd name="T29" fmla="*/ 57 h 85"/>
                <a:gd name="T30" fmla="*/ 87 w 100"/>
                <a:gd name="T31" fmla="*/ 75 h 85"/>
                <a:gd name="T32" fmla="*/ 100 w 100"/>
                <a:gd name="T33" fmla="*/ 78 h 85"/>
                <a:gd name="T34" fmla="*/ 77 w 100"/>
                <a:gd name="T35" fmla="*/ 18 h 85"/>
                <a:gd name="T36" fmla="*/ 88 w 100"/>
                <a:gd name="T37" fmla="*/ 18 h 85"/>
                <a:gd name="T38" fmla="*/ 77 w 100"/>
                <a:gd name="T39" fmla="*/ 18 h 85"/>
                <a:gd name="T40" fmla="*/ 27 w 100"/>
                <a:gd name="T41" fmla="*/ 7 h 85"/>
                <a:gd name="T42" fmla="*/ 38 w 100"/>
                <a:gd name="T43" fmla="*/ 7 h 85"/>
                <a:gd name="T44" fmla="*/ 7 w 100"/>
                <a:gd name="T45" fmla="*/ 38 h 85"/>
                <a:gd name="T46" fmla="*/ 7 w 100"/>
                <a:gd name="T47" fmla="*/ 27 h 85"/>
                <a:gd name="T48" fmla="*/ 7 w 100"/>
                <a:gd name="T49" fmla="*/ 38 h 85"/>
                <a:gd name="T50" fmla="*/ 11 w 100"/>
                <a:gd name="T51" fmla="*/ 77 h 85"/>
                <a:gd name="T52" fmla="*/ 22 w 100"/>
                <a:gd name="T53" fmla="*/ 77 h 85"/>
                <a:gd name="T54" fmla="*/ 59 w 100"/>
                <a:gd name="T55" fmla="*/ 59 h 85"/>
                <a:gd name="T56" fmla="*/ 59 w 100"/>
                <a:gd name="T57" fmla="*/ 36 h 85"/>
                <a:gd name="T58" fmla="*/ 59 w 100"/>
                <a:gd name="T59" fmla="*/ 59 h 85"/>
                <a:gd name="T60" fmla="*/ 87 w 100"/>
                <a:gd name="T61" fmla="*/ 78 h 85"/>
                <a:gd name="T62" fmla="*/ 98 w 100"/>
                <a:gd name="T63"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 h="85">
                  <a:moveTo>
                    <a:pt x="88" y="73"/>
                  </a:moveTo>
                  <a:cubicBezTo>
                    <a:pt x="70" y="57"/>
                    <a:pt x="70" y="57"/>
                    <a:pt x="70" y="57"/>
                  </a:cubicBezTo>
                  <a:cubicBezTo>
                    <a:pt x="76" y="51"/>
                    <a:pt x="75" y="42"/>
                    <a:pt x="69" y="36"/>
                  </a:cubicBezTo>
                  <a:cubicBezTo>
                    <a:pt x="79" y="24"/>
                    <a:pt x="79" y="24"/>
                    <a:pt x="79" y="24"/>
                  </a:cubicBezTo>
                  <a:cubicBezTo>
                    <a:pt x="84" y="26"/>
                    <a:pt x="90" y="23"/>
                    <a:pt x="90" y="18"/>
                  </a:cubicBezTo>
                  <a:cubicBezTo>
                    <a:pt x="90" y="14"/>
                    <a:pt x="86" y="11"/>
                    <a:pt x="83" y="11"/>
                  </a:cubicBezTo>
                  <a:cubicBezTo>
                    <a:pt x="77" y="11"/>
                    <a:pt x="73" y="18"/>
                    <a:pt x="77" y="22"/>
                  </a:cubicBezTo>
                  <a:cubicBezTo>
                    <a:pt x="67" y="35"/>
                    <a:pt x="67" y="35"/>
                    <a:pt x="67" y="35"/>
                  </a:cubicBezTo>
                  <a:cubicBezTo>
                    <a:pt x="62" y="32"/>
                    <a:pt x="56" y="31"/>
                    <a:pt x="52" y="34"/>
                  </a:cubicBezTo>
                  <a:cubicBezTo>
                    <a:pt x="37" y="12"/>
                    <a:pt x="37" y="12"/>
                    <a:pt x="37" y="12"/>
                  </a:cubicBezTo>
                  <a:cubicBezTo>
                    <a:pt x="39" y="11"/>
                    <a:pt x="39" y="9"/>
                    <a:pt x="39" y="7"/>
                  </a:cubicBezTo>
                  <a:cubicBezTo>
                    <a:pt x="39" y="3"/>
                    <a:pt x="36" y="0"/>
                    <a:pt x="32" y="0"/>
                  </a:cubicBezTo>
                  <a:cubicBezTo>
                    <a:pt x="29" y="0"/>
                    <a:pt x="25" y="3"/>
                    <a:pt x="25" y="7"/>
                  </a:cubicBezTo>
                  <a:cubicBezTo>
                    <a:pt x="25" y="12"/>
                    <a:pt x="31" y="16"/>
                    <a:pt x="35" y="14"/>
                  </a:cubicBezTo>
                  <a:cubicBezTo>
                    <a:pt x="49" y="35"/>
                    <a:pt x="49" y="35"/>
                    <a:pt x="49" y="35"/>
                  </a:cubicBezTo>
                  <a:cubicBezTo>
                    <a:pt x="47" y="37"/>
                    <a:pt x="45" y="40"/>
                    <a:pt x="44" y="43"/>
                  </a:cubicBezTo>
                  <a:cubicBezTo>
                    <a:pt x="14" y="34"/>
                    <a:pt x="14" y="34"/>
                    <a:pt x="14" y="34"/>
                  </a:cubicBezTo>
                  <a:cubicBezTo>
                    <a:pt x="14" y="30"/>
                    <a:pt x="11" y="26"/>
                    <a:pt x="7" y="26"/>
                  </a:cubicBezTo>
                  <a:cubicBezTo>
                    <a:pt x="3" y="26"/>
                    <a:pt x="0" y="29"/>
                    <a:pt x="0" y="33"/>
                  </a:cubicBezTo>
                  <a:cubicBezTo>
                    <a:pt x="0" y="37"/>
                    <a:pt x="3" y="40"/>
                    <a:pt x="7" y="40"/>
                  </a:cubicBezTo>
                  <a:cubicBezTo>
                    <a:pt x="9" y="40"/>
                    <a:pt x="12" y="38"/>
                    <a:pt x="13" y="36"/>
                  </a:cubicBezTo>
                  <a:cubicBezTo>
                    <a:pt x="44" y="45"/>
                    <a:pt x="44" y="45"/>
                    <a:pt x="44" y="45"/>
                  </a:cubicBezTo>
                  <a:cubicBezTo>
                    <a:pt x="43" y="49"/>
                    <a:pt x="44" y="53"/>
                    <a:pt x="46" y="56"/>
                  </a:cubicBezTo>
                  <a:cubicBezTo>
                    <a:pt x="22" y="73"/>
                    <a:pt x="22" y="73"/>
                    <a:pt x="22" y="73"/>
                  </a:cubicBezTo>
                  <a:cubicBezTo>
                    <a:pt x="20" y="71"/>
                    <a:pt x="18" y="70"/>
                    <a:pt x="16" y="70"/>
                  </a:cubicBezTo>
                  <a:cubicBezTo>
                    <a:pt x="13" y="70"/>
                    <a:pt x="9" y="73"/>
                    <a:pt x="9" y="77"/>
                  </a:cubicBezTo>
                  <a:cubicBezTo>
                    <a:pt x="9" y="81"/>
                    <a:pt x="13" y="84"/>
                    <a:pt x="16" y="84"/>
                  </a:cubicBezTo>
                  <a:cubicBezTo>
                    <a:pt x="21" y="84"/>
                    <a:pt x="25" y="79"/>
                    <a:pt x="23" y="75"/>
                  </a:cubicBezTo>
                  <a:cubicBezTo>
                    <a:pt x="48" y="58"/>
                    <a:pt x="48" y="58"/>
                    <a:pt x="48" y="58"/>
                  </a:cubicBezTo>
                  <a:cubicBezTo>
                    <a:pt x="47" y="57"/>
                    <a:pt x="47" y="57"/>
                    <a:pt x="47" y="57"/>
                  </a:cubicBezTo>
                  <a:cubicBezTo>
                    <a:pt x="52" y="63"/>
                    <a:pt x="62" y="64"/>
                    <a:pt x="68" y="59"/>
                  </a:cubicBezTo>
                  <a:cubicBezTo>
                    <a:pt x="87" y="75"/>
                    <a:pt x="87" y="75"/>
                    <a:pt x="87" y="75"/>
                  </a:cubicBezTo>
                  <a:cubicBezTo>
                    <a:pt x="84" y="79"/>
                    <a:pt x="87" y="85"/>
                    <a:pt x="93" y="85"/>
                  </a:cubicBezTo>
                  <a:cubicBezTo>
                    <a:pt x="97" y="85"/>
                    <a:pt x="100" y="82"/>
                    <a:pt x="100" y="78"/>
                  </a:cubicBezTo>
                  <a:cubicBezTo>
                    <a:pt x="100" y="73"/>
                    <a:pt x="93" y="69"/>
                    <a:pt x="88" y="73"/>
                  </a:cubicBezTo>
                  <a:close/>
                  <a:moveTo>
                    <a:pt x="77" y="18"/>
                  </a:moveTo>
                  <a:cubicBezTo>
                    <a:pt x="77" y="15"/>
                    <a:pt x="80" y="12"/>
                    <a:pt x="83" y="12"/>
                  </a:cubicBezTo>
                  <a:cubicBezTo>
                    <a:pt x="86" y="12"/>
                    <a:pt x="88" y="15"/>
                    <a:pt x="88" y="18"/>
                  </a:cubicBezTo>
                  <a:cubicBezTo>
                    <a:pt x="88" y="21"/>
                    <a:pt x="86" y="23"/>
                    <a:pt x="83" y="23"/>
                  </a:cubicBezTo>
                  <a:cubicBezTo>
                    <a:pt x="80" y="23"/>
                    <a:pt x="77" y="21"/>
                    <a:pt x="77" y="18"/>
                  </a:cubicBezTo>
                  <a:close/>
                  <a:moveTo>
                    <a:pt x="32" y="13"/>
                  </a:moveTo>
                  <a:cubicBezTo>
                    <a:pt x="29" y="13"/>
                    <a:pt x="27" y="10"/>
                    <a:pt x="27" y="7"/>
                  </a:cubicBezTo>
                  <a:cubicBezTo>
                    <a:pt x="27" y="4"/>
                    <a:pt x="29" y="2"/>
                    <a:pt x="32" y="2"/>
                  </a:cubicBezTo>
                  <a:cubicBezTo>
                    <a:pt x="35" y="2"/>
                    <a:pt x="38" y="4"/>
                    <a:pt x="38" y="7"/>
                  </a:cubicBezTo>
                  <a:cubicBezTo>
                    <a:pt x="38" y="10"/>
                    <a:pt x="35" y="13"/>
                    <a:pt x="32" y="13"/>
                  </a:cubicBezTo>
                  <a:close/>
                  <a:moveTo>
                    <a:pt x="7" y="38"/>
                  </a:moveTo>
                  <a:cubicBezTo>
                    <a:pt x="4" y="38"/>
                    <a:pt x="1" y="36"/>
                    <a:pt x="1" y="33"/>
                  </a:cubicBezTo>
                  <a:cubicBezTo>
                    <a:pt x="1" y="30"/>
                    <a:pt x="4" y="27"/>
                    <a:pt x="7" y="27"/>
                  </a:cubicBezTo>
                  <a:cubicBezTo>
                    <a:pt x="10" y="27"/>
                    <a:pt x="12" y="30"/>
                    <a:pt x="12" y="33"/>
                  </a:cubicBezTo>
                  <a:cubicBezTo>
                    <a:pt x="12" y="36"/>
                    <a:pt x="10" y="38"/>
                    <a:pt x="7" y="38"/>
                  </a:cubicBezTo>
                  <a:close/>
                  <a:moveTo>
                    <a:pt x="16" y="83"/>
                  </a:moveTo>
                  <a:cubicBezTo>
                    <a:pt x="13" y="83"/>
                    <a:pt x="11" y="80"/>
                    <a:pt x="11" y="77"/>
                  </a:cubicBezTo>
                  <a:cubicBezTo>
                    <a:pt x="11" y="74"/>
                    <a:pt x="13" y="72"/>
                    <a:pt x="16" y="72"/>
                  </a:cubicBezTo>
                  <a:cubicBezTo>
                    <a:pt x="19" y="72"/>
                    <a:pt x="22" y="74"/>
                    <a:pt x="22" y="77"/>
                  </a:cubicBezTo>
                  <a:cubicBezTo>
                    <a:pt x="22" y="80"/>
                    <a:pt x="19" y="83"/>
                    <a:pt x="16" y="83"/>
                  </a:cubicBezTo>
                  <a:close/>
                  <a:moveTo>
                    <a:pt x="59" y="59"/>
                  </a:moveTo>
                  <a:cubicBezTo>
                    <a:pt x="52" y="59"/>
                    <a:pt x="47" y="54"/>
                    <a:pt x="47" y="47"/>
                  </a:cubicBezTo>
                  <a:cubicBezTo>
                    <a:pt x="47" y="41"/>
                    <a:pt x="52" y="36"/>
                    <a:pt x="59" y="36"/>
                  </a:cubicBezTo>
                  <a:cubicBezTo>
                    <a:pt x="65" y="36"/>
                    <a:pt x="71" y="41"/>
                    <a:pt x="71" y="47"/>
                  </a:cubicBezTo>
                  <a:cubicBezTo>
                    <a:pt x="71" y="54"/>
                    <a:pt x="65" y="59"/>
                    <a:pt x="59" y="59"/>
                  </a:cubicBezTo>
                  <a:close/>
                  <a:moveTo>
                    <a:pt x="93" y="84"/>
                  </a:moveTo>
                  <a:cubicBezTo>
                    <a:pt x="90" y="84"/>
                    <a:pt x="87" y="81"/>
                    <a:pt x="87" y="78"/>
                  </a:cubicBezTo>
                  <a:cubicBezTo>
                    <a:pt x="87" y="75"/>
                    <a:pt x="90" y="73"/>
                    <a:pt x="93" y="73"/>
                  </a:cubicBezTo>
                  <a:cubicBezTo>
                    <a:pt x="96" y="73"/>
                    <a:pt x="98" y="75"/>
                    <a:pt x="98" y="78"/>
                  </a:cubicBezTo>
                  <a:cubicBezTo>
                    <a:pt x="98" y="81"/>
                    <a:pt x="96" y="84"/>
                    <a:pt x="9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5" name="Oval 60836">
              <a:extLst>
                <a:ext uri="{FF2B5EF4-FFF2-40B4-BE49-F238E27FC236}">
                  <a16:creationId xmlns:a16="http://schemas.microsoft.com/office/drawing/2014/main" id="{058B4A9E-7115-4ECB-984F-512ADB31769D}"/>
                </a:ext>
              </a:extLst>
            </p:cNvPr>
            <p:cNvSpPr>
              <a:spLocks noChangeArrowheads="1"/>
            </p:cNvSpPr>
            <p:nvPr/>
          </p:nvSpPr>
          <p:spPr bwMode="auto">
            <a:xfrm>
              <a:off x="1482725" y="-13303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6" name="Oval 60837">
              <a:extLst>
                <a:ext uri="{FF2B5EF4-FFF2-40B4-BE49-F238E27FC236}">
                  <a16:creationId xmlns:a16="http://schemas.microsoft.com/office/drawing/2014/main" id="{456E5C91-DEEF-431F-9427-466EBD202453}"/>
                </a:ext>
              </a:extLst>
            </p:cNvPr>
            <p:cNvSpPr>
              <a:spLocks noChangeArrowheads="1"/>
            </p:cNvSpPr>
            <p:nvPr/>
          </p:nvSpPr>
          <p:spPr bwMode="auto">
            <a:xfrm>
              <a:off x="1198563" y="-1333500"/>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7" name="Oval 60838">
              <a:extLst>
                <a:ext uri="{FF2B5EF4-FFF2-40B4-BE49-F238E27FC236}">
                  <a16:creationId xmlns:a16="http://schemas.microsoft.com/office/drawing/2014/main" id="{9DA856AD-2BF4-42B8-888C-2AA2EB6A854B}"/>
                </a:ext>
              </a:extLst>
            </p:cNvPr>
            <p:cNvSpPr>
              <a:spLocks noChangeArrowheads="1"/>
            </p:cNvSpPr>
            <p:nvPr/>
          </p:nvSpPr>
          <p:spPr bwMode="auto">
            <a:xfrm>
              <a:off x="1160463" y="-1508125"/>
              <a:ext cx="26988"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sp>
          <p:nvSpPr>
            <p:cNvPr id="68" name="Oval 60839">
              <a:extLst>
                <a:ext uri="{FF2B5EF4-FFF2-40B4-BE49-F238E27FC236}">
                  <a16:creationId xmlns:a16="http://schemas.microsoft.com/office/drawing/2014/main" id="{E9424620-7FA3-4847-89B6-4DAC4E7F08D8}"/>
                </a:ext>
              </a:extLst>
            </p:cNvPr>
            <p:cNvSpPr>
              <a:spLocks noChangeArrowheads="1"/>
            </p:cNvSpPr>
            <p:nvPr/>
          </p:nvSpPr>
          <p:spPr bwMode="auto">
            <a:xfrm>
              <a:off x="1258888" y="-16033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ctr" defTabSz="456999" rtl="0" eaLnBrk="1" fontAlgn="base" latinLnBrk="0" hangingPunct="1">
                <a:lnSpc>
                  <a:spcPct val="100000"/>
                </a:lnSpc>
                <a:spcBef>
                  <a:spcPct val="0"/>
                </a:spcBef>
                <a:spcAft>
                  <a:spcPct val="0"/>
                </a:spcAft>
                <a:buClrTx/>
                <a:buSzTx/>
                <a:buFontTx/>
                <a:buNone/>
                <a:tabLst/>
                <a:defRPr/>
              </a:pPr>
              <a:endParaRPr kumimoji="0" lang="en-IE" sz="1368" b="0" i="0" u="none" strike="noStrike" kern="0" cap="none" spc="0" normalizeH="0" baseline="0" noProof="0">
                <a:ln>
                  <a:noFill/>
                </a:ln>
                <a:solidFill>
                  <a:srgbClr val="646464"/>
                </a:solidFill>
                <a:effectLst/>
                <a:uLnTx/>
                <a:uFillTx/>
                <a:latin typeface="Corbel"/>
                <a:ea typeface="+mn-ea"/>
                <a:cs typeface="+mn-cs"/>
              </a:endParaRPr>
            </a:p>
          </p:txBody>
        </p:sp>
      </p:grpSp>
      <p:sp>
        <p:nvSpPr>
          <p:cNvPr id="69" name="Rectangle 68">
            <a:extLst>
              <a:ext uri="{FF2B5EF4-FFF2-40B4-BE49-F238E27FC236}">
                <a16:creationId xmlns:a16="http://schemas.microsoft.com/office/drawing/2014/main" id="{5E0017BF-BCFA-4276-9DB3-D436F8FBC6CF}"/>
              </a:ext>
            </a:extLst>
          </p:cNvPr>
          <p:cNvSpPr/>
          <p:nvPr/>
        </p:nvSpPr>
        <p:spPr>
          <a:xfrm>
            <a:off x="820137" y="3008268"/>
            <a:ext cx="1198418" cy="1048715"/>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DBCAD89-3EBD-41C5-88C3-FCF5F4AA1EF8}"/>
              </a:ext>
            </a:extLst>
          </p:cNvPr>
          <p:cNvSpPr/>
          <p:nvPr/>
        </p:nvSpPr>
        <p:spPr>
          <a:xfrm>
            <a:off x="837403" y="2958648"/>
            <a:ext cx="1181152" cy="288000"/>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Required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Calibri" panose="020F0502020204030204"/>
                <a:ea typeface="+mn-ea"/>
                <a:cs typeface="Myriad Pro"/>
              </a:rPr>
              <a:t>budget</a:t>
            </a:r>
          </a:p>
        </p:txBody>
      </p:sp>
      <p:pic>
        <p:nvPicPr>
          <p:cNvPr id="71" name="Picture 70">
            <a:extLst>
              <a:ext uri="{FF2B5EF4-FFF2-40B4-BE49-F238E27FC236}">
                <a16:creationId xmlns:a16="http://schemas.microsoft.com/office/drawing/2014/main" id="{E3C4C210-1727-4B58-B28E-6980255156FB}"/>
              </a:ext>
            </a:extLst>
          </p:cNvPr>
          <p:cNvPicPr>
            <a:picLocks noChangeAspect="1"/>
          </p:cNvPicPr>
          <p:nvPr/>
        </p:nvPicPr>
        <p:blipFill>
          <a:blip r:embed="rId15"/>
          <a:stretch>
            <a:fillRect/>
          </a:stretch>
        </p:blipFill>
        <p:spPr>
          <a:xfrm>
            <a:off x="888185" y="2984734"/>
            <a:ext cx="254144" cy="234923"/>
          </a:xfrm>
          <a:prstGeom prst="rect">
            <a:avLst/>
          </a:prstGeom>
        </p:spPr>
      </p:pic>
      <p:pic>
        <p:nvPicPr>
          <p:cNvPr id="54" name="Picture 53">
            <a:extLst>
              <a:ext uri="{FF2B5EF4-FFF2-40B4-BE49-F238E27FC236}">
                <a16:creationId xmlns:a16="http://schemas.microsoft.com/office/drawing/2014/main" id="{69370E89-4914-44C2-8CFB-09F338E1F4D4}"/>
              </a:ext>
            </a:extLst>
          </p:cNvPr>
          <p:cNvPicPr>
            <a:picLocks noChangeAspect="1"/>
          </p:cNvPicPr>
          <p:nvPr/>
        </p:nvPicPr>
        <p:blipFill>
          <a:blip r:embed="rId16"/>
          <a:stretch>
            <a:fillRect/>
          </a:stretch>
        </p:blipFill>
        <p:spPr>
          <a:xfrm>
            <a:off x="10853731" y="89663"/>
            <a:ext cx="1183415" cy="552971"/>
          </a:xfrm>
          <a:prstGeom prst="rect">
            <a:avLst/>
          </a:prstGeom>
        </p:spPr>
      </p:pic>
      <p:sp>
        <p:nvSpPr>
          <p:cNvPr id="72" name="TextBox 71">
            <a:extLst>
              <a:ext uri="{FF2B5EF4-FFF2-40B4-BE49-F238E27FC236}">
                <a16:creationId xmlns:a16="http://schemas.microsoft.com/office/drawing/2014/main" id="{42FEDE24-EAB7-428E-9894-DD6495AE6604}"/>
              </a:ext>
            </a:extLst>
          </p:cNvPr>
          <p:cNvSpPr txBox="1"/>
          <p:nvPr/>
        </p:nvSpPr>
        <p:spPr>
          <a:xfrm>
            <a:off x="5772111" y="4483694"/>
            <a:ext cx="2195884" cy="161582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rogress on data management capabilities as described in data objective 1</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Calibri" panose="020F0502020204030204"/>
              </a:rPr>
              <a:t>Mandate of Sustainability Board</a:t>
            </a: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a:p>
            <a:pPr>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93557 - Climate Risk Assessment and Stress Testing/</a:t>
            </a:r>
            <a:r>
              <a:rPr lang="en-US">
                <a:solidFill>
                  <a:srgbClr val="000000"/>
                </a:solidFill>
              </a:rPr>
              <a:t>Scenario Analysis incl. carbon footprint monitoring and reporting</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93277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B8CA2DB3-7294-4BD4-8FA1-50315122608D}"/>
              </a:ext>
            </a:extLst>
          </p:cNvPr>
          <p:cNvSpPr>
            <a:spLocks noGrp="1"/>
          </p:cNvSpPr>
          <p:nvPr>
            <p:ph type="pic" sz="quarter" idx="12"/>
          </p:nvPr>
        </p:nvSpPr>
        <p:spPr/>
      </p:sp>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a:lstStyle/>
          <a:p>
            <a:r>
              <a:rPr lang="en-US"/>
              <a:t>Data Design Principles</a:t>
            </a:r>
            <a:endParaRPr lang="nl-NL"/>
          </a:p>
        </p:txBody>
      </p:sp>
      <p:sp>
        <p:nvSpPr>
          <p:cNvPr id="4" name="Text Placeholder 3">
            <a:extLst>
              <a:ext uri="{FF2B5EF4-FFF2-40B4-BE49-F238E27FC236}">
                <a16:creationId xmlns:a16="http://schemas.microsoft.com/office/drawing/2014/main" id="{4465BC45-AA7C-4490-BFD0-C33888A744F3}"/>
              </a:ext>
            </a:extLst>
          </p:cNvPr>
          <p:cNvSpPr>
            <a:spLocks noGrp="1"/>
          </p:cNvSpPr>
          <p:nvPr>
            <p:ph type="body" sz="quarter" idx="13"/>
          </p:nvPr>
        </p:nvSpPr>
        <p:spPr/>
        <p:txBody>
          <a:bodyPr/>
          <a:lstStyle/>
          <a:p>
            <a:endParaRPr lang="nl-NL"/>
          </a:p>
        </p:txBody>
      </p:sp>
      <p:pic>
        <p:nvPicPr>
          <p:cNvPr id="5" name="Picture 4">
            <a:extLst>
              <a:ext uri="{FF2B5EF4-FFF2-40B4-BE49-F238E27FC236}">
                <a16:creationId xmlns:a16="http://schemas.microsoft.com/office/drawing/2014/main" id="{5740E611-0EA2-43FB-A350-4E3326F50F0E}"/>
              </a:ext>
            </a:extLst>
          </p:cNvPr>
          <p:cNvPicPr>
            <a:picLocks noChangeAspect="1"/>
          </p:cNvPicPr>
          <p:nvPr/>
        </p:nvPicPr>
        <p:blipFill>
          <a:blip r:embed="rId2"/>
          <a:stretch>
            <a:fillRect/>
          </a:stretch>
        </p:blipFill>
        <p:spPr>
          <a:xfrm>
            <a:off x="10853731" y="68995"/>
            <a:ext cx="1183414" cy="552971"/>
          </a:xfrm>
          <a:prstGeom prst="rect">
            <a:avLst/>
          </a:prstGeom>
        </p:spPr>
      </p:pic>
      <p:sp>
        <p:nvSpPr>
          <p:cNvPr id="6" name="Rectangle 5">
            <a:extLst>
              <a:ext uri="{FF2B5EF4-FFF2-40B4-BE49-F238E27FC236}">
                <a16:creationId xmlns:a16="http://schemas.microsoft.com/office/drawing/2014/main" id="{6BFE4477-5A0C-460A-B8C0-8FBF39A11620}"/>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1545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3BAF9928-6299-406F-AEF6-7E036EBBC275}"/>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a:ln>
                  <a:noFill/>
                </a:ln>
                <a:solidFill>
                  <a:srgbClr val="0069B4"/>
                </a:solidFill>
                <a:effectLst/>
                <a:uLnTx/>
                <a:uFillTx/>
                <a:latin typeface="Calibri Light" panose="020F0302020204030204" pitchFamily="34" charset="0"/>
                <a:ea typeface="+mj-ea"/>
                <a:cs typeface="Calibri Light" panose="020F0302020204030204" pitchFamily="34" charset="0"/>
              </a:rPr>
              <a:t>Overview of draft data (design) principles</a:t>
            </a:r>
          </a:p>
        </p:txBody>
      </p:sp>
      <p:sp>
        <p:nvSpPr>
          <p:cNvPr id="7" name="TextBox 6">
            <a:extLst>
              <a:ext uri="{FF2B5EF4-FFF2-40B4-BE49-F238E27FC236}">
                <a16:creationId xmlns:a16="http://schemas.microsoft.com/office/drawing/2014/main" id="{3FF48F21-B127-4CF9-8BDD-FC56D4EE7B9A}"/>
              </a:ext>
            </a:extLst>
          </p:cNvPr>
          <p:cNvSpPr txBox="1"/>
          <p:nvPr/>
        </p:nvSpPr>
        <p:spPr>
          <a:xfrm flipH="1">
            <a:off x="588816" y="1400148"/>
            <a:ext cx="10969095" cy="4616648"/>
          </a:xfrm>
          <a:prstGeom prst="rect">
            <a:avLst/>
          </a:prstGeom>
          <a:solidFill>
            <a:schemeClr val="bg2">
              <a:lumMod val="95000"/>
            </a:schemeClr>
          </a:solidFill>
        </p:spPr>
        <p:txBody>
          <a:bodyPr wrap="square" lIns="0" tIns="0" rIns="0" bIns="0" rtlCol="0" anchor="t" anchorCtr="0">
            <a:spAutoFit/>
          </a:bodyPr>
          <a:lstStyle/>
          <a:p>
            <a:pPr marL="228600" indent="-228600" defTabSz="913943">
              <a:buClr>
                <a:srgbClr val="001F5B"/>
              </a:buClr>
              <a:buSzPct val="100000"/>
              <a:buFont typeface="+mj-lt"/>
              <a:buAutoNum type="arabicPeriod"/>
            </a:pPr>
            <a:r>
              <a:rPr kumimoji="0" lang="en-US" sz="1200" b="1"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Data is at the heart of our business </a:t>
            </a:r>
            <a:r>
              <a:rPr kumimoji="0" lang="en-US" sz="120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and we </a:t>
            </a:r>
            <a:r>
              <a:rPr kumimoji="0" lang="en-US" sz="1200" b="1"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invest in the organizational and technological enablers </a:t>
            </a:r>
            <a:r>
              <a:rPr kumimoji="0" lang="en-US" sz="120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to increase our </a:t>
            </a:r>
            <a:r>
              <a:rPr kumimoji="0" lang="en-US" sz="1200" i="0" u="none" strike="noStrike" kern="1200" cap="none" spc="20" normalizeH="0" baseline="0" noProof="0" err="1">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AuM</a:t>
            </a:r>
            <a:r>
              <a:rPr kumimoji="0" lang="en-US" sz="120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 and improve operational excellence </a:t>
            </a:r>
          </a:p>
          <a:p>
            <a:pPr marL="342900" indent="-342900" defTabSz="913943">
              <a:buClr>
                <a:srgbClr val="001F5B"/>
              </a:buClr>
              <a:buSzPct val="100000"/>
              <a:buFont typeface="+mj-lt"/>
              <a:buAutoNum type="arabicPeriod"/>
            </a:pPr>
            <a:endParaRPr lang="en-US" sz="1200" spc="20">
              <a:solidFill>
                <a:srgbClr val="000000"/>
              </a:solidFill>
              <a:latin typeface="Calibri Light" panose="020F0302020204030204"/>
              <a:ea typeface="Times New Roman" panose="02020603050405020304" pitchFamily="18" charset="0"/>
              <a:cs typeface="Times New Roman" panose="02020603050405020304" pitchFamily="18" charset="0"/>
            </a:endParaRPr>
          </a:p>
          <a:p>
            <a:pPr marL="342900" indent="-342900" defTabSz="913943">
              <a:buClr>
                <a:srgbClr val="001F5B"/>
              </a:buClr>
              <a:buSzPct val="100000"/>
              <a:buFont typeface="+mj-lt"/>
              <a:buAutoNum type="arabicPeriod"/>
            </a:pPr>
            <a:r>
              <a:rPr kumimoji="0" lang="en-US" sz="12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We are a </a:t>
            </a:r>
            <a:r>
              <a:rPr kumimoji="0" lang="en-US" sz="1200" b="1"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data enterprise </a:t>
            </a:r>
            <a:r>
              <a:rPr kumimoji="0" lang="en-US" sz="12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with </a:t>
            </a:r>
            <a:r>
              <a:rPr kumimoji="0" lang="en-US" sz="1200" b="1"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one global, integrated data model </a:t>
            </a:r>
            <a:r>
              <a:rPr kumimoji="0" lang="en-US" sz="12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providing a unified information view </a:t>
            </a:r>
            <a:r>
              <a:rPr kumimoji="0" lang="en-US" sz="1200" b="1"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to better serve our clients </a:t>
            </a:r>
            <a:r>
              <a:rPr kumimoji="0" lang="en-US" sz="12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in everything we do</a:t>
            </a:r>
          </a:p>
          <a:p>
            <a:pPr marL="800100" marR="0" lvl="1" indent="-342900"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Clearly defined data domains</a:t>
            </a:r>
          </a:p>
          <a:p>
            <a:pPr marL="800100" marR="0" lvl="1" indent="-342900"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Common data definitions</a:t>
            </a:r>
          </a:p>
          <a:p>
            <a:pPr marL="800100" marR="0" lvl="1" indent="-342900"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We strive to keep data on visible </a:t>
            </a:r>
            <a:r>
              <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core platforms </a:t>
            </a: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and avoid EUC/shadow IT as much as possible</a:t>
            </a:r>
          </a:p>
          <a:p>
            <a:pPr marL="800100" marR="0" lvl="1" indent="-342900"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endPar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endParaRPr>
          </a:p>
          <a:p>
            <a:pPr marL="342900" marR="0" lvl="0" indent="-342900" algn="l" defTabSz="913943" rtl="0" eaLnBrk="1" fontAlgn="auto" latinLnBrk="0" hangingPunct="1">
              <a:lnSpc>
                <a:spcPct val="100000"/>
              </a:lnSpc>
              <a:spcBef>
                <a:spcPts val="0"/>
              </a:spcBef>
              <a:spcAft>
                <a:spcPts val="0"/>
              </a:spcAft>
              <a:buClr>
                <a:srgbClr val="001F5B"/>
              </a:buClr>
              <a:buSzPct val="100000"/>
              <a:buFont typeface="+mj-lt"/>
              <a:buAutoNum type="arabi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Our global data management framework </a:t>
            </a:r>
            <a:r>
              <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provides data quality, privacy and compliance by design </a:t>
            </a: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and ensures data is always shared in a secured manner</a:t>
            </a:r>
          </a:p>
          <a:p>
            <a:pPr marL="342900" marR="0" lvl="0" indent="-342900" algn="l" defTabSz="913943" rtl="0" eaLnBrk="1" fontAlgn="auto" latinLnBrk="0" hangingPunct="1">
              <a:lnSpc>
                <a:spcPct val="100000"/>
              </a:lnSpc>
              <a:spcBef>
                <a:spcPts val="0"/>
              </a:spcBef>
              <a:spcAft>
                <a:spcPts val="0"/>
              </a:spcAft>
              <a:buClr>
                <a:srgbClr val="001F5B"/>
              </a:buClr>
              <a:buSzPct val="100000"/>
              <a:buFont typeface="+mj-lt"/>
              <a:buAutoNum type="arabicPeriod"/>
              <a:tabLst/>
              <a:defRPr/>
            </a:pPr>
            <a:endPar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endParaRPr>
          </a:p>
          <a:p>
            <a:pPr marL="342900" indent="-342900" defTabSz="913943">
              <a:buClr>
                <a:srgbClr val="001F5B"/>
              </a:buClr>
              <a:buSzPct val="100000"/>
              <a:buFont typeface="+mj-lt"/>
              <a:buAutoNum type="arabicPeriod"/>
              <a:defRPr/>
            </a:pPr>
            <a:r>
              <a:rPr lang="en-US" sz="1200" b="1" spc="20">
                <a:solidFill>
                  <a:srgbClr val="000000"/>
                </a:solidFill>
                <a:latin typeface="Calibri Light" panose="020F0302020204030204"/>
                <a:cs typeface="Times New Roman" panose="02020603050405020304" pitchFamily="18" charset="0"/>
              </a:rPr>
              <a:t>We are dedicated to embed the culture of ‘data ownership is a business responsibility’ </a:t>
            </a:r>
            <a:r>
              <a:rPr lang="en-US" sz="1200" spc="20">
                <a:solidFill>
                  <a:srgbClr val="000000"/>
                </a:solidFill>
                <a:latin typeface="Calibri Light" panose="020F0302020204030204"/>
                <a:cs typeface="Times New Roman" panose="02020603050405020304" pitchFamily="18" charset="0"/>
              </a:rPr>
              <a:t>and</a:t>
            </a:r>
            <a:r>
              <a:rPr lang="en-US" sz="1200" b="1" spc="20">
                <a:solidFill>
                  <a:srgbClr val="000000"/>
                </a:solidFill>
                <a:latin typeface="Calibri Light" panose="020F0302020204030204"/>
                <a:cs typeface="Times New Roman" panose="02020603050405020304" pitchFamily="18" charset="0"/>
              </a:rPr>
              <a:t> </a:t>
            </a:r>
            <a:r>
              <a:rPr lang="en-US" sz="1200" spc="20">
                <a:latin typeface="Calibri Light" panose="020F0302020204030204"/>
                <a:cs typeface="Times New Roman" panose="02020603050405020304" pitchFamily="18" charset="0"/>
              </a:rPr>
              <a:t>the data owner is always accountable for managing their data, identifying and describing their Critical Data Elements and control the data quality</a:t>
            </a:r>
          </a:p>
          <a:p>
            <a:pPr marL="800100" lvl="1" indent="-342900" defTabSz="913943">
              <a:buClr>
                <a:srgbClr val="001F5B"/>
              </a:buClr>
              <a:buSzPct val="100000"/>
              <a:buFont typeface="+mj-lt"/>
              <a:buAutoNum type="alphaUcPeriod"/>
              <a:defRPr/>
            </a:pPr>
            <a:r>
              <a:rPr lang="en-US" sz="1200" b="1" spc="20">
                <a:latin typeface="Calibri Light" panose="020F0302020204030204"/>
                <a:cs typeface="Times New Roman" panose="02020603050405020304" pitchFamily="18" charset="0"/>
              </a:rPr>
              <a:t>Data quality is managed </a:t>
            </a:r>
            <a:r>
              <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at the source </a:t>
            </a:r>
            <a:r>
              <a:rPr lang="en-US" sz="1200" spc="20">
                <a:solidFill>
                  <a:srgbClr val="000000"/>
                </a:solidFill>
                <a:latin typeface="Calibri Light" panose="020F0302020204030204"/>
                <a:cs typeface="Times New Roman" panose="02020603050405020304" pitchFamily="18" charset="0"/>
              </a:rPr>
              <a:t>(place where data is created by data producer) </a:t>
            </a:r>
          </a:p>
          <a:p>
            <a:pPr marL="800100" lvl="1" indent="-342900" defTabSz="913943">
              <a:buClr>
                <a:srgbClr val="001F5B"/>
              </a:buClr>
              <a:buSzPct val="100000"/>
              <a:buFont typeface="+mj-lt"/>
              <a:buAutoNum type="alphaUcPeriod"/>
              <a:defRPr/>
            </a:pPr>
            <a:r>
              <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We maintain a single entry point </a:t>
            </a: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into the organization for external (purchased) data</a:t>
            </a:r>
          </a:p>
          <a:p>
            <a:pPr marL="800100" lvl="1" indent="-342900" defTabSz="913943">
              <a:buClr>
                <a:srgbClr val="001F5B"/>
              </a:buClr>
              <a:buSzPct val="100000"/>
              <a:buFont typeface="+mj-lt"/>
              <a:buAutoNum type="alphaUcPeriod"/>
              <a:defRPr/>
            </a:pPr>
            <a:r>
              <a:rPr lang="en-US" sz="1200" b="1" spc="20">
                <a:solidFill>
                  <a:srgbClr val="000000"/>
                </a:solidFill>
                <a:latin typeface="Calibri Light" panose="020F0302020204030204"/>
                <a:cs typeface="Times New Roman" panose="02020603050405020304" pitchFamily="18" charset="0"/>
              </a:rPr>
              <a:t>All CDEs are documented</a:t>
            </a:r>
            <a:r>
              <a:rPr lang="en-US" sz="1200" spc="20">
                <a:solidFill>
                  <a:srgbClr val="000000"/>
                </a:solidFill>
                <a:latin typeface="Calibri Light" panose="020F0302020204030204"/>
                <a:cs typeface="Times New Roman" panose="02020603050405020304" pitchFamily="18" charset="0"/>
              </a:rPr>
              <a:t>, located in a </a:t>
            </a:r>
            <a:r>
              <a:rPr lang="en-US" sz="1200" b="1" spc="20">
                <a:solidFill>
                  <a:srgbClr val="000000"/>
                </a:solidFill>
                <a:latin typeface="Calibri Light" panose="020F0302020204030204"/>
                <a:cs typeface="Times New Roman" panose="02020603050405020304" pitchFamily="18" charset="0"/>
              </a:rPr>
              <a:t>golden source </a:t>
            </a:r>
            <a:r>
              <a:rPr lang="en-US" sz="1200" spc="20">
                <a:solidFill>
                  <a:srgbClr val="000000"/>
                </a:solidFill>
                <a:latin typeface="Calibri Light" panose="020F0302020204030204"/>
                <a:cs typeface="Times New Roman" panose="02020603050405020304" pitchFamily="18" charset="0"/>
              </a:rPr>
              <a:t>and </a:t>
            </a:r>
            <a:r>
              <a:rPr lang="en-US" sz="1200" b="1" spc="20">
                <a:solidFill>
                  <a:srgbClr val="000000"/>
                </a:solidFill>
                <a:latin typeface="Calibri Light" panose="020F0302020204030204"/>
                <a:cs typeface="Times New Roman" panose="02020603050405020304" pitchFamily="18" charset="0"/>
              </a:rPr>
              <a:t>understood commonly</a:t>
            </a:r>
            <a:endPar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endParaRPr>
          </a:p>
          <a:p>
            <a:pPr marL="457200" marR="0" lvl="1" indent="0" algn="l" defTabSz="913943" rtl="0" eaLnBrk="1" fontAlgn="auto" latinLnBrk="0" hangingPunct="1">
              <a:lnSpc>
                <a:spcPct val="100000"/>
              </a:lnSpc>
              <a:spcBef>
                <a:spcPts val="0"/>
              </a:spcBef>
              <a:spcAft>
                <a:spcPts val="0"/>
              </a:spcAft>
              <a:buClr>
                <a:srgbClr val="001F5B"/>
              </a:buClr>
              <a:buSzPct val="100000"/>
              <a:buFontTx/>
              <a:buNone/>
              <a:tabLst/>
              <a:defRPr/>
            </a:pPr>
            <a:endPar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endParaRPr>
          </a:p>
          <a:p>
            <a:pPr marL="342900" marR="0" lvl="0" indent="-342900" algn="l" defTabSz="913943" rtl="0" eaLnBrk="1" fontAlgn="auto" latinLnBrk="0" hangingPunct="1">
              <a:lnSpc>
                <a:spcPct val="100000"/>
              </a:lnSpc>
              <a:spcBef>
                <a:spcPts val="0"/>
              </a:spcBef>
              <a:spcAft>
                <a:spcPts val="0"/>
              </a:spcAft>
              <a:buClr>
                <a:srgbClr val="001F5B"/>
              </a:buClr>
              <a:buSzPct val="100000"/>
              <a:buFont typeface="+mj-lt"/>
              <a:buAutoNum type="arabi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We </a:t>
            </a:r>
            <a:r>
              <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simplify and standardize our activities by automating data processing </a:t>
            </a: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calculate it once, use it by many) where possible in order to enhance first-time right (straight-through-processing) and therefore creating cost efficiencies</a:t>
            </a:r>
          </a:p>
          <a:p>
            <a:pPr marL="342900" marR="0" lvl="0" indent="-342900" algn="l" defTabSz="913943" rtl="0" eaLnBrk="1" fontAlgn="auto" latinLnBrk="0" hangingPunct="1">
              <a:lnSpc>
                <a:spcPct val="100000"/>
              </a:lnSpc>
              <a:spcBef>
                <a:spcPts val="0"/>
              </a:spcBef>
              <a:spcAft>
                <a:spcPts val="0"/>
              </a:spcAft>
              <a:buClr>
                <a:srgbClr val="001F5B"/>
              </a:buClr>
              <a:buSzPct val="100000"/>
              <a:buFont typeface="+mj-lt"/>
              <a:buAutoNum type="arabicPeriod"/>
              <a:tabLst/>
              <a:defRPr/>
            </a:pPr>
            <a:endPar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endParaRPr>
          </a:p>
          <a:p>
            <a:pPr marL="342900" marR="0" lvl="0" indent="-342900" algn="l" defTabSz="913943" rtl="0" eaLnBrk="1" fontAlgn="auto" latinLnBrk="0" hangingPunct="1">
              <a:lnSpc>
                <a:spcPct val="100000"/>
              </a:lnSpc>
              <a:spcBef>
                <a:spcPts val="0"/>
              </a:spcBef>
              <a:spcAft>
                <a:spcPts val="0"/>
              </a:spcAft>
              <a:buClr>
                <a:srgbClr val="001F5B"/>
              </a:buClr>
              <a:buSzPct val="100000"/>
              <a:buFont typeface="+mj-lt"/>
              <a:buAutoNum type="arabi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We facilitate and enable </a:t>
            </a:r>
            <a:r>
              <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business driven analytics initiatives </a:t>
            </a: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with a global way of working and architectural standards</a:t>
            </a:r>
          </a:p>
          <a:p>
            <a:pPr marL="800100" marR="0" lvl="1" indent="-342900"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A </a:t>
            </a:r>
            <a:r>
              <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support model </a:t>
            </a: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overseeing the day to day functioning (You build it, you </a:t>
            </a:r>
            <a:r>
              <a:rPr lang="en-US" sz="1200" spc="20">
                <a:solidFill>
                  <a:srgbClr val="000000"/>
                </a:solidFill>
                <a:latin typeface="Calibri Light" panose="020F0302020204030204"/>
                <a:cs typeface="Times New Roman" panose="02020603050405020304" pitchFamily="18" charset="0"/>
              </a:rPr>
              <a:t>support</a:t>
            </a: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 &amp; maintain it)</a:t>
            </a:r>
          </a:p>
          <a:p>
            <a:pPr marL="800100" marR="0" lvl="1" indent="-342900"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Running costs to be covered by </a:t>
            </a:r>
            <a:r>
              <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value added insights </a:t>
            </a: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Use it or lose it)</a:t>
            </a:r>
          </a:p>
          <a:p>
            <a:pPr marL="800100" marR="0" lvl="1" indent="-342900"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endPar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endParaRPr>
          </a:p>
          <a:p>
            <a:pPr marL="342900" marR="0" lvl="0" indent="-342900" algn="l" defTabSz="913943" rtl="0" eaLnBrk="1" fontAlgn="auto" latinLnBrk="0" hangingPunct="1">
              <a:lnSpc>
                <a:spcPct val="100000"/>
              </a:lnSpc>
              <a:spcBef>
                <a:spcPts val="0"/>
              </a:spcBef>
              <a:spcAft>
                <a:spcPts val="0"/>
              </a:spcAft>
              <a:buClr>
                <a:srgbClr val="001F5B"/>
              </a:buClr>
              <a:buSzPct val="100000"/>
              <a:buFont typeface="+mj-lt"/>
              <a:buAutoNum type="arabi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We apply a </a:t>
            </a:r>
            <a:r>
              <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holistic approach to utilizing trusted ESG data &amp; analytics </a:t>
            </a: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to engage with </a:t>
            </a:r>
            <a:r>
              <a:rPr lang="en-US" sz="1200" spc="20">
                <a:solidFill>
                  <a:srgbClr val="000000"/>
                </a:solidFill>
                <a:latin typeface="Calibri Light" panose="020F0302020204030204"/>
                <a:cs typeface="Times New Roman" panose="02020603050405020304" pitchFamily="18" charset="0"/>
              </a:rPr>
              <a:t>our prospects and clients to </a:t>
            </a: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enable them to make </a:t>
            </a:r>
            <a:r>
              <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responsible investment decisions</a:t>
            </a:r>
          </a:p>
          <a:p>
            <a:pPr marL="800100" marR="0" lvl="1" indent="-342900"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r>
              <a:rPr lang="en-US" sz="1200" spc="20">
                <a:solidFill>
                  <a:srgbClr val="000000"/>
                </a:solidFill>
                <a:latin typeface="Calibri Light" panose="020F0302020204030204"/>
                <a:cs typeface="Times New Roman" panose="02020603050405020304" pitchFamily="18" charset="0"/>
              </a:rPr>
              <a:t>Our </a:t>
            </a:r>
            <a:r>
              <a:rPr lang="en-US" sz="1200" b="1" spc="20">
                <a:solidFill>
                  <a:srgbClr val="000000"/>
                </a:solidFill>
                <a:latin typeface="Calibri Light" panose="020F0302020204030204"/>
                <a:cs typeface="Times New Roman" panose="02020603050405020304" pitchFamily="18" charset="0"/>
              </a:rPr>
              <a:t>ESG rating approach is clearly presented </a:t>
            </a:r>
            <a:r>
              <a:rPr lang="en-US" sz="1200" spc="20">
                <a:solidFill>
                  <a:srgbClr val="000000"/>
                </a:solidFill>
                <a:latin typeface="Calibri Light" panose="020F0302020204030204"/>
                <a:cs typeface="Times New Roman" panose="02020603050405020304" pitchFamily="18" charset="0"/>
              </a:rPr>
              <a:t>throughout portfolio management and client reporting</a:t>
            </a:r>
            <a:endParaRPr kumimoji="0" lang="en-US" sz="120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endParaRPr>
          </a:p>
          <a:p>
            <a:pPr marL="800100" marR="0" lvl="1" indent="-342900"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We </a:t>
            </a:r>
            <a:r>
              <a:rPr kumimoji="0" lang="en-US" sz="12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structurally provide ESG data and (performance) insights </a:t>
            </a:r>
            <a:r>
              <a:rPr kumimoji="0" lang="en-US" sz="12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to clients</a:t>
            </a:r>
          </a:p>
        </p:txBody>
      </p:sp>
      <p:sp>
        <p:nvSpPr>
          <p:cNvPr id="11" name="Flowchart: Manual Input 10">
            <a:extLst>
              <a:ext uri="{FF2B5EF4-FFF2-40B4-BE49-F238E27FC236}">
                <a16:creationId xmlns:a16="http://schemas.microsoft.com/office/drawing/2014/main" id="{B149D876-F22D-4AC4-B853-B39E1F389565}"/>
              </a:ext>
            </a:extLst>
          </p:cNvPr>
          <p:cNvSpPr/>
          <p:nvPr/>
        </p:nvSpPr>
        <p:spPr>
          <a:xfrm>
            <a:off x="588817" y="842799"/>
            <a:ext cx="2480954" cy="467894"/>
          </a:xfrm>
          <a:prstGeom prst="flowChartManualInput">
            <a:avLst/>
          </a:prstGeom>
          <a:solidFill>
            <a:schemeClr val="accent5"/>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Data (Design) principles</a:t>
            </a:r>
          </a:p>
        </p:txBody>
      </p:sp>
      <p:pic>
        <p:nvPicPr>
          <p:cNvPr id="16" name="Graphic 15" descr="Map compass with solid fill">
            <a:extLst>
              <a:ext uri="{FF2B5EF4-FFF2-40B4-BE49-F238E27FC236}">
                <a16:creationId xmlns:a16="http://schemas.microsoft.com/office/drawing/2014/main" id="{0B8C5505-B5F0-46B7-85DA-D1DD309DB14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494" y="4708553"/>
            <a:ext cx="346867" cy="346867"/>
          </a:xfrm>
          <a:prstGeom prst="rect">
            <a:avLst/>
          </a:prstGeom>
        </p:spPr>
      </p:pic>
      <p:pic>
        <p:nvPicPr>
          <p:cNvPr id="21" name="Graphic 20" descr="Home with solid fill">
            <a:extLst>
              <a:ext uri="{FF2B5EF4-FFF2-40B4-BE49-F238E27FC236}">
                <a16:creationId xmlns:a16="http://schemas.microsoft.com/office/drawing/2014/main" id="{73C96F68-A1AE-4AA9-9EDC-E1D700CD0C3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9495" y="1373949"/>
            <a:ext cx="346867" cy="346867"/>
          </a:xfrm>
          <a:prstGeom prst="rect">
            <a:avLst/>
          </a:prstGeom>
        </p:spPr>
      </p:pic>
      <p:pic>
        <p:nvPicPr>
          <p:cNvPr id="22" name="Graphic 21" descr="Map compass with solid fill">
            <a:extLst>
              <a:ext uri="{FF2B5EF4-FFF2-40B4-BE49-F238E27FC236}">
                <a16:creationId xmlns:a16="http://schemas.microsoft.com/office/drawing/2014/main" id="{D34D8A00-533C-42D8-9CD5-494349AD5C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99641" y="6066327"/>
            <a:ext cx="468000" cy="468000"/>
          </a:xfrm>
          <a:prstGeom prst="rect">
            <a:avLst/>
          </a:prstGeom>
        </p:spPr>
      </p:pic>
      <p:pic>
        <p:nvPicPr>
          <p:cNvPr id="23" name="Graphic 22" descr="Home with solid fill">
            <a:extLst>
              <a:ext uri="{FF2B5EF4-FFF2-40B4-BE49-F238E27FC236}">
                <a16:creationId xmlns:a16="http://schemas.microsoft.com/office/drawing/2014/main" id="{4BD6E30F-1C8E-4F30-A4BB-F0E45BB497C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0823" y="6066327"/>
            <a:ext cx="468000" cy="468000"/>
          </a:xfrm>
          <a:prstGeom prst="rect">
            <a:avLst/>
          </a:prstGeom>
        </p:spPr>
      </p:pic>
      <p:sp>
        <p:nvSpPr>
          <p:cNvPr id="24" name="TextBox 23">
            <a:extLst>
              <a:ext uri="{FF2B5EF4-FFF2-40B4-BE49-F238E27FC236}">
                <a16:creationId xmlns:a16="http://schemas.microsoft.com/office/drawing/2014/main" id="{74C227E9-2C32-4D02-B5D4-D03D91A98B7E}"/>
              </a:ext>
            </a:extLst>
          </p:cNvPr>
          <p:cNvSpPr txBox="1"/>
          <p:nvPr/>
        </p:nvSpPr>
        <p:spPr>
          <a:xfrm>
            <a:off x="1241268" y="6188253"/>
            <a:ext cx="1828503"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u="none" strike="noStrike" kern="1200" cap="none" spc="0" normalizeH="0" baseline="0" noProof="0">
                <a:ln>
                  <a:noFill/>
                </a:ln>
                <a:solidFill>
                  <a:srgbClr val="000000"/>
                </a:solidFill>
                <a:effectLst/>
                <a:uLnTx/>
                <a:uFillTx/>
                <a:latin typeface="Calibri" panose="020F0502020204030204"/>
                <a:ea typeface="+mn-ea"/>
                <a:cs typeface="+mn-cs"/>
              </a:rPr>
              <a:t>Foundational data princip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C0EFCA6E-741E-45DE-A07D-36FC841CFF41}"/>
              </a:ext>
            </a:extLst>
          </p:cNvPr>
          <p:cNvSpPr txBox="1"/>
          <p:nvPr/>
        </p:nvSpPr>
        <p:spPr>
          <a:xfrm>
            <a:off x="3767641" y="6188253"/>
            <a:ext cx="1828503"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u="none" strike="noStrike" kern="1200" cap="none" spc="0" normalizeH="0" baseline="0" noProof="0">
                <a:ln>
                  <a:noFill/>
                </a:ln>
                <a:solidFill>
                  <a:srgbClr val="000000"/>
                </a:solidFill>
                <a:effectLst/>
                <a:uLnTx/>
                <a:uFillTx/>
                <a:latin typeface="Calibri" panose="020F0502020204030204"/>
                <a:ea typeface="+mn-ea"/>
                <a:cs typeface="+mn-cs"/>
              </a:rPr>
              <a:t>Analytics aspiration princip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6" name="Picture 25">
            <a:extLst>
              <a:ext uri="{FF2B5EF4-FFF2-40B4-BE49-F238E27FC236}">
                <a16:creationId xmlns:a16="http://schemas.microsoft.com/office/drawing/2014/main" id="{9C7C999A-CFB3-405D-8AD6-0923797D58C8}"/>
              </a:ext>
            </a:extLst>
          </p:cNvPr>
          <p:cNvPicPr>
            <a:picLocks noChangeAspect="1"/>
          </p:cNvPicPr>
          <p:nvPr/>
        </p:nvPicPr>
        <p:blipFill>
          <a:blip r:embed="rId7"/>
          <a:stretch>
            <a:fillRect/>
          </a:stretch>
        </p:blipFill>
        <p:spPr>
          <a:xfrm>
            <a:off x="10853731" y="68995"/>
            <a:ext cx="1183414" cy="552971"/>
          </a:xfrm>
          <a:prstGeom prst="rect">
            <a:avLst/>
          </a:prstGeom>
        </p:spPr>
      </p:pic>
      <p:sp>
        <p:nvSpPr>
          <p:cNvPr id="29" name="Rectangle 28">
            <a:extLst>
              <a:ext uri="{FF2B5EF4-FFF2-40B4-BE49-F238E27FC236}">
                <a16:creationId xmlns:a16="http://schemas.microsoft.com/office/drawing/2014/main" id="{193AB1EA-626F-4FDB-AED9-E7E0C9209C61}"/>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31" name="Graphic 30" descr="Home with solid fill">
            <a:extLst>
              <a:ext uri="{FF2B5EF4-FFF2-40B4-BE49-F238E27FC236}">
                <a16:creationId xmlns:a16="http://schemas.microsoft.com/office/drawing/2014/main" id="{59B623AA-8C01-408B-8BA1-8E483C00E17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9495" y="1759042"/>
            <a:ext cx="346867" cy="346867"/>
          </a:xfrm>
          <a:prstGeom prst="rect">
            <a:avLst/>
          </a:prstGeom>
        </p:spPr>
      </p:pic>
      <p:pic>
        <p:nvPicPr>
          <p:cNvPr id="32" name="Graphic 31" descr="Home with solid fill">
            <a:extLst>
              <a:ext uri="{FF2B5EF4-FFF2-40B4-BE49-F238E27FC236}">
                <a16:creationId xmlns:a16="http://schemas.microsoft.com/office/drawing/2014/main" id="{D1A23FF4-92D6-49FB-94ED-E6FD8DC33D0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9495" y="2659601"/>
            <a:ext cx="346867" cy="346867"/>
          </a:xfrm>
          <a:prstGeom prst="rect">
            <a:avLst/>
          </a:prstGeom>
        </p:spPr>
      </p:pic>
      <p:pic>
        <p:nvPicPr>
          <p:cNvPr id="33" name="Graphic 32" descr="Home with solid fill">
            <a:extLst>
              <a:ext uri="{FF2B5EF4-FFF2-40B4-BE49-F238E27FC236}">
                <a16:creationId xmlns:a16="http://schemas.microsoft.com/office/drawing/2014/main" id="{75F1889D-AA0F-42C3-A330-76337CBB060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5494" y="3049079"/>
            <a:ext cx="346867" cy="346867"/>
          </a:xfrm>
          <a:prstGeom prst="rect">
            <a:avLst/>
          </a:prstGeom>
        </p:spPr>
      </p:pic>
      <p:pic>
        <p:nvPicPr>
          <p:cNvPr id="34" name="Graphic 33" descr="Home with solid fill">
            <a:extLst>
              <a:ext uri="{FF2B5EF4-FFF2-40B4-BE49-F238E27FC236}">
                <a16:creationId xmlns:a16="http://schemas.microsoft.com/office/drawing/2014/main" id="{66A9B8E3-8296-4F4C-BDC7-004BA34279C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5494" y="4110651"/>
            <a:ext cx="346867" cy="346867"/>
          </a:xfrm>
          <a:prstGeom prst="rect">
            <a:avLst/>
          </a:prstGeom>
        </p:spPr>
      </p:pic>
      <p:pic>
        <p:nvPicPr>
          <p:cNvPr id="35" name="Graphic 34" descr="Map compass with solid fill">
            <a:extLst>
              <a:ext uri="{FF2B5EF4-FFF2-40B4-BE49-F238E27FC236}">
                <a16:creationId xmlns:a16="http://schemas.microsoft.com/office/drawing/2014/main" id="{5727D45F-8055-49F7-B0B4-803B8E2713D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494" y="5412030"/>
            <a:ext cx="346867" cy="346867"/>
          </a:xfrm>
          <a:prstGeom prst="rect">
            <a:avLst/>
          </a:prstGeom>
        </p:spPr>
      </p:pic>
    </p:spTree>
    <p:extLst>
      <p:ext uri="{BB962C8B-B14F-4D97-AF65-F5344CB8AC3E}">
        <p14:creationId xmlns:p14="http://schemas.microsoft.com/office/powerpoint/2010/main" val="18694393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25005EA2-C404-4FE4-BFF9-9A9ABFCCFF3E}"/>
              </a:ext>
            </a:extLst>
          </p:cNvPr>
          <p:cNvSpPr/>
          <p:nvPr/>
        </p:nvSpPr>
        <p:spPr>
          <a:xfrm>
            <a:off x="820152" y="4944725"/>
            <a:ext cx="5074805" cy="115043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a:extLst>
              <a:ext uri="{FF2B5EF4-FFF2-40B4-BE49-F238E27FC236}">
                <a16:creationId xmlns:a16="http://schemas.microsoft.com/office/drawing/2014/main" id="{54E0F463-4FB6-4965-9E28-E860BF2C06A6}"/>
              </a:ext>
            </a:extLst>
          </p:cNvPr>
          <p:cNvSpPr txBox="1"/>
          <p:nvPr/>
        </p:nvSpPr>
        <p:spPr>
          <a:xfrm>
            <a:off x="820153" y="5050501"/>
            <a:ext cx="5074805" cy="1107996"/>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indent="0">
              <a:buNone/>
            </a:pPr>
            <a:r>
              <a:rPr lang="en-US"/>
              <a:t>#2: </a:t>
            </a:r>
            <a:r>
              <a:rPr lang="en-US" sz="1100" spc="20">
                <a:ea typeface="Times New Roman" panose="02020603050405020304" pitchFamily="18" charset="0"/>
                <a:cs typeface="Times New Roman" panose="02020603050405020304" pitchFamily="18" charset="0"/>
              </a:rPr>
              <a:t>Integration of data requirements in one enterprise data model across current and future demands to better serve our clients</a:t>
            </a:r>
            <a:endParaRPr lang="en-US"/>
          </a:p>
          <a:p>
            <a:pPr marL="85725" indent="0">
              <a:buNone/>
            </a:pPr>
            <a:r>
              <a:rPr lang="en-US"/>
              <a:t>#3: </a:t>
            </a:r>
            <a:r>
              <a:rPr lang="en-US" sz="1100" spc="20">
                <a:ea typeface="Times New Roman" panose="02020603050405020304" pitchFamily="18" charset="0"/>
                <a:cs typeface="Times New Roman" panose="02020603050405020304" pitchFamily="18" charset="0"/>
              </a:rPr>
              <a:t>Global and unified Business Intelligence for operational management underpinning all decision-making</a:t>
            </a:r>
          </a:p>
          <a:p>
            <a:pPr marL="85725" indent="0">
              <a:buNone/>
            </a:pPr>
            <a:r>
              <a:rPr lang="en-US" spc="20">
                <a:ea typeface="Times New Roman" panose="02020603050405020304" pitchFamily="18" charset="0"/>
                <a:cs typeface="Times New Roman" panose="02020603050405020304" pitchFamily="18" charset="0"/>
              </a:rPr>
              <a:t>#4: </a:t>
            </a:r>
            <a:r>
              <a:rPr lang="en-US" sz="1100" spc="20">
                <a:ea typeface="Times New Roman" panose="02020603050405020304" pitchFamily="18" charset="0"/>
                <a:cs typeface="Times New Roman" panose="02020603050405020304" pitchFamily="18" charset="0"/>
              </a:rPr>
              <a:t>Building a global way of working to enable the business to use analytics and data innovation techniques</a:t>
            </a:r>
            <a:endParaRPr lang="en-US"/>
          </a:p>
        </p:txBody>
      </p:sp>
      <p:sp>
        <p:nvSpPr>
          <p:cNvPr id="14" name="Title 5">
            <a:extLst>
              <a:ext uri="{FF2B5EF4-FFF2-40B4-BE49-F238E27FC236}">
                <a16:creationId xmlns:a16="http://schemas.microsoft.com/office/drawing/2014/main" id="{059C36B7-D23A-4334-93AA-C051BE2127AA}"/>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r>
              <a:rPr lang="en-US" sz="2400"/>
              <a:t>Data (Design) Principles (1/4)</a:t>
            </a:r>
          </a:p>
        </p:txBody>
      </p:sp>
      <p:sp>
        <p:nvSpPr>
          <p:cNvPr id="90" name="Rectangle 89">
            <a:extLst>
              <a:ext uri="{FF2B5EF4-FFF2-40B4-BE49-F238E27FC236}">
                <a16:creationId xmlns:a16="http://schemas.microsoft.com/office/drawing/2014/main" id="{EB693C99-639E-4B81-BAB2-25B66FD24BDE}"/>
              </a:ext>
            </a:extLst>
          </p:cNvPr>
          <p:cNvSpPr/>
          <p:nvPr/>
        </p:nvSpPr>
        <p:spPr>
          <a:xfrm>
            <a:off x="855149" y="1248354"/>
            <a:ext cx="5039808" cy="846656"/>
          </a:xfrm>
          <a:prstGeom prst="rect">
            <a:avLst/>
          </a:prstGeom>
          <a:noFill/>
          <a:ln w="25400" cap="flat" cmpd="sng" algn="ctr">
            <a:noFill/>
            <a:prstDash val="solid"/>
          </a:ln>
          <a:effectLst/>
        </p:spPr>
        <p:txBody>
          <a:bodyPr numCol="1" rtlCol="0" anchor="t"/>
          <a:lstStyle/>
          <a:p>
            <a:pPr defTabSz="913943">
              <a:buClr>
                <a:srgbClr val="001F5B"/>
              </a:buClr>
              <a:buSzPct val="100000"/>
            </a:pPr>
            <a:r>
              <a:rPr lang="en-US" sz="1100" b="1" spc="20">
                <a:solidFill>
                  <a:srgbClr val="000000"/>
                </a:solidFill>
                <a:latin typeface="Calibri Light" panose="020F0302020204030204"/>
                <a:ea typeface="Times New Roman" panose="02020603050405020304" pitchFamily="18" charset="0"/>
                <a:cs typeface="Times New Roman" panose="02020603050405020304" pitchFamily="18" charset="0"/>
              </a:rPr>
              <a:t>Data is at the heart of our business </a:t>
            </a:r>
            <a:r>
              <a:rPr lang="en-US" sz="1100" spc="20">
                <a:solidFill>
                  <a:srgbClr val="000000"/>
                </a:solidFill>
                <a:latin typeface="Calibri Light" panose="020F0302020204030204"/>
                <a:ea typeface="Times New Roman" panose="02020603050405020304" pitchFamily="18" charset="0"/>
                <a:cs typeface="Times New Roman" panose="02020603050405020304" pitchFamily="18" charset="0"/>
              </a:rPr>
              <a:t>and we </a:t>
            </a:r>
            <a:r>
              <a:rPr lang="en-US" sz="1100" b="1" spc="20">
                <a:solidFill>
                  <a:srgbClr val="000000"/>
                </a:solidFill>
                <a:latin typeface="Calibri Light" panose="020F0302020204030204"/>
                <a:ea typeface="Times New Roman" panose="02020603050405020304" pitchFamily="18" charset="0"/>
                <a:cs typeface="Times New Roman" panose="02020603050405020304" pitchFamily="18" charset="0"/>
              </a:rPr>
              <a:t>invest in the organizational and technological enablers</a:t>
            </a:r>
            <a:r>
              <a:rPr lang="en-US" sz="1100" spc="20">
                <a:solidFill>
                  <a:srgbClr val="000000"/>
                </a:solidFill>
                <a:latin typeface="Calibri Light" panose="020F0302020204030204"/>
                <a:ea typeface="Times New Roman" panose="02020603050405020304" pitchFamily="18" charset="0"/>
                <a:cs typeface="Times New Roman" panose="02020603050405020304" pitchFamily="18" charset="0"/>
              </a:rPr>
              <a:t> to increase our </a:t>
            </a:r>
            <a:r>
              <a:rPr lang="en-US" sz="1100" spc="20" err="1">
                <a:solidFill>
                  <a:srgbClr val="000000"/>
                </a:solidFill>
                <a:latin typeface="Calibri Light" panose="020F0302020204030204"/>
                <a:ea typeface="Times New Roman" panose="02020603050405020304" pitchFamily="18" charset="0"/>
                <a:cs typeface="Times New Roman" panose="02020603050405020304" pitchFamily="18" charset="0"/>
              </a:rPr>
              <a:t>AuM</a:t>
            </a:r>
            <a:r>
              <a:rPr lang="en-US" sz="1100" spc="20">
                <a:solidFill>
                  <a:srgbClr val="000000"/>
                </a:solidFill>
                <a:latin typeface="Calibri Light" panose="020F0302020204030204"/>
                <a:ea typeface="Times New Roman" panose="02020603050405020304" pitchFamily="18" charset="0"/>
                <a:cs typeface="Times New Roman" panose="02020603050405020304" pitchFamily="18" charset="0"/>
              </a:rPr>
              <a:t> and improve operational excellence </a:t>
            </a:r>
          </a:p>
        </p:txBody>
      </p:sp>
      <p:sp>
        <p:nvSpPr>
          <p:cNvPr id="91" name="Flowchart: Manual Input 90">
            <a:extLst>
              <a:ext uri="{FF2B5EF4-FFF2-40B4-BE49-F238E27FC236}">
                <a16:creationId xmlns:a16="http://schemas.microsoft.com/office/drawing/2014/main" id="{421F5648-CB2A-4B47-A034-1082B1CD0FBB}"/>
              </a:ext>
            </a:extLst>
          </p:cNvPr>
          <p:cNvSpPr/>
          <p:nvPr/>
        </p:nvSpPr>
        <p:spPr>
          <a:xfrm>
            <a:off x="820152" y="1030652"/>
            <a:ext cx="5039808" cy="241892"/>
          </a:xfrm>
          <a:prstGeom prst="flowChartManualInput">
            <a:avLst/>
          </a:prstGeom>
          <a:solidFill>
            <a:schemeClr val="accent5"/>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defTabSz="912924" rtl="0" eaLnBrk="1" fontAlgn="auto" latinLnBrk="0" hangingPunct="1">
              <a:lnSpc>
                <a:spcPct val="100000"/>
              </a:lnSpc>
              <a:spcBef>
                <a:spcPts val="0"/>
              </a:spcBef>
              <a:spcAft>
                <a:spcPts val="0"/>
              </a:spcAft>
              <a:buClrTx/>
              <a:buSzTx/>
              <a:buFontTx/>
              <a:buNone/>
              <a:tabLst/>
              <a:defRPr/>
            </a:pPr>
            <a:r>
              <a:rPr lang="en-US" sz="1200" b="1">
                <a:solidFill>
                  <a:schemeClr val="bg1"/>
                </a:solidFill>
              </a:rPr>
              <a:t>#1 </a:t>
            </a:r>
            <a:endParaRPr kumimoji="0" lang="en-US" sz="1200" b="1" i="0" u="none" strike="noStrike" kern="1200" cap="none" spc="0" normalizeH="0" baseline="0" noProof="0">
              <a:ln>
                <a:noFill/>
              </a:ln>
              <a:solidFill>
                <a:schemeClr val="bg1"/>
              </a:solidFill>
              <a:effectLst/>
              <a:uLnTx/>
              <a:uFillTx/>
              <a:ea typeface="+mn-ea"/>
              <a:cs typeface="+mn-cs"/>
            </a:endParaRPr>
          </a:p>
        </p:txBody>
      </p:sp>
      <p:cxnSp>
        <p:nvCxnSpPr>
          <p:cNvPr id="92" name="Straight Connector 91">
            <a:extLst>
              <a:ext uri="{FF2B5EF4-FFF2-40B4-BE49-F238E27FC236}">
                <a16:creationId xmlns:a16="http://schemas.microsoft.com/office/drawing/2014/main" id="{C4DC3B17-1E34-4FA9-902A-C3E37F6DCBA7}"/>
              </a:ext>
            </a:extLst>
          </p:cNvPr>
          <p:cNvCxnSpPr>
            <a:cxnSpLocks/>
          </p:cNvCxnSpPr>
          <p:nvPr/>
        </p:nvCxnSpPr>
        <p:spPr>
          <a:xfrm>
            <a:off x="820153" y="2434008"/>
            <a:ext cx="5074803"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8D8B1898-6B9D-460A-BBB2-10D35850AF3D}"/>
              </a:ext>
            </a:extLst>
          </p:cNvPr>
          <p:cNvSpPr/>
          <p:nvPr/>
        </p:nvSpPr>
        <p:spPr>
          <a:xfrm>
            <a:off x="4197198" y="2479490"/>
            <a:ext cx="1697762" cy="223089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64CE4939-72D2-4B94-AE67-A94C1BE290E1}"/>
              </a:ext>
            </a:extLst>
          </p:cNvPr>
          <p:cNvSpPr/>
          <p:nvPr/>
        </p:nvSpPr>
        <p:spPr>
          <a:xfrm>
            <a:off x="820152" y="2470636"/>
            <a:ext cx="3263588" cy="2239752"/>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E92C4C9D-3C27-4D4E-97C8-C90A6F6DFEF4}"/>
              </a:ext>
            </a:extLst>
          </p:cNvPr>
          <p:cNvSpPr/>
          <p:nvPr/>
        </p:nvSpPr>
        <p:spPr>
          <a:xfrm>
            <a:off x="820154" y="2479491"/>
            <a:ext cx="3263590"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escription</a:t>
            </a:r>
          </a:p>
        </p:txBody>
      </p:sp>
      <p:sp>
        <p:nvSpPr>
          <p:cNvPr id="98" name="Rectangle 97">
            <a:extLst>
              <a:ext uri="{FF2B5EF4-FFF2-40B4-BE49-F238E27FC236}">
                <a16:creationId xmlns:a16="http://schemas.microsoft.com/office/drawing/2014/main" id="{2882AAFC-9265-43B7-9E41-3EED69E5839E}"/>
              </a:ext>
            </a:extLst>
          </p:cNvPr>
          <p:cNvSpPr/>
          <p:nvPr/>
        </p:nvSpPr>
        <p:spPr>
          <a:xfrm>
            <a:off x="820155" y="4805380"/>
            <a:ext cx="5074805"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irectly linked strategic data objective</a:t>
            </a:r>
          </a:p>
        </p:txBody>
      </p:sp>
      <p:sp>
        <p:nvSpPr>
          <p:cNvPr id="99" name="TextBox 98">
            <a:extLst>
              <a:ext uri="{FF2B5EF4-FFF2-40B4-BE49-F238E27FC236}">
                <a16:creationId xmlns:a16="http://schemas.microsoft.com/office/drawing/2014/main" id="{93B5AA5B-8A22-48CE-9D93-ABDCE3F0ED57}"/>
              </a:ext>
            </a:extLst>
          </p:cNvPr>
          <p:cNvSpPr txBox="1"/>
          <p:nvPr/>
        </p:nvSpPr>
        <p:spPr>
          <a:xfrm>
            <a:off x="820155" y="2721383"/>
            <a:ext cx="3263589" cy="1869743"/>
          </a:xfrm>
          <a:prstGeom prst="rect">
            <a:avLst/>
          </a:prstGeom>
          <a:noFill/>
          <a:ln>
            <a:noFill/>
          </a:ln>
        </p:spPr>
        <p:txBody>
          <a:bodyPr wrap="square" lIns="0" rIns="0" rtlCol="0" anchor="t" anchorCtr="0">
            <a:spAutoFit/>
          </a:bodyPr>
          <a:lstStyle>
            <a:defPPr>
              <a:defRPr lang="nl-NL"/>
            </a:defPPr>
            <a:lvl1pPr marL="285750" indent="-285750">
              <a:buFont typeface="Arial" panose="020B0604020202020204" pitchFamily="34" charset="0"/>
              <a:buChar char="•"/>
              <a:defRPr sz="1200"/>
            </a:lvl1pPr>
          </a:lstStyle>
          <a:p>
            <a:pPr marL="85725" indent="0">
              <a:buNone/>
            </a:pPr>
            <a:r>
              <a:rPr lang="en-US" sz="1050"/>
              <a:t>AAM understands that </a:t>
            </a:r>
            <a:r>
              <a:rPr lang="en-US" sz="1050" b="1"/>
              <a:t>data is critical and playing a key role to deliver its strategic business objectives</a:t>
            </a:r>
            <a:r>
              <a:rPr lang="en-US" sz="1050"/>
              <a:t> by striving for data-driven decision-making </a:t>
            </a:r>
            <a:r>
              <a:rPr lang="en-US" sz="1050" b="1"/>
              <a:t>throughout the whole organization </a:t>
            </a:r>
            <a:r>
              <a:rPr lang="en-US" sz="1050"/>
              <a:t>not only for better investment management but also for </a:t>
            </a:r>
            <a:r>
              <a:rPr lang="en-US" sz="1050" b="1"/>
              <a:t>improved operational efficiency across the full value chain</a:t>
            </a:r>
            <a:r>
              <a:rPr lang="en-US" sz="1050"/>
              <a:t>. Investing in organizational and technical enablers will help us to </a:t>
            </a:r>
            <a:r>
              <a:rPr lang="en-US" sz="1050" b="1"/>
              <a:t>optimize our distribution and service models</a:t>
            </a:r>
            <a:r>
              <a:rPr lang="en-US" sz="1050"/>
              <a:t>, generate actionable client insights, enhance performance monitoring and </a:t>
            </a:r>
            <a:r>
              <a:rPr lang="en-US" sz="1050" b="1"/>
              <a:t>set tangible global KPIs and metrics</a:t>
            </a:r>
            <a:r>
              <a:rPr lang="en-US" sz="1050"/>
              <a:t>, </a:t>
            </a:r>
            <a:r>
              <a:rPr lang="en-US" sz="1050" b="1"/>
              <a:t>automating manual processes </a:t>
            </a:r>
            <a:r>
              <a:rPr lang="en-US" sz="1050"/>
              <a:t>and also to drive high-quality risk management. </a:t>
            </a:r>
          </a:p>
        </p:txBody>
      </p:sp>
      <p:sp>
        <p:nvSpPr>
          <p:cNvPr id="100" name="Rectangle 99">
            <a:extLst>
              <a:ext uri="{FF2B5EF4-FFF2-40B4-BE49-F238E27FC236}">
                <a16:creationId xmlns:a16="http://schemas.microsoft.com/office/drawing/2014/main" id="{0B76A25D-028E-4ED9-81E4-5CC566428AB3}"/>
              </a:ext>
            </a:extLst>
          </p:cNvPr>
          <p:cNvSpPr/>
          <p:nvPr/>
        </p:nvSpPr>
        <p:spPr>
          <a:xfrm>
            <a:off x="4197198" y="2485699"/>
            <a:ext cx="1697762" cy="242224"/>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Focus Areas</a:t>
            </a:r>
          </a:p>
        </p:txBody>
      </p:sp>
      <p:sp>
        <p:nvSpPr>
          <p:cNvPr id="101" name="TextBox 100">
            <a:extLst>
              <a:ext uri="{FF2B5EF4-FFF2-40B4-BE49-F238E27FC236}">
                <a16:creationId xmlns:a16="http://schemas.microsoft.com/office/drawing/2014/main" id="{753E0F7A-54E0-45DB-BF2D-D87813B6753F}"/>
              </a:ext>
            </a:extLst>
          </p:cNvPr>
          <p:cNvSpPr txBox="1"/>
          <p:nvPr/>
        </p:nvSpPr>
        <p:spPr>
          <a:xfrm>
            <a:off x="4197197" y="2687221"/>
            <a:ext cx="1697763" cy="1277273"/>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r>
              <a:rPr lang="en-US"/>
              <a:t>Global KPIs and metrics</a:t>
            </a:r>
          </a:p>
          <a:p>
            <a:r>
              <a:rPr lang="en-US"/>
              <a:t>Global (reporting) processes in the middle and back office</a:t>
            </a:r>
          </a:p>
          <a:p>
            <a:r>
              <a:rPr lang="en-US"/>
              <a:t>Automated data ingestion</a:t>
            </a:r>
          </a:p>
          <a:p>
            <a:endParaRPr lang="en-US"/>
          </a:p>
        </p:txBody>
      </p:sp>
      <p:pic>
        <p:nvPicPr>
          <p:cNvPr id="103" name="Graphic 102" descr="Teacher">
            <a:extLst>
              <a:ext uri="{FF2B5EF4-FFF2-40B4-BE49-F238E27FC236}">
                <a16:creationId xmlns:a16="http://schemas.microsoft.com/office/drawing/2014/main" id="{88297A5D-3CC3-468E-8F94-905AD85F2D9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5148" y="2463057"/>
            <a:ext cx="278249" cy="283305"/>
          </a:xfrm>
          <a:prstGeom prst="rect">
            <a:avLst/>
          </a:prstGeom>
        </p:spPr>
      </p:pic>
      <p:pic>
        <p:nvPicPr>
          <p:cNvPr id="104" name="Graphic 103" descr="Puzzle pieces">
            <a:extLst>
              <a:ext uri="{FF2B5EF4-FFF2-40B4-BE49-F238E27FC236}">
                <a16:creationId xmlns:a16="http://schemas.microsoft.com/office/drawing/2014/main" id="{84F70B90-49D7-41FE-B73D-BFDC56FD62B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5148" y="4830578"/>
            <a:ext cx="235691" cy="208062"/>
          </a:xfrm>
          <a:prstGeom prst="rect">
            <a:avLst/>
          </a:prstGeom>
        </p:spPr>
      </p:pic>
      <p:pic>
        <p:nvPicPr>
          <p:cNvPr id="105" name="Graphic 104" descr="Target outline">
            <a:extLst>
              <a:ext uri="{FF2B5EF4-FFF2-40B4-BE49-F238E27FC236}">
                <a16:creationId xmlns:a16="http://schemas.microsoft.com/office/drawing/2014/main" id="{C134B824-625A-43FE-B7A3-22BB9EB2E4DB}"/>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06233" y="2470636"/>
            <a:ext cx="271132" cy="276060"/>
          </a:xfrm>
          <a:prstGeom prst="rect">
            <a:avLst/>
          </a:prstGeom>
        </p:spPr>
      </p:pic>
      <p:sp>
        <p:nvSpPr>
          <p:cNvPr id="39" name="Rectangle 38">
            <a:extLst>
              <a:ext uri="{FF2B5EF4-FFF2-40B4-BE49-F238E27FC236}">
                <a16:creationId xmlns:a16="http://schemas.microsoft.com/office/drawing/2014/main" id="{2FD38E5E-0BDC-4E0D-B967-262A6996FF00}"/>
              </a:ext>
            </a:extLst>
          </p:cNvPr>
          <p:cNvSpPr/>
          <p:nvPr/>
        </p:nvSpPr>
        <p:spPr>
          <a:xfrm>
            <a:off x="6332042" y="4944725"/>
            <a:ext cx="5074805" cy="115043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C0EC1100-471F-4B8D-B5E9-00B37A005BAE}"/>
              </a:ext>
            </a:extLst>
          </p:cNvPr>
          <p:cNvSpPr txBox="1"/>
          <p:nvPr/>
        </p:nvSpPr>
        <p:spPr>
          <a:xfrm>
            <a:off x="6332043" y="5050501"/>
            <a:ext cx="5074805"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indent="0">
              <a:buNone/>
            </a:pPr>
            <a:r>
              <a:rPr lang="en-US" sz="1100" spc="20">
                <a:latin typeface="Calibri Light" panose="020F0302020204030204"/>
                <a:ea typeface="Times New Roman" panose="02020603050405020304" pitchFamily="18" charset="0"/>
                <a:cs typeface="Times New Roman" panose="02020603050405020304" pitchFamily="18" charset="0"/>
              </a:rPr>
              <a:t>#2: Integration of data requirements in one enterprise data model across current and future demands </a:t>
            </a:r>
            <a:r>
              <a:rPr lang="en-US" sz="1100" spc="20">
                <a:ea typeface="Times New Roman" panose="02020603050405020304" pitchFamily="18" charset="0"/>
                <a:cs typeface="Times New Roman" panose="02020603050405020304" pitchFamily="18" charset="0"/>
              </a:rPr>
              <a:t>to better serve our clients</a:t>
            </a:r>
            <a:endParaRPr lang="en-US"/>
          </a:p>
        </p:txBody>
      </p:sp>
      <p:sp>
        <p:nvSpPr>
          <p:cNvPr id="41" name="Rectangle 40">
            <a:extLst>
              <a:ext uri="{FF2B5EF4-FFF2-40B4-BE49-F238E27FC236}">
                <a16:creationId xmlns:a16="http://schemas.microsoft.com/office/drawing/2014/main" id="{A066D056-4613-4D4D-A03F-231489EF9B67}"/>
              </a:ext>
            </a:extLst>
          </p:cNvPr>
          <p:cNvSpPr/>
          <p:nvPr/>
        </p:nvSpPr>
        <p:spPr>
          <a:xfrm>
            <a:off x="6367039" y="1248354"/>
            <a:ext cx="5039808" cy="846656"/>
          </a:xfrm>
          <a:prstGeom prst="rect">
            <a:avLst/>
          </a:prstGeom>
          <a:noFill/>
          <a:ln w="25400" cap="flat" cmpd="sng" algn="ctr">
            <a:noFill/>
            <a:prstDash val="solid"/>
          </a:ln>
          <a:effectLst/>
        </p:spPr>
        <p:txBody>
          <a:bodyPr numCol="1" rtlCol="0" anchor="t"/>
          <a:lstStyle/>
          <a:p>
            <a:pPr defTabSz="913943">
              <a:buClr>
                <a:srgbClr val="001F5B"/>
              </a:buClr>
              <a:buSzPct val="100000"/>
            </a:pPr>
            <a:r>
              <a:rPr kumimoji="0" lang="en-US" sz="11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We are a </a:t>
            </a:r>
            <a:r>
              <a:rPr kumimoji="0" lang="en-US" sz="1100" b="1"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data enterprise </a:t>
            </a:r>
            <a:r>
              <a:rPr kumimoji="0" lang="en-US" sz="11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with </a:t>
            </a:r>
            <a:r>
              <a:rPr kumimoji="0" lang="en-US" sz="1100" b="1"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one global, integrated data model </a:t>
            </a:r>
            <a:r>
              <a:rPr kumimoji="0" lang="en-US" sz="11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providing a unified information view </a:t>
            </a:r>
            <a:r>
              <a:rPr kumimoji="0" lang="en-US" sz="1100" b="1"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to better serve our clients </a:t>
            </a:r>
            <a:r>
              <a:rPr kumimoji="0" lang="en-US" sz="1100" b="0" i="0" u="none" strike="noStrike" kern="1200" cap="none" spc="20" normalizeH="0" baseline="0" noProof="0">
                <a:ln>
                  <a:noFill/>
                </a:ln>
                <a:solidFill>
                  <a:srgbClr val="000000"/>
                </a:solidFill>
                <a:effectLst/>
                <a:uLnTx/>
                <a:uFillTx/>
                <a:latin typeface="Calibri Light" panose="020F0302020204030204"/>
                <a:ea typeface="Times New Roman" panose="02020603050405020304" pitchFamily="18" charset="0"/>
                <a:cs typeface="Times New Roman" panose="02020603050405020304" pitchFamily="18" charset="0"/>
              </a:rPr>
              <a:t>in everything we do</a:t>
            </a:r>
          </a:p>
          <a:p>
            <a:pPr marL="361950" marR="0" lvl="1" indent="-271463"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r>
              <a:rPr kumimoji="0" lang="en-US" sz="11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Clearly defined data domains</a:t>
            </a:r>
          </a:p>
          <a:p>
            <a:pPr marL="361950" marR="0" lvl="1" indent="-271463"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r>
              <a:rPr kumimoji="0" lang="en-US" sz="11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Common data definitions</a:t>
            </a:r>
          </a:p>
          <a:p>
            <a:pPr marL="361950" marR="0" lvl="1" indent="-271463" algn="l" defTabSz="913943" rtl="0" eaLnBrk="1" fontAlgn="auto" latinLnBrk="0" hangingPunct="1">
              <a:lnSpc>
                <a:spcPct val="100000"/>
              </a:lnSpc>
              <a:spcBef>
                <a:spcPts val="0"/>
              </a:spcBef>
              <a:spcAft>
                <a:spcPts val="0"/>
              </a:spcAft>
              <a:buClr>
                <a:srgbClr val="001F5B"/>
              </a:buClr>
              <a:buSzPct val="100000"/>
              <a:buFont typeface="+mj-lt"/>
              <a:buAutoNum type="alphaUcPeriod"/>
              <a:tabLst/>
              <a:defRPr/>
            </a:pPr>
            <a:r>
              <a:rPr kumimoji="0" lang="en-US" sz="11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We strive to keep data on visible </a:t>
            </a:r>
            <a:r>
              <a:rPr kumimoji="0" lang="en-US" sz="1100" b="1"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core platforms </a:t>
            </a:r>
            <a:r>
              <a:rPr kumimoji="0" lang="en-US" sz="1100" b="0" i="0" u="none" strike="noStrike" kern="1200" cap="none" spc="20" normalizeH="0" baseline="0" noProof="0">
                <a:ln>
                  <a:noFill/>
                </a:ln>
                <a:solidFill>
                  <a:srgbClr val="000000"/>
                </a:solidFill>
                <a:effectLst/>
                <a:uLnTx/>
                <a:uFillTx/>
                <a:latin typeface="Calibri Light" panose="020F0302020204030204"/>
                <a:ea typeface="+mn-ea"/>
                <a:cs typeface="Times New Roman" panose="02020603050405020304" pitchFamily="18" charset="0"/>
              </a:rPr>
              <a:t>and avoid EUC/shadow IT as much as possible</a:t>
            </a:r>
          </a:p>
        </p:txBody>
      </p:sp>
      <p:sp>
        <p:nvSpPr>
          <p:cNvPr id="42" name="Flowchart: Manual Input 41">
            <a:extLst>
              <a:ext uri="{FF2B5EF4-FFF2-40B4-BE49-F238E27FC236}">
                <a16:creationId xmlns:a16="http://schemas.microsoft.com/office/drawing/2014/main" id="{C3BA9A6E-A9A5-456D-99D1-4A1B96126711}"/>
              </a:ext>
            </a:extLst>
          </p:cNvPr>
          <p:cNvSpPr/>
          <p:nvPr/>
        </p:nvSpPr>
        <p:spPr>
          <a:xfrm>
            <a:off x="6332042" y="1030652"/>
            <a:ext cx="5039808" cy="241892"/>
          </a:xfrm>
          <a:prstGeom prst="flowChartManualInput">
            <a:avLst/>
          </a:prstGeom>
          <a:solidFill>
            <a:schemeClr val="accent5"/>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defTabSz="912924" rtl="0" eaLnBrk="1" fontAlgn="auto" latinLnBrk="0" hangingPunct="1">
              <a:lnSpc>
                <a:spcPct val="100000"/>
              </a:lnSpc>
              <a:spcBef>
                <a:spcPts val="0"/>
              </a:spcBef>
              <a:spcAft>
                <a:spcPts val="0"/>
              </a:spcAft>
              <a:buClrTx/>
              <a:buSzTx/>
              <a:buFontTx/>
              <a:buNone/>
              <a:tabLst/>
              <a:defRPr/>
            </a:pPr>
            <a:r>
              <a:rPr lang="en-US" sz="1200" b="1">
                <a:solidFill>
                  <a:schemeClr val="bg1"/>
                </a:solidFill>
              </a:rPr>
              <a:t>#2 </a:t>
            </a:r>
            <a:endParaRPr kumimoji="0" lang="en-US" sz="1200" b="1" i="0" u="none" strike="noStrike" kern="1200" cap="none" spc="0" normalizeH="0" baseline="0" noProof="0">
              <a:ln>
                <a:noFill/>
              </a:ln>
              <a:solidFill>
                <a:schemeClr val="bg1"/>
              </a:solidFill>
              <a:effectLst/>
              <a:uLnTx/>
              <a:uFillTx/>
              <a:ea typeface="+mn-ea"/>
              <a:cs typeface="+mn-cs"/>
            </a:endParaRPr>
          </a:p>
        </p:txBody>
      </p:sp>
      <p:cxnSp>
        <p:nvCxnSpPr>
          <p:cNvPr id="43" name="Straight Connector 42">
            <a:extLst>
              <a:ext uri="{FF2B5EF4-FFF2-40B4-BE49-F238E27FC236}">
                <a16:creationId xmlns:a16="http://schemas.microsoft.com/office/drawing/2014/main" id="{4E562028-BB45-424D-A78C-5E1137F396AC}"/>
              </a:ext>
            </a:extLst>
          </p:cNvPr>
          <p:cNvCxnSpPr>
            <a:cxnSpLocks/>
          </p:cNvCxnSpPr>
          <p:nvPr/>
        </p:nvCxnSpPr>
        <p:spPr>
          <a:xfrm>
            <a:off x="6332043" y="2434008"/>
            <a:ext cx="5074803"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4A920FA4-91CF-4EFD-AC79-704370D8D6A1}"/>
              </a:ext>
            </a:extLst>
          </p:cNvPr>
          <p:cNvSpPr/>
          <p:nvPr/>
        </p:nvSpPr>
        <p:spPr>
          <a:xfrm>
            <a:off x="9709088" y="2479490"/>
            <a:ext cx="1697762" cy="223089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7424347A-CD36-4E91-8F61-30684D5511AC}"/>
              </a:ext>
            </a:extLst>
          </p:cNvPr>
          <p:cNvSpPr/>
          <p:nvPr/>
        </p:nvSpPr>
        <p:spPr>
          <a:xfrm>
            <a:off x="6332042" y="2470636"/>
            <a:ext cx="3263588" cy="2239752"/>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ED1163D9-28E2-488D-9E34-B815E6595D24}"/>
              </a:ext>
            </a:extLst>
          </p:cNvPr>
          <p:cNvSpPr/>
          <p:nvPr/>
        </p:nvSpPr>
        <p:spPr>
          <a:xfrm>
            <a:off x="6332044" y="2479491"/>
            <a:ext cx="3263590"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escription</a:t>
            </a:r>
          </a:p>
        </p:txBody>
      </p:sp>
      <p:sp>
        <p:nvSpPr>
          <p:cNvPr id="47" name="Rectangle 46">
            <a:extLst>
              <a:ext uri="{FF2B5EF4-FFF2-40B4-BE49-F238E27FC236}">
                <a16:creationId xmlns:a16="http://schemas.microsoft.com/office/drawing/2014/main" id="{093B08E9-9C07-4C81-BBD8-CF50E6F5007F}"/>
              </a:ext>
            </a:extLst>
          </p:cNvPr>
          <p:cNvSpPr/>
          <p:nvPr/>
        </p:nvSpPr>
        <p:spPr>
          <a:xfrm>
            <a:off x="6332045" y="4805380"/>
            <a:ext cx="5074805"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irectly linked strategic data objective</a:t>
            </a:r>
          </a:p>
        </p:txBody>
      </p:sp>
      <p:sp>
        <p:nvSpPr>
          <p:cNvPr id="48" name="TextBox 47">
            <a:extLst>
              <a:ext uri="{FF2B5EF4-FFF2-40B4-BE49-F238E27FC236}">
                <a16:creationId xmlns:a16="http://schemas.microsoft.com/office/drawing/2014/main" id="{0EE178F4-252B-4BAE-BA58-1625EAEF6BB6}"/>
              </a:ext>
            </a:extLst>
          </p:cNvPr>
          <p:cNvSpPr txBox="1"/>
          <p:nvPr/>
        </p:nvSpPr>
        <p:spPr>
          <a:xfrm>
            <a:off x="6332045" y="2721383"/>
            <a:ext cx="3263589" cy="1061829"/>
          </a:xfrm>
          <a:prstGeom prst="rect">
            <a:avLst/>
          </a:prstGeom>
          <a:noFill/>
          <a:ln>
            <a:noFill/>
          </a:ln>
        </p:spPr>
        <p:txBody>
          <a:bodyPr wrap="square" lIns="0" rIns="0" rtlCol="0" anchor="t" anchorCtr="0">
            <a:spAutoFit/>
          </a:bodyPr>
          <a:lstStyle>
            <a:defPPr>
              <a:defRPr lang="nl-NL"/>
            </a:defPPr>
            <a:lvl1pPr marL="285750" indent="-285750">
              <a:buFont typeface="Arial" panose="020B0604020202020204" pitchFamily="34" charset="0"/>
              <a:buChar char="•"/>
              <a:defRPr sz="1200"/>
            </a:lvl1pPr>
          </a:lstStyle>
          <a:p>
            <a:pPr marL="85725" indent="0">
              <a:buNone/>
            </a:pPr>
            <a:r>
              <a:rPr lang="en-US" sz="1050"/>
              <a:t>We strive for building </a:t>
            </a:r>
            <a:r>
              <a:rPr lang="en-US" sz="1050" b="1"/>
              <a:t>a global data model with global business requirements</a:t>
            </a:r>
            <a:r>
              <a:rPr lang="en-US" sz="1050"/>
              <a:t> collected and communalized for each business unit within </a:t>
            </a:r>
            <a:r>
              <a:rPr lang="en-US" sz="1050" b="1"/>
              <a:t>clearly defined data domains and with the common definitions</a:t>
            </a:r>
            <a:r>
              <a:rPr lang="en-US" sz="1050"/>
              <a:t>. AAM is aiming to store the data on core platforms, provide access to enterprise applications </a:t>
            </a:r>
            <a:r>
              <a:rPr lang="en-US" sz="1050" b="1"/>
              <a:t>defined under the enterprise architecture</a:t>
            </a:r>
            <a:r>
              <a:rPr lang="en-US" sz="1050"/>
              <a:t>. </a:t>
            </a:r>
          </a:p>
        </p:txBody>
      </p:sp>
      <p:sp>
        <p:nvSpPr>
          <p:cNvPr id="49" name="Rectangle 48">
            <a:extLst>
              <a:ext uri="{FF2B5EF4-FFF2-40B4-BE49-F238E27FC236}">
                <a16:creationId xmlns:a16="http://schemas.microsoft.com/office/drawing/2014/main" id="{968087E7-3415-4EAF-A1A2-28B7B3EA46F0}"/>
              </a:ext>
            </a:extLst>
          </p:cNvPr>
          <p:cNvSpPr/>
          <p:nvPr/>
        </p:nvSpPr>
        <p:spPr>
          <a:xfrm>
            <a:off x="9709088" y="2485699"/>
            <a:ext cx="1697762" cy="242224"/>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Focus Areas</a:t>
            </a:r>
          </a:p>
        </p:txBody>
      </p:sp>
      <p:sp>
        <p:nvSpPr>
          <p:cNvPr id="50" name="TextBox 49">
            <a:extLst>
              <a:ext uri="{FF2B5EF4-FFF2-40B4-BE49-F238E27FC236}">
                <a16:creationId xmlns:a16="http://schemas.microsoft.com/office/drawing/2014/main" id="{932065F2-F695-4415-8466-DB723981BB3C}"/>
              </a:ext>
            </a:extLst>
          </p:cNvPr>
          <p:cNvSpPr txBox="1"/>
          <p:nvPr/>
        </p:nvSpPr>
        <p:spPr>
          <a:xfrm>
            <a:off x="9709087" y="2687221"/>
            <a:ext cx="1697763" cy="600164"/>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r>
              <a:rPr lang="en-US"/>
              <a:t>Enterprise architecture</a:t>
            </a:r>
          </a:p>
          <a:p>
            <a:r>
              <a:rPr lang="en-US"/>
              <a:t>Data architecture and source per data domain</a:t>
            </a:r>
          </a:p>
        </p:txBody>
      </p:sp>
      <p:pic>
        <p:nvPicPr>
          <p:cNvPr id="51" name="Graphic 50" descr="Teacher">
            <a:extLst>
              <a:ext uri="{FF2B5EF4-FFF2-40B4-BE49-F238E27FC236}">
                <a16:creationId xmlns:a16="http://schemas.microsoft.com/office/drawing/2014/main" id="{76B22EE2-3A0F-4F11-AFD5-650498A7A01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367038" y="2463057"/>
            <a:ext cx="278249" cy="283305"/>
          </a:xfrm>
          <a:prstGeom prst="rect">
            <a:avLst/>
          </a:prstGeom>
        </p:spPr>
      </p:pic>
      <p:pic>
        <p:nvPicPr>
          <p:cNvPr id="52" name="Graphic 51" descr="Puzzle pieces">
            <a:extLst>
              <a:ext uri="{FF2B5EF4-FFF2-40B4-BE49-F238E27FC236}">
                <a16:creationId xmlns:a16="http://schemas.microsoft.com/office/drawing/2014/main" id="{68C99E56-2893-4CF2-9067-34712B85F19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67038" y="4830578"/>
            <a:ext cx="235691" cy="208062"/>
          </a:xfrm>
          <a:prstGeom prst="rect">
            <a:avLst/>
          </a:prstGeom>
        </p:spPr>
      </p:pic>
      <p:pic>
        <p:nvPicPr>
          <p:cNvPr id="53" name="Graphic 52" descr="Target outline">
            <a:extLst>
              <a:ext uri="{FF2B5EF4-FFF2-40B4-BE49-F238E27FC236}">
                <a16:creationId xmlns:a16="http://schemas.microsoft.com/office/drawing/2014/main" id="{EBA51F03-D1B7-4D4C-8A5D-8867A3BF853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18123" y="2470636"/>
            <a:ext cx="271132" cy="276060"/>
          </a:xfrm>
          <a:prstGeom prst="rect">
            <a:avLst/>
          </a:prstGeom>
        </p:spPr>
      </p:pic>
      <p:pic>
        <p:nvPicPr>
          <p:cNvPr id="55" name="Graphic 54" descr="Home with solid fill">
            <a:extLst>
              <a:ext uri="{FF2B5EF4-FFF2-40B4-BE49-F238E27FC236}">
                <a16:creationId xmlns:a16="http://schemas.microsoft.com/office/drawing/2014/main" id="{28CCA739-884D-4C93-92F7-A89ED5E045DC}"/>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76814" y="995607"/>
            <a:ext cx="283145" cy="283145"/>
          </a:xfrm>
          <a:prstGeom prst="rect">
            <a:avLst/>
          </a:prstGeom>
        </p:spPr>
      </p:pic>
      <p:pic>
        <p:nvPicPr>
          <p:cNvPr id="56" name="Graphic 55" descr="Home with solid fill">
            <a:extLst>
              <a:ext uri="{FF2B5EF4-FFF2-40B4-BE49-F238E27FC236}">
                <a16:creationId xmlns:a16="http://schemas.microsoft.com/office/drawing/2014/main" id="{56FC29D2-818E-4916-8C88-924FC0E16C8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096502" y="999850"/>
            <a:ext cx="283145" cy="283145"/>
          </a:xfrm>
          <a:prstGeom prst="rect">
            <a:avLst/>
          </a:prstGeom>
        </p:spPr>
      </p:pic>
      <p:pic>
        <p:nvPicPr>
          <p:cNvPr id="57" name="Picture 56">
            <a:extLst>
              <a:ext uri="{FF2B5EF4-FFF2-40B4-BE49-F238E27FC236}">
                <a16:creationId xmlns:a16="http://schemas.microsoft.com/office/drawing/2014/main" id="{38FE3BDD-927B-4835-A88A-841D100B8443}"/>
              </a:ext>
            </a:extLst>
          </p:cNvPr>
          <p:cNvPicPr>
            <a:picLocks noChangeAspect="1"/>
          </p:cNvPicPr>
          <p:nvPr/>
        </p:nvPicPr>
        <p:blipFill>
          <a:blip r:embed="rId10"/>
          <a:stretch>
            <a:fillRect/>
          </a:stretch>
        </p:blipFill>
        <p:spPr>
          <a:xfrm>
            <a:off x="10853731" y="68995"/>
            <a:ext cx="1183414" cy="552971"/>
          </a:xfrm>
          <a:prstGeom prst="rect">
            <a:avLst/>
          </a:prstGeom>
        </p:spPr>
      </p:pic>
      <p:sp>
        <p:nvSpPr>
          <p:cNvPr id="74" name="Rectangle 73">
            <a:extLst>
              <a:ext uri="{FF2B5EF4-FFF2-40B4-BE49-F238E27FC236}">
                <a16:creationId xmlns:a16="http://schemas.microsoft.com/office/drawing/2014/main" id="{F1B05B7B-2AC2-4C6C-8D20-D1FD51134AB4}"/>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75" name="Graphic 74" descr="Map compass with solid fill">
            <a:extLst>
              <a:ext uri="{FF2B5EF4-FFF2-40B4-BE49-F238E27FC236}">
                <a16:creationId xmlns:a16="http://schemas.microsoft.com/office/drawing/2014/main" id="{BADB47CB-6F5D-4E80-B938-3BC87EA4F7E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299641" y="6240666"/>
            <a:ext cx="468000" cy="468000"/>
          </a:xfrm>
          <a:prstGeom prst="rect">
            <a:avLst/>
          </a:prstGeom>
        </p:spPr>
      </p:pic>
      <p:pic>
        <p:nvPicPr>
          <p:cNvPr id="76" name="Graphic 75" descr="Home with solid fill">
            <a:extLst>
              <a:ext uri="{FF2B5EF4-FFF2-40B4-BE49-F238E27FC236}">
                <a16:creationId xmlns:a16="http://schemas.microsoft.com/office/drawing/2014/main" id="{CE93AF2E-02AC-43A9-BCDC-EFF0F8220DD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0823" y="6240666"/>
            <a:ext cx="468000" cy="468000"/>
          </a:xfrm>
          <a:prstGeom prst="rect">
            <a:avLst/>
          </a:prstGeom>
        </p:spPr>
      </p:pic>
      <p:sp>
        <p:nvSpPr>
          <p:cNvPr id="77" name="TextBox 76">
            <a:extLst>
              <a:ext uri="{FF2B5EF4-FFF2-40B4-BE49-F238E27FC236}">
                <a16:creationId xmlns:a16="http://schemas.microsoft.com/office/drawing/2014/main" id="{921085E3-39E8-44D2-8828-BE9308439B27}"/>
              </a:ext>
            </a:extLst>
          </p:cNvPr>
          <p:cNvSpPr txBox="1"/>
          <p:nvPr/>
        </p:nvSpPr>
        <p:spPr>
          <a:xfrm>
            <a:off x="1241268" y="6259223"/>
            <a:ext cx="1828503"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Foundational data princip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8" name="TextBox 77">
            <a:extLst>
              <a:ext uri="{FF2B5EF4-FFF2-40B4-BE49-F238E27FC236}">
                <a16:creationId xmlns:a16="http://schemas.microsoft.com/office/drawing/2014/main" id="{195BC706-4EA4-4E7C-9961-9AFD3A2150F2}"/>
              </a:ext>
            </a:extLst>
          </p:cNvPr>
          <p:cNvSpPr txBox="1"/>
          <p:nvPr/>
        </p:nvSpPr>
        <p:spPr>
          <a:xfrm>
            <a:off x="3767641" y="6259223"/>
            <a:ext cx="1828503"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nalytics aspiration princip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9550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69F7420A-256C-4447-B673-CA3EA734CBFB}"/>
              </a:ext>
            </a:extLst>
          </p:cNvPr>
          <p:cNvSpPr txBox="1">
            <a:spLocks/>
          </p:cNvSpPr>
          <p:nvPr/>
        </p:nvSpPr>
        <p:spPr>
          <a:xfrm>
            <a:off x="611452" y="1057973"/>
            <a:ext cx="3770048"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nl-NL" sz="2800" b="1" i="0" u="none" strike="noStrike" kern="1200" cap="none" spc="0" normalizeH="0" baseline="0" noProof="0">
                <a:ln>
                  <a:noFill/>
                </a:ln>
                <a:solidFill>
                  <a:srgbClr val="0069B4"/>
                </a:solidFill>
                <a:effectLst/>
                <a:uLnTx/>
                <a:uFillTx/>
                <a:latin typeface="Calibri" panose="020F0502020204030204"/>
                <a:ea typeface="+mj-ea"/>
                <a:cs typeface="+mj-cs"/>
              </a:rPr>
              <a:t>Agenda</a:t>
            </a:r>
          </a:p>
        </p:txBody>
      </p:sp>
      <p:graphicFrame>
        <p:nvGraphicFramePr>
          <p:cNvPr id="3" name="Content Placeholder 20">
            <a:extLst>
              <a:ext uri="{FF2B5EF4-FFF2-40B4-BE49-F238E27FC236}">
                <a16:creationId xmlns:a16="http://schemas.microsoft.com/office/drawing/2014/main" id="{07E92BC9-8C8E-4831-8F09-880456229275}"/>
              </a:ext>
            </a:extLst>
          </p:cNvPr>
          <p:cNvGraphicFramePr>
            <a:graphicFrameLocks/>
          </p:cNvGraphicFramePr>
          <p:nvPr>
            <p:extLst>
              <p:ext uri="{D42A27DB-BD31-4B8C-83A1-F6EECF244321}">
                <p14:modId xmlns:p14="http://schemas.microsoft.com/office/powerpoint/2010/main" val="994010278"/>
              </p:ext>
            </p:extLst>
          </p:nvPr>
        </p:nvGraphicFramePr>
        <p:xfrm>
          <a:off x="611452" y="1753115"/>
          <a:ext cx="10181888" cy="4022124"/>
        </p:xfrm>
        <a:graphic>
          <a:graphicData uri="http://schemas.openxmlformats.org/drawingml/2006/table">
            <a:tbl>
              <a:tblPr firstRow="1" bandRow="1"/>
              <a:tblGrid>
                <a:gridCol w="491606">
                  <a:extLst>
                    <a:ext uri="{9D8B030D-6E8A-4147-A177-3AD203B41FA5}">
                      <a16:colId xmlns:a16="http://schemas.microsoft.com/office/drawing/2014/main" val="20000"/>
                    </a:ext>
                  </a:extLst>
                </a:gridCol>
                <a:gridCol w="115692">
                  <a:extLst>
                    <a:ext uri="{9D8B030D-6E8A-4147-A177-3AD203B41FA5}">
                      <a16:colId xmlns:a16="http://schemas.microsoft.com/office/drawing/2014/main" val="684958050"/>
                    </a:ext>
                  </a:extLst>
                </a:gridCol>
                <a:gridCol w="9574590">
                  <a:extLst>
                    <a:ext uri="{9D8B030D-6E8A-4147-A177-3AD203B41FA5}">
                      <a16:colId xmlns:a16="http://schemas.microsoft.com/office/drawing/2014/main" val="20001"/>
                    </a:ext>
                  </a:extLst>
                </a:gridCol>
              </a:tblGrid>
              <a:tr h="670354">
                <a:tc>
                  <a:txBody>
                    <a:bodyPr/>
                    <a:lstStyle/>
                    <a:p>
                      <a:pPr algn="l"/>
                      <a:r>
                        <a:rPr lang="en-GB" sz="1400" b="1">
                          <a:solidFill>
                            <a:schemeClr val="tx1"/>
                          </a:solidFill>
                          <a:latin typeface="EYInterstate Light" panose="02000506000000020004" pitchFamily="2" charset="0"/>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EYInterstate Light" panose="02000506000000020004" pitchFamily="2" charset="0"/>
                          <a:ea typeface="+mn-ea"/>
                          <a:cs typeface="+mn-cs"/>
                        </a:rPr>
                        <a:t>Project Plan &amp; Status Overview</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8515654"/>
                  </a:ext>
                </a:extLst>
              </a:tr>
              <a:tr h="670354">
                <a:tc>
                  <a:txBody>
                    <a:bodyPr/>
                    <a:lstStyle/>
                    <a:p>
                      <a:pPr algn="l"/>
                      <a:r>
                        <a:rPr lang="en-GB" sz="1400" b="1">
                          <a:solidFill>
                            <a:schemeClr val="tx1"/>
                          </a:solidFill>
                          <a:latin typeface="EYInterstate Light" panose="02000506000000020004" pitchFamily="2"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EYInterstate Light" panose="02000506000000020004" pitchFamily="2" charset="0"/>
                          <a:ea typeface="+mn-ea"/>
                          <a:cs typeface="+mn-cs"/>
                        </a:rPr>
                        <a:t>Summary of Draft Data Strategy</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5443706"/>
                  </a:ext>
                </a:extLst>
              </a:tr>
              <a:tr h="670354">
                <a:tc>
                  <a:txBody>
                    <a:bodyPr/>
                    <a:lstStyle/>
                    <a:p>
                      <a:pPr algn="l"/>
                      <a:r>
                        <a:rPr lang="en-GB" sz="1400" b="1">
                          <a:solidFill>
                            <a:schemeClr val="tx1"/>
                          </a:solidFill>
                          <a:latin typeface="EYInterstate Light" panose="02000506000000020004" pitchFamily="2" charset="0"/>
                        </a:rPr>
                        <a:t>3.</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EYInterstate Light" panose="02000506000000020004" pitchFamily="2" charset="0"/>
                          <a:ea typeface="+mn-ea"/>
                          <a:cs typeface="+mn-cs"/>
                        </a:rPr>
                        <a:t>Strategic Data Objectives</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1690626"/>
                  </a:ext>
                </a:extLst>
              </a:tr>
              <a:tr h="670354">
                <a:tc>
                  <a:txBody>
                    <a:bodyPr/>
                    <a:lstStyle/>
                    <a:p>
                      <a:pPr algn="l"/>
                      <a:r>
                        <a:rPr kumimoji="0" lang="en-GB" sz="1400" b="1" i="0" u="none" strike="noStrike" kern="1200" cap="none" spc="0" normalizeH="0" baseline="0">
                          <a:ln>
                            <a:noFill/>
                          </a:ln>
                          <a:solidFill>
                            <a:schemeClr val="tx1"/>
                          </a:solidFill>
                          <a:effectLst/>
                          <a:uLnTx/>
                          <a:uFillTx/>
                          <a:latin typeface="EYInterstate Light" panose="02000506000000020004" pitchFamily="2" charset="0"/>
                          <a:ea typeface="+mn-ea"/>
                          <a:cs typeface="+mn-cs"/>
                        </a:rPr>
                        <a:t>4.</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kumimoji="0" lang="en-GB" sz="1400" b="1" i="0" u="none" strike="noStrike" kern="1200" cap="none" spc="0" normalizeH="0" baseline="0">
                        <a:ln>
                          <a:noFill/>
                        </a:ln>
                        <a:solidFill>
                          <a:schemeClr val="tx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EYInterstate Light" panose="02000506000000020004" pitchFamily="2" charset="0"/>
                          <a:ea typeface="+mn-ea"/>
                          <a:cs typeface="+mn-cs"/>
                        </a:rPr>
                        <a:t>Data Design Principles</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9217416"/>
                  </a:ext>
                </a:extLst>
              </a:tr>
              <a:tr h="670354">
                <a:tc>
                  <a:txBody>
                    <a:bodyPr/>
                    <a:lstStyle/>
                    <a:p>
                      <a:pPr algn="l"/>
                      <a:r>
                        <a:rPr lang="en-GB" sz="1400" b="1">
                          <a:solidFill>
                            <a:schemeClr val="tx1"/>
                          </a:solidFill>
                          <a:latin typeface="EYInterstate Light" panose="02000506000000020004" pitchFamily="2"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mn-cs"/>
                        </a:rPr>
                        <a:t>Key Use Cases (</a:t>
                      </a:r>
                      <a:r>
                        <a:rPr kumimoji="0" lang="en-GB" sz="1400" b="1" i="0" u="none" strike="noStrike" kern="1200" cap="none" spc="0" normalizeH="0" baseline="0" noProof="0" dirty="0">
                          <a:ln>
                            <a:noFill/>
                          </a:ln>
                          <a:solidFill>
                            <a:schemeClr val="tx1"/>
                          </a:solidFill>
                          <a:effectLst/>
                          <a:highlight>
                            <a:srgbClr val="FFFF00"/>
                          </a:highlight>
                          <a:uLnTx/>
                          <a:uFillTx/>
                          <a:latin typeface="EYInterstate Light" panose="02000506000000020004" pitchFamily="2" charset="0"/>
                          <a:ea typeface="+mn-ea"/>
                          <a:cs typeface="+mn-cs"/>
                        </a:rPr>
                        <a:t>WIP</a:t>
                      </a:r>
                      <a:r>
                        <a:rPr kumimoji="0" lang="en-GB" sz="1400" b="1"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mn-cs"/>
                        </a:rPr>
                        <a:t>)</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6216336"/>
                  </a:ext>
                </a:extLst>
              </a:tr>
              <a:tr h="670354">
                <a:tc>
                  <a:txBody>
                    <a:bodyPr/>
                    <a:lstStyle/>
                    <a:p>
                      <a:pPr algn="l"/>
                      <a:r>
                        <a:rPr lang="en-GB" sz="1400" b="1">
                          <a:solidFill>
                            <a:schemeClr val="tx1"/>
                          </a:solidFill>
                          <a:latin typeface="EYInterstate Light" panose="02000506000000020004" pitchFamily="2"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400" b="1">
                        <a:solidFill>
                          <a:schemeClr val="tx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EYInterstate Light" panose="02000506000000020004" pitchFamily="2" charset="0"/>
                          <a:ea typeface="+mn-ea"/>
                          <a:cs typeface="+mn-cs"/>
                        </a:rPr>
                        <a:t>Next Steps</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5472342"/>
                  </a:ext>
                </a:extLst>
              </a:tr>
            </a:tbl>
          </a:graphicData>
        </a:graphic>
      </p:graphicFrame>
    </p:spTree>
    <p:extLst>
      <p:ext uri="{BB962C8B-B14F-4D97-AF65-F5344CB8AC3E}">
        <p14:creationId xmlns:p14="http://schemas.microsoft.com/office/powerpoint/2010/main" val="10475840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25005EA2-C404-4FE4-BFF9-9A9ABFCCFF3E}"/>
              </a:ext>
            </a:extLst>
          </p:cNvPr>
          <p:cNvSpPr/>
          <p:nvPr/>
        </p:nvSpPr>
        <p:spPr>
          <a:xfrm>
            <a:off x="820152" y="4944725"/>
            <a:ext cx="5074805" cy="115043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a:extLst>
              <a:ext uri="{FF2B5EF4-FFF2-40B4-BE49-F238E27FC236}">
                <a16:creationId xmlns:a16="http://schemas.microsoft.com/office/drawing/2014/main" id="{54E0F463-4FB6-4965-9E28-E860BF2C06A6}"/>
              </a:ext>
            </a:extLst>
          </p:cNvPr>
          <p:cNvSpPr txBox="1"/>
          <p:nvPr/>
        </p:nvSpPr>
        <p:spPr>
          <a:xfrm>
            <a:off x="820153" y="5050501"/>
            <a:ext cx="5074805"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indent="0">
              <a:buNone/>
            </a:pPr>
            <a:r>
              <a:rPr lang="en-US"/>
              <a:t>#1</a:t>
            </a:r>
            <a:r>
              <a:rPr kumimoji="0" lang="en-US" sz="1100" b="0" i="0" u="none" strike="noStrike" kern="1200" cap="none" spc="20" normalizeH="0" baseline="0" noProof="0">
                <a:ln>
                  <a:noFill/>
                </a:ln>
                <a:effectLst/>
                <a:uLnTx/>
                <a:uFillTx/>
                <a:latin typeface="Calibri Light" panose="020F0302020204030204"/>
                <a:ea typeface="Times New Roman" panose="02020603050405020304" pitchFamily="18" charset="0"/>
                <a:cs typeface="Times New Roman" panose="02020603050405020304" pitchFamily="18" charset="0"/>
              </a:rPr>
              <a:t> Improving Data Governance and integrating Data Management into our business for ensuring regulatory compliance and easy/timely access to data</a:t>
            </a:r>
            <a:endParaRPr lang="en-US"/>
          </a:p>
        </p:txBody>
      </p:sp>
      <p:sp>
        <p:nvSpPr>
          <p:cNvPr id="14" name="Title 5">
            <a:extLst>
              <a:ext uri="{FF2B5EF4-FFF2-40B4-BE49-F238E27FC236}">
                <a16:creationId xmlns:a16="http://schemas.microsoft.com/office/drawing/2014/main" id="{059C36B7-D23A-4334-93AA-C051BE2127AA}"/>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r>
              <a:rPr lang="en-US" sz="2400"/>
              <a:t>Data (Design) Principles (2/4)</a:t>
            </a:r>
          </a:p>
        </p:txBody>
      </p:sp>
      <p:sp>
        <p:nvSpPr>
          <p:cNvPr id="90" name="Rectangle 89">
            <a:extLst>
              <a:ext uri="{FF2B5EF4-FFF2-40B4-BE49-F238E27FC236}">
                <a16:creationId xmlns:a16="http://schemas.microsoft.com/office/drawing/2014/main" id="{EB693C99-639E-4B81-BAB2-25B66FD24BDE}"/>
              </a:ext>
            </a:extLst>
          </p:cNvPr>
          <p:cNvSpPr/>
          <p:nvPr/>
        </p:nvSpPr>
        <p:spPr>
          <a:xfrm>
            <a:off x="855149" y="1248354"/>
            <a:ext cx="5039808" cy="846656"/>
          </a:xfrm>
          <a:prstGeom prst="rect">
            <a:avLst/>
          </a:prstGeom>
          <a:noFill/>
          <a:ln w="25400" cap="flat" cmpd="sng" algn="ctr">
            <a:noFill/>
            <a:prstDash val="solid"/>
          </a:ln>
          <a:effectLst/>
        </p:spPr>
        <p:txBody>
          <a:bodyPr numCol="1" rtlCol="0" anchor="t"/>
          <a:lstStyle/>
          <a:p>
            <a:pPr defTabSz="913943">
              <a:buClr>
                <a:srgbClr val="001F5B"/>
              </a:buClr>
              <a:buSzPct val="100000"/>
            </a:pPr>
            <a:r>
              <a:rPr lang="en-US" sz="1100" spc="20">
                <a:solidFill>
                  <a:srgbClr val="000000"/>
                </a:solidFill>
                <a:latin typeface="Calibri Light" panose="020F0302020204030204"/>
                <a:cs typeface="Times New Roman" panose="02020603050405020304" pitchFamily="18" charset="0"/>
              </a:rPr>
              <a:t>Our </a:t>
            </a:r>
            <a:r>
              <a:rPr lang="en-US" sz="1100" b="1" spc="20">
                <a:solidFill>
                  <a:srgbClr val="000000"/>
                </a:solidFill>
                <a:latin typeface="Calibri Light" panose="020F0302020204030204"/>
                <a:cs typeface="Times New Roman" panose="02020603050405020304" pitchFamily="18" charset="0"/>
              </a:rPr>
              <a:t>global</a:t>
            </a:r>
            <a:r>
              <a:rPr lang="en-US" sz="1100" spc="20">
                <a:solidFill>
                  <a:srgbClr val="000000"/>
                </a:solidFill>
                <a:latin typeface="Calibri Light" panose="020F0302020204030204"/>
                <a:cs typeface="Times New Roman" panose="02020603050405020304" pitchFamily="18" charset="0"/>
              </a:rPr>
              <a:t> </a:t>
            </a:r>
            <a:r>
              <a:rPr lang="en-US" sz="1100" b="1" spc="20">
                <a:solidFill>
                  <a:srgbClr val="000000"/>
                </a:solidFill>
                <a:latin typeface="Calibri Light" panose="020F0302020204030204"/>
                <a:cs typeface="Times New Roman" panose="02020603050405020304" pitchFamily="18" charset="0"/>
              </a:rPr>
              <a:t>data management framework</a:t>
            </a:r>
            <a:r>
              <a:rPr lang="en-US" sz="1100" spc="20">
                <a:solidFill>
                  <a:srgbClr val="000000"/>
                </a:solidFill>
                <a:latin typeface="Calibri Light" panose="020F0302020204030204"/>
                <a:cs typeface="Times New Roman" panose="02020603050405020304" pitchFamily="18" charset="0"/>
              </a:rPr>
              <a:t> provides </a:t>
            </a:r>
            <a:r>
              <a:rPr lang="en-US" sz="1100" b="1" spc="20">
                <a:solidFill>
                  <a:srgbClr val="000000"/>
                </a:solidFill>
                <a:latin typeface="Calibri Light" panose="020F0302020204030204"/>
                <a:cs typeface="Times New Roman" panose="02020603050405020304" pitchFamily="18" charset="0"/>
              </a:rPr>
              <a:t>data quality, privacy and compliance by design </a:t>
            </a:r>
            <a:r>
              <a:rPr lang="en-US" sz="1100" spc="20">
                <a:solidFill>
                  <a:srgbClr val="000000"/>
                </a:solidFill>
                <a:latin typeface="Calibri Light" panose="020F0302020204030204"/>
                <a:cs typeface="Times New Roman" panose="02020603050405020304" pitchFamily="18" charset="0"/>
              </a:rPr>
              <a:t>and ensures data is always shared in a secured manner</a:t>
            </a:r>
          </a:p>
        </p:txBody>
      </p:sp>
      <p:sp>
        <p:nvSpPr>
          <p:cNvPr id="91" name="Flowchart: Manual Input 90">
            <a:extLst>
              <a:ext uri="{FF2B5EF4-FFF2-40B4-BE49-F238E27FC236}">
                <a16:creationId xmlns:a16="http://schemas.microsoft.com/office/drawing/2014/main" id="{421F5648-CB2A-4B47-A034-1082B1CD0FBB}"/>
              </a:ext>
            </a:extLst>
          </p:cNvPr>
          <p:cNvSpPr/>
          <p:nvPr/>
        </p:nvSpPr>
        <p:spPr>
          <a:xfrm>
            <a:off x="820152" y="1030652"/>
            <a:ext cx="5039808" cy="241892"/>
          </a:xfrm>
          <a:prstGeom prst="flowChartManualInput">
            <a:avLst/>
          </a:prstGeom>
          <a:solidFill>
            <a:schemeClr val="accent5"/>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defTabSz="912924" rtl="0" eaLnBrk="1" fontAlgn="auto" latinLnBrk="0" hangingPunct="1">
              <a:lnSpc>
                <a:spcPct val="100000"/>
              </a:lnSpc>
              <a:spcBef>
                <a:spcPts val="0"/>
              </a:spcBef>
              <a:spcAft>
                <a:spcPts val="0"/>
              </a:spcAft>
              <a:buClrTx/>
              <a:buSzTx/>
              <a:buFontTx/>
              <a:buNone/>
              <a:tabLst/>
              <a:defRPr/>
            </a:pPr>
            <a:r>
              <a:rPr lang="en-US" sz="1200" b="1">
                <a:solidFill>
                  <a:schemeClr val="bg1"/>
                </a:solidFill>
              </a:rPr>
              <a:t>#3 </a:t>
            </a:r>
            <a:endParaRPr kumimoji="0" lang="en-US" sz="1200" b="1" i="0" u="none" strike="noStrike" kern="1200" cap="none" spc="0" normalizeH="0" baseline="0" noProof="0">
              <a:ln>
                <a:noFill/>
              </a:ln>
              <a:solidFill>
                <a:schemeClr val="bg1"/>
              </a:solidFill>
              <a:effectLst/>
              <a:uLnTx/>
              <a:uFillTx/>
              <a:ea typeface="+mn-ea"/>
              <a:cs typeface="+mn-cs"/>
            </a:endParaRPr>
          </a:p>
        </p:txBody>
      </p:sp>
      <p:cxnSp>
        <p:nvCxnSpPr>
          <p:cNvPr id="92" name="Straight Connector 91">
            <a:extLst>
              <a:ext uri="{FF2B5EF4-FFF2-40B4-BE49-F238E27FC236}">
                <a16:creationId xmlns:a16="http://schemas.microsoft.com/office/drawing/2014/main" id="{C4DC3B17-1E34-4FA9-902A-C3E37F6DCBA7}"/>
              </a:ext>
            </a:extLst>
          </p:cNvPr>
          <p:cNvCxnSpPr>
            <a:cxnSpLocks/>
          </p:cNvCxnSpPr>
          <p:nvPr/>
        </p:nvCxnSpPr>
        <p:spPr>
          <a:xfrm>
            <a:off x="820153" y="2434008"/>
            <a:ext cx="5074803"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8D8B1898-6B9D-460A-BBB2-10D35850AF3D}"/>
              </a:ext>
            </a:extLst>
          </p:cNvPr>
          <p:cNvSpPr/>
          <p:nvPr/>
        </p:nvSpPr>
        <p:spPr>
          <a:xfrm>
            <a:off x="4197198" y="2479490"/>
            <a:ext cx="1697762" cy="223089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64CE4939-72D2-4B94-AE67-A94C1BE290E1}"/>
              </a:ext>
            </a:extLst>
          </p:cNvPr>
          <p:cNvSpPr/>
          <p:nvPr/>
        </p:nvSpPr>
        <p:spPr>
          <a:xfrm>
            <a:off x="820152" y="2470636"/>
            <a:ext cx="3263588" cy="2239752"/>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E92C4C9D-3C27-4D4E-97C8-C90A6F6DFEF4}"/>
              </a:ext>
            </a:extLst>
          </p:cNvPr>
          <p:cNvSpPr/>
          <p:nvPr/>
        </p:nvSpPr>
        <p:spPr>
          <a:xfrm>
            <a:off x="820154" y="2479491"/>
            <a:ext cx="3263590"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escription</a:t>
            </a:r>
          </a:p>
        </p:txBody>
      </p:sp>
      <p:sp>
        <p:nvSpPr>
          <p:cNvPr id="98" name="Rectangle 97">
            <a:extLst>
              <a:ext uri="{FF2B5EF4-FFF2-40B4-BE49-F238E27FC236}">
                <a16:creationId xmlns:a16="http://schemas.microsoft.com/office/drawing/2014/main" id="{2882AAFC-9265-43B7-9E41-3EED69E5839E}"/>
              </a:ext>
            </a:extLst>
          </p:cNvPr>
          <p:cNvSpPr/>
          <p:nvPr/>
        </p:nvSpPr>
        <p:spPr>
          <a:xfrm>
            <a:off x="820155" y="4805380"/>
            <a:ext cx="5074805"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irectly linked strategic data objective</a:t>
            </a:r>
          </a:p>
        </p:txBody>
      </p:sp>
      <p:sp>
        <p:nvSpPr>
          <p:cNvPr id="99" name="TextBox 98">
            <a:extLst>
              <a:ext uri="{FF2B5EF4-FFF2-40B4-BE49-F238E27FC236}">
                <a16:creationId xmlns:a16="http://schemas.microsoft.com/office/drawing/2014/main" id="{93B5AA5B-8A22-48CE-9D93-ABDCE3F0ED57}"/>
              </a:ext>
            </a:extLst>
          </p:cNvPr>
          <p:cNvSpPr txBox="1"/>
          <p:nvPr/>
        </p:nvSpPr>
        <p:spPr>
          <a:xfrm>
            <a:off x="820155" y="2721383"/>
            <a:ext cx="3263589" cy="1708160"/>
          </a:xfrm>
          <a:prstGeom prst="rect">
            <a:avLst/>
          </a:prstGeom>
          <a:noFill/>
          <a:ln>
            <a:noFill/>
          </a:ln>
        </p:spPr>
        <p:txBody>
          <a:bodyPr wrap="square" lIns="0" rIns="0" rtlCol="0" anchor="t" anchorCtr="0">
            <a:spAutoFit/>
          </a:bodyPr>
          <a:lstStyle>
            <a:defPPr>
              <a:defRPr lang="nl-NL"/>
            </a:defPPr>
            <a:lvl1pPr marL="285750" indent="-285750">
              <a:buFont typeface="Arial" panose="020B0604020202020204" pitchFamily="34" charset="0"/>
              <a:buChar char="•"/>
              <a:defRPr sz="1200"/>
            </a:lvl1pPr>
          </a:lstStyle>
          <a:p>
            <a:pPr marL="85725" indent="0">
              <a:buNone/>
            </a:pPr>
            <a:r>
              <a:rPr lang="en-US" sz="1050"/>
              <a:t>The global AAM data management framework is the </a:t>
            </a:r>
            <a:r>
              <a:rPr lang="en-US" sz="1050" b="1"/>
              <a:t>ultimate guideline </a:t>
            </a:r>
            <a:r>
              <a:rPr lang="en-US" sz="1050"/>
              <a:t>to ensure all people have the right elements they need to provide </a:t>
            </a:r>
            <a:r>
              <a:rPr lang="en-US" sz="1050" b="1"/>
              <a:t>accurate, consistent and complaint data</a:t>
            </a:r>
            <a:r>
              <a:rPr lang="en-US" sz="1050"/>
              <a:t> to the business.</a:t>
            </a:r>
            <a:r>
              <a:rPr lang="en-US" sz="1050" b="1"/>
              <a:t> Clearly defined data governance, data lineage and data life-cycle helps to implement data quality and data privacy</a:t>
            </a:r>
            <a:r>
              <a:rPr lang="en-US" sz="1050"/>
              <a:t>, and therefore </a:t>
            </a:r>
            <a:r>
              <a:rPr lang="en-US" sz="1050" b="1"/>
              <a:t>enhance the regulatory compliance</a:t>
            </a:r>
            <a:r>
              <a:rPr lang="en-US" sz="1050"/>
              <a:t>.</a:t>
            </a:r>
          </a:p>
          <a:p>
            <a:pPr marL="85725" indent="0">
              <a:buNone/>
            </a:pPr>
            <a:r>
              <a:rPr lang="en-US" sz="1050"/>
              <a:t>Furthermore, we ensure all </a:t>
            </a:r>
            <a:r>
              <a:rPr lang="en-US" sz="1050" b="1"/>
              <a:t>AAM employees are well-informed </a:t>
            </a:r>
            <a:r>
              <a:rPr lang="en-US" sz="1050"/>
              <a:t>that data needs to be always shared via firm-wide secured channels.</a:t>
            </a:r>
          </a:p>
        </p:txBody>
      </p:sp>
      <p:sp>
        <p:nvSpPr>
          <p:cNvPr id="100" name="Rectangle 99">
            <a:extLst>
              <a:ext uri="{FF2B5EF4-FFF2-40B4-BE49-F238E27FC236}">
                <a16:creationId xmlns:a16="http://schemas.microsoft.com/office/drawing/2014/main" id="{0B76A25D-028E-4ED9-81E4-5CC566428AB3}"/>
              </a:ext>
            </a:extLst>
          </p:cNvPr>
          <p:cNvSpPr/>
          <p:nvPr/>
        </p:nvSpPr>
        <p:spPr>
          <a:xfrm>
            <a:off x="4197198" y="2485699"/>
            <a:ext cx="1697762" cy="242224"/>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Focus Areas</a:t>
            </a:r>
          </a:p>
        </p:txBody>
      </p:sp>
      <p:sp>
        <p:nvSpPr>
          <p:cNvPr id="101" name="TextBox 100">
            <a:extLst>
              <a:ext uri="{FF2B5EF4-FFF2-40B4-BE49-F238E27FC236}">
                <a16:creationId xmlns:a16="http://schemas.microsoft.com/office/drawing/2014/main" id="{753E0F7A-54E0-45DB-BF2D-D87813B6753F}"/>
              </a:ext>
            </a:extLst>
          </p:cNvPr>
          <p:cNvSpPr txBox="1"/>
          <p:nvPr/>
        </p:nvSpPr>
        <p:spPr>
          <a:xfrm>
            <a:off x="4197197" y="2687221"/>
            <a:ext cx="1697763" cy="600164"/>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r>
              <a:rPr lang="en-US"/>
              <a:t>Data management framework</a:t>
            </a:r>
          </a:p>
          <a:p>
            <a:r>
              <a:rPr lang="en-US"/>
              <a:t>Data transfer channels</a:t>
            </a:r>
          </a:p>
        </p:txBody>
      </p:sp>
      <p:pic>
        <p:nvPicPr>
          <p:cNvPr id="103" name="Graphic 102" descr="Teacher">
            <a:extLst>
              <a:ext uri="{FF2B5EF4-FFF2-40B4-BE49-F238E27FC236}">
                <a16:creationId xmlns:a16="http://schemas.microsoft.com/office/drawing/2014/main" id="{88297A5D-3CC3-468E-8F94-905AD85F2D9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5148" y="2463057"/>
            <a:ext cx="278249" cy="283305"/>
          </a:xfrm>
          <a:prstGeom prst="rect">
            <a:avLst/>
          </a:prstGeom>
        </p:spPr>
      </p:pic>
      <p:pic>
        <p:nvPicPr>
          <p:cNvPr id="104" name="Graphic 103" descr="Puzzle pieces">
            <a:extLst>
              <a:ext uri="{FF2B5EF4-FFF2-40B4-BE49-F238E27FC236}">
                <a16:creationId xmlns:a16="http://schemas.microsoft.com/office/drawing/2014/main" id="{84F70B90-49D7-41FE-B73D-BFDC56FD62B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5148" y="4830578"/>
            <a:ext cx="235691" cy="208062"/>
          </a:xfrm>
          <a:prstGeom prst="rect">
            <a:avLst/>
          </a:prstGeom>
        </p:spPr>
      </p:pic>
      <p:pic>
        <p:nvPicPr>
          <p:cNvPr id="105" name="Graphic 104" descr="Target outline">
            <a:extLst>
              <a:ext uri="{FF2B5EF4-FFF2-40B4-BE49-F238E27FC236}">
                <a16:creationId xmlns:a16="http://schemas.microsoft.com/office/drawing/2014/main" id="{C134B824-625A-43FE-B7A3-22BB9EB2E4DB}"/>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06233" y="2470636"/>
            <a:ext cx="271132" cy="276060"/>
          </a:xfrm>
          <a:prstGeom prst="rect">
            <a:avLst/>
          </a:prstGeom>
        </p:spPr>
      </p:pic>
      <p:pic>
        <p:nvPicPr>
          <p:cNvPr id="37" name="Graphic 36" descr="Home with solid fill">
            <a:extLst>
              <a:ext uri="{FF2B5EF4-FFF2-40B4-BE49-F238E27FC236}">
                <a16:creationId xmlns:a16="http://schemas.microsoft.com/office/drawing/2014/main" id="{9BBB318A-FE87-4D85-BFA5-601DCCB9221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76814" y="995607"/>
            <a:ext cx="283145" cy="283145"/>
          </a:xfrm>
          <a:prstGeom prst="rect">
            <a:avLst/>
          </a:prstGeom>
        </p:spPr>
      </p:pic>
      <p:sp>
        <p:nvSpPr>
          <p:cNvPr id="39" name="Rectangle 38">
            <a:extLst>
              <a:ext uri="{FF2B5EF4-FFF2-40B4-BE49-F238E27FC236}">
                <a16:creationId xmlns:a16="http://schemas.microsoft.com/office/drawing/2014/main" id="{2FD38E5E-0BDC-4E0D-B967-262A6996FF00}"/>
              </a:ext>
            </a:extLst>
          </p:cNvPr>
          <p:cNvSpPr/>
          <p:nvPr/>
        </p:nvSpPr>
        <p:spPr>
          <a:xfrm>
            <a:off x="6332042" y="4944725"/>
            <a:ext cx="5074805" cy="115043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C0EC1100-471F-4B8D-B5E9-00B37A005BAE}"/>
              </a:ext>
            </a:extLst>
          </p:cNvPr>
          <p:cNvSpPr txBox="1"/>
          <p:nvPr/>
        </p:nvSpPr>
        <p:spPr>
          <a:xfrm>
            <a:off x="6332043" y="5050501"/>
            <a:ext cx="5074805" cy="769441"/>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indent="0">
              <a:buNone/>
            </a:pPr>
            <a:r>
              <a:rPr lang="en-US"/>
              <a:t>#1 Improving Data Governance and integrating Data Management into our business for ensuring regulatory compliance and easy/timely access to data</a:t>
            </a:r>
          </a:p>
          <a:p>
            <a:pPr marL="85725" indent="0">
              <a:buNone/>
            </a:pPr>
            <a:r>
              <a:rPr lang="en-US" sz="1100" spc="20">
                <a:latin typeface="Calibri Light" panose="020F0302020204030204"/>
                <a:ea typeface="Times New Roman" panose="02020603050405020304" pitchFamily="18" charset="0"/>
                <a:cs typeface="Times New Roman" panose="02020603050405020304" pitchFamily="18" charset="0"/>
              </a:rPr>
              <a:t>#2: Integration of data requirements in one enterprise data model across current and future demands </a:t>
            </a:r>
            <a:r>
              <a:rPr lang="en-US" sz="1100" spc="20">
                <a:ea typeface="Times New Roman" panose="02020603050405020304" pitchFamily="18" charset="0"/>
                <a:cs typeface="Times New Roman" panose="02020603050405020304" pitchFamily="18" charset="0"/>
              </a:rPr>
              <a:t>to better serve our clients</a:t>
            </a:r>
            <a:endParaRPr lang="en-US"/>
          </a:p>
        </p:txBody>
      </p:sp>
      <p:sp>
        <p:nvSpPr>
          <p:cNvPr id="41" name="Rectangle 40">
            <a:extLst>
              <a:ext uri="{FF2B5EF4-FFF2-40B4-BE49-F238E27FC236}">
                <a16:creationId xmlns:a16="http://schemas.microsoft.com/office/drawing/2014/main" id="{A066D056-4613-4D4D-A03F-231489EF9B67}"/>
              </a:ext>
            </a:extLst>
          </p:cNvPr>
          <p:cNvSpPr/>
          <p:nvPr/>
        </p:nvSpPr>
        <p:spPr>
          <a:xfrm>
            <a:off x="6367039" y="1248354"/>
            <a:ext cx="5039808" cy="846656"/>
          </a:xfrm>
          <a:prstGeom prst="rect">
            <a:avLst/>
          </a:prstGeom>
          <a:noFill/>
          <a:ln w="25400" cap="flat" cmpd="sng" algn="ctr">
            <a:noFill/>
            <a:prstDash val="solid"/>
          </a:ln>
          <a:effectLst/>
        </p:spPr>
        <p:txBody>
          <a:bodyPr numCol="1" rtlCol="0" anchor="t"/>
          <a:lstStyle/>
          <a:p>
            <a:pPr defTabSz="913943">
              <a:buClr>
                <a:srgbClr val="001F5B"/>
              </a:buClr>
              <a:buSzPct val="100000"/>
              <a:defRPr/>
            </a:pPr>
            <a:r>
              <a:rPr lang="en-US" sz="1100" b="1" spc="20">
                <a:solidFill>
                  <a:srgbClr val="000000"/>
                </a:solidFill>
                <a:latin typeface="Calibri Light" panose="020F0302020204030204"/>
                <a:cs typeface="Times New Roman" panose="02020603050405020304" pitchFamily="18" charset="0"/>
              </a:rPr>
              <a:t>Data ownership is a business responsibility </a:t>
            </a:r>
            <a:r>
              <a:rPr lang="en-US" sz="1100" spc="20">
                <a:solidFill>
                  <a:srgbClr val="000000"/>
                </a:solidFill>
                <a:latin typeface="Calibri Light" panose="020F0302020204030204"/>
                <a:cs typeface="Times New Roman" panose="02020603050405020304" pitchFamily="18" charset="0"/>
              </a:rPr>
              <a:t>and</a:t>
            </a:r>
            <a:r>
              <a:rPr lang="en-US" sz="1100" b="1" spc="20">
                <a:solidFill>
                  <a:srgbClr val="000000"/>
                </a:solidFill>
                <a:latin typeface="Calibri Light" panose="020F0302020204030204"/>
                <a:cs typeface="Times New Roman" panose="02020603050405020304" pitchFamily="18" charset="0"/>
              </a:rPr>
              <a:t> </a:t>
            </a:r>
            <a:r>
              <a:rPr lang="en-US" sz="1100" spc="20">
                <a:solidFill>
                  <a:srgbClr val="000000"/>
                </a:solidFill>
                <a:latin typeface="Calibri Light" panose="020F0302020204030204"/>
                <a:cs typeface="Times New Roman" panose="02020603050405020304" pitchFamily="18" charset="0"/>
              </a:rPr>
              <a:t>the data owner is always accountable for data quality</a:t>
            </a:r>
          </a:p>
          <a:p>
            <a:pPr marL="361950" lvl="1" indent="-276225" defTabSz="913943">
              <a:buClr>
                <a:srgbClr val="001F5B"/>
              </a:buClr>
              <a:buSzPct val="100000"/>
              <a:buFont typeface="+mj-lt"/>
              <a:buAutoNum type="alphaUcPeriod"/>
              <a:defRPr/>
            </a:pPr>
            <a:r>
              <a:rPr lang="en-US" sz="1100" b="1" spc="20">
                <a:solidFill>
                  <a:srgbClr val="000000"/>
                </a:solidFill>
                <a:latin typeface="Calibri Light" panose="020F0302020204030204"/>
                <a:cs typeface="Times New Roman" panose="02020603050405020304" pitchFamily="18" charset="0"/>
              </a:rPr>
              <a:t>Data quality is managed at the source </a:t>
            </a:r>
            <a:r>
              <a:rPr lang="en-US" sz="1100" spc="20">
                <a:solidFill>
                  <a:srgbClr val="000000"/>
                </a:solidFill>
                <a:latin typeface="Calibri Light" panose="020F0302020204030204"/>
                <a:cs typeface="Times New Roman" panose="02020603050405020304" pitchFamily="18" charset="0"/>
              </a:rPr>
              <a:t>(place where data is created by data producer) </a:t>
            </a:r>
          </a:p>
          <a:p>
            <a:pPr marL="361950" lvl="1" indent="-276225" defTabSz="913943">
              <a:buClr>
                <a:srgbClr val="001F5B"/>
              </a:buClr>
              <a:buSzPct val="100000"/>
              <a:buFont typeface="+mj-lt"/>
              <a:buAutoNum type="alphaUcPeriod"/>
              <a:defRPr/>
            </a:pPr>
            <a:r>
              <a:rPr lang="en-US" sz="1100" b="1" spc="20">
                <a:solidFill>
                  <a:srgbClr val="000000"/>
                </a:solidFill>
                <a:latin typeface="Calibri Light" panose="020F0302020204030204"/>
                <a:cs typeface="Times New Roman" panose="02020603050405020304" pitchFamily="18" charset="0"/>
              </a:rPr>
              <a:t>We maintain a single entry point</a:t>
            </a:r>
            <a:r>
              <a:rPr lang="en-US" sz="1100" spc="20">
                <a:solidFill>
                  <a:srgbClr val="000000"/>
                </a:solidFill>
                <a:latin typeface="Calibri Light" panose="020F0302020204030204"/>
                <a:cs typeface="Times New Roman" panose="02020603050405020304" pitchFamily="18" charset="0"/>
              </a:rPr>
              <a:t> into the organization for external (purchased) data</a:t>
            </a:r>
          </a:p>
          <a:p>
            <a:pPr lvl="1" defTabSz="913943">
              <a:buClr>
                <a:srgbClr val="001F5B"/>
              </a:buClr>
              <a:buSzPct val="100000"/>
            </a:pPr>
            <a:endParaRPr lang="en-US" sz="1100" spc="20">
              <a:solidFill>
                <a:srgbClr val="000000"/>
              </a:solidFill>
              <a:latin typeface="Calibri Light" panose="020F0302020204030204"/>
              <a:cs typeface="Times New Roman" panose="02020603050405020304" pitchFamily="18" charset="0"/>
            </a:endParaRPr>
          </a:p>
        </p:txBody>
      </p:sp>
      <p:sp>
        <p:nvSpPr>
          <p:cNvPr id="42" name="Flowchart: Manual Input 41">
            <a:extLst>
              <a:ext uri="{FF2B5EF4-FFF2-40B4-BE49-F238E27FC236}">
                <a16:creationId xmlns:a16="http://schemas.microsoft.com/office/drawing/2014/main" id="{C3BA9A6E-A9A5-456D-99D1-4A1B96126711}"/>
              </a:ext>
            </a:extLst>
          </p:cNvPr>
          <p:cNvSpPr/>
          <p:nvPr/>
        </p:nvSpPr>
        <p:spPr>
          <a:xfrm>
            <a:off x="6332042" y="1030652"/>
            <a:ext cx="5039808" cy="241892"/>
          </a:xfrm>
          <a:prstGeom prst="flowChartManualInput">
            <a:avLst/>
          </a:prstGeom>
          <a:solidFill>
            <a:schemeClr val="accent5"/>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defTabSz="912924" rtl="0" eaLnBrk="1" fontAlgn="auto" latinLnBrk="0" hangingPunct="1">
              <a:lnSpc>
                <a:spcPct val="100000"/>
              </a:lnSpc>
              <a:spcBef>
                <a:spcPts val="0"/>
              </a:spcBef>
              <a:spcAft>
                <a:spcPts val="0"/>
              </a:spcAft>
              <a:buClrTx/>
              <a:buSzTx/>
              <a:buFontTx/>
              <a:buNone/>
              <a:tabLst/>
              <a:defRPr/>
            </a:pPr>
            <a:r>
              <a:rPr lang="en-US" sz="1200" b="1">
                <a:solidFill>
                  <a:schemeClr val="bg1"/>
                </a:solidFill>
              </a:rPr>
              <a:t>#4 </a:t>
            </a:r>
            <a:endParaRPr kumimoji="0" lang="en-US" sz="1200" b="1" i="0" u="none" strike="noStrike" kern="1200" cap="none" spc="0" normalizeH="0" baseline="0" noProof="0">
              <a:ln>
                <a:noFill/>
              </a:ln>
              <a:solidFill>
                <a:schemeClr val="bg1"/>
              </a:solidFill>
              <a:effectLst/>
              <a:uLnTx/>
              <a:uFillTx/>
              <a:ea typeface="+mn-ea"/>
              <a:cs typeface="+mn-cs"/>
            </a:endParaRPr>
          </a:p>
        </p:txBody>
      </p:sp>
      <p:cxnSp>
        <p:nvCxnSpPr>
          <p:cNvPr id="43" name="Straight Connector 42">
            <a:extLst>
              <a:ext uri="{FF2B5EF4-FFF2-40B4-BE49-F238E27FC236}">
                <a16:creationId xmlns:a16="http://schemas.microsoft.com/office/drawing/2014/main" id="{4E562028-BB45-424D-A78C-5E1137F396AC}"/>
              </a:ext>
            </a:extLst>
          </p:cNvPr>
          <p:cNvCxnSpPr>
            <a:cxnSpLocks/>
          </p:cNvCxnSpPr>
          <p:nvPr/>
        </p:nvCxnSpPr>
        <p:spPr>
          <a:xfrm>
            <a:off x="6332043" y="2434008"/>
            <a:ext cx="5074803"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4A920FA4-91CF-4EFD-AC79-704370D8D6A1}"/>
              </a:ext>
            </a:extLst>
          </p:cNvPr>
          <p:cNvSpPr/>
          <p:nvPr/>
        </p:nvSpPr>
        <p:spPr>
          <a:xfrm>
            <a:off x="9709088" y="2479490"/>
            <a:ext cx="1697762" cy="223089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7424347A-CD36-4E91-8F61-30684D5511AC}"/>
              </a:ext>
            </a:extLst>
          </p:cNvPr>
          <p:cNvSpPr/>
          <p:nvPr/>
        </p:nvSpPr>
        <p:spPr>
          <a:xfrm>
            <a:off x="6332042" y="2470636"/>
            <a:ext cx="3263588" cy="2239752"/>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ED1163D9-28E2-488D-9E34-B815E6595D24}"/>
              </a:ext>
            </a:extLst>
          </p:cNvPr>
          <p:cNvSpPr/>
          <p:nvPr/>
        </p:nvSpPr>
        <p:spPr>
          <a:xfrm>
            <a:off x="6332044" y="2479491"/>
            <a:ext cx="3263590"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escription</a:t>
            </a:r>
          </a:p>
        </p:txBody>
      </p:sp>
      <p:sp>
        <p:nvSpPr>
          <p:cNvPr id="47" name="Rectangle 46">
            <a:extLst>
              <a:ext uri="{FF2B5EF4-FFF2-40B4-BE49-F238E27FC236}">
                <a16:creationId xmlns:a16="http://schemas.microsoft.com/office/drawing/2014/main" id="{093B08E9-9C07-4C81-BBD8-CF50E6F5007F}"/>
              </a:ext>
            </a:extLst>
          </p:cNvPr>
          <p:cNvSpPr/>
          <p:nvPr/>
        </p:nvSpPr>
        <p:spPr>
          <a:xfrm>
            <a:off x="6332045" y="4805380"/>
            <a:ext cx="5074805"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irectly linked strategic data objective</a:t>
            </a:r>
          </a:p>
        </p:txBody>
      </p:sp>
      <p:sp>
        <p:nvSpPr>
          <p:cNvPr id="48" name="TextBox 47">
            <a:extLst>
              <a:ext uri="{FF2B5EF4-FFF2-40B4-BE49-F238E27FC236}">
                <a16:creationId xmlns:a16="http://schemas.microsoft.com/office/drawing/2014/main" id="{0EE178F4-252B-4BAE-BA58-1625EAEF6BB6}"/>
              </a:ext>
            </a:extLst>
          </p:cNvPr>
          <p:cNvSpPr txBox="1"/>
          <p:nvPr/>
        </p:nvSpPr>
        <p:spPr>
          <a:xfrm>
            <a:off x="6332045" y="2721383"/>
            <a:ext cx="3263589" cy="1869743"/>
          </a:xfrm>
          <a:prstGeom prst="rect">
            <a:avLst/>
          </a:prstGeom>
          <a:noFill/>
          <a:ln>
            <a:noFill/>
          </a:ln>
        </p:spPr>
        <p:txBody>
          <a:bodyPr wrap="square" lIns="0" rIns="0" rtlCol="0" anchor="t" anchorCtr="0">
            <a:spAutoFit/>
          </a:bodyPr>
          <a:lstStyle>
            <a:defPPr>
              <a:defRPr lang="nl-NL"/>
            </a:defPPr>
            <a:lvl1pPr marL="285750" indent="-285750">
              <a:buFont typeface="Arial" panose="020B0604020202020204" pitchFamily="34" charset="0"/>
              <a:buChar char="•"/>
              <a:defRPr sz="1200"/>
            </a:lvl1pPr>
          </a:lstStyle>
          <a:p>
            <a:pPr marL="85725" indent="0">
              <a:buNone/>
            </a:pPr>
            <a:r>
              <a:rPr lang="en-US" sz="1050" b="1" noProof="1"/>
              <a:t>Data producing business units </a:t>
            </a:r>
            <a:r>
              <a:rPr lang="en-US" sz="1050" noProof="1"/>
              <a:t>are owning the data they produce and are accountable for the data quality. We have a </a:t>
            </a:r>
            <a:r>
              <a:rPr lang="en-US" sz="1050" b="1" noProof="1"/>
              <a:t>centralized Data office team </a:t>
            </a:r>
            <a:r>
              <a:rPr lang="en-US" sz="1050" noProof="1"/>
              <a:t>that is there to support the business in taking its responsibilities, complying with policies and driving through the market best practices while </a:t>
            </a:r>
            <a:r>
              <a:rPr lang="en-US" sz="1050" b="1" noProof="1"/>
              <a:t>the data quality is managed and corrected at the source </a:t>
            </a:r>
            <a:r>
              <a:rPr lang="en-US" sz="1050" noProof="1"/>
              <a:t>by the business pulling the data and produced it. The</a:t>
            </a:r>
            <a:r>
              <a:rPr lang="en-US" sz="1050" b="1" noProof="1"/>
              <a:t> data is being leveraged as ‘firm asset’ and stored centrally</a:t>
            </a:r>
            <a:r>
              <a:rPr lang="en-US" sz="1050" noProof="1"/>
              <a:t> and distributed decentrally and we integrate systems through a data hub and not directly from system to system. </a:t>
            </a:r>
          </a:p>
        </p:txBody>
      </p:sp>
      <p:sp>
        <p:nvSpPr>
          <p:cNvPr id="49" name="Rectangle 48">
            <a:extLst>
              <a:ext uri="{FF2B5EF4-FFF2-40B4-BE49-F238E27FC236}">
                <a16:creationId xmlns:a16="http://schemas.microsoft.com/office/drawing/2014/main" id="{968087E7-3415-4EAF-A1A2-28B7B3EA46F0}"/>
              </a:ext>
            </a:extLst>
          </p:cNvPr>
          <p:cNvSpPr/>
          <p:nvPr/>
        </p:nvSpPr>
        <p:spPr>
          <a:xfrm>
            <a:off x="9709088" y="2485699"/>
            <a:ext cx="1697762" cy="242224"/>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Focus Areas</a:t>
            </a:r>
          </a:p>
        </p:txBody>
      </p:sp>
      <p:sp>
        <p:nvSpPr>
          <p:cNvPr id="50" name="TextBox 49">
            <a:extLst>
              <a:ext uri="{FF2B5EF4-FFF2-40B4-BE49-F238E27FC236}">
                <a16:creationId xmlns:a16="http://schemas.microsoft.com/office/drawing/2014/main" id="{932065F2-F695-4415-8466-DB723981BB3C}"/>
              </a:ext>
            </a:extLst>
          </p:cNvPr>
          <p:cNvSpPr txBox="1"/>
          <p:nvPr/>
        </p:nvSpPr>
        <p:spPr>
          <a:xfrm>
            <a:off x="9709087" y="2687221"/>
            <a:ext cx="1697763" cy="938719"/>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r>
              <a:rPr lang="en-US"/>
              <a:t>Central data hub</a:t>
            </a:r>
          </a:p>
          <a:p>
            <a:r>
              <a:rPr lang="en-US"/>
              <a:t>Data governance processes at the source</a:t>
            </a:r>
          </a:p>
          <a:p>
            <a:r>
              <a:rPr lang="en-US"/>
              <a:t>Global data quality framework</a:t>
            </a:r>
          </a:p>
        </p:txBody>
      </p:sp>
      <p:pic>
        <p:nvPicPr>
          <p:cNvPr id="51" name="Graphic 50" descr="Teacher">
            <a:extLst>
              <a:ext uri="{FF2B5EF4-FFF2-40B4-BE49-F238E27FC236}">
                <a16:creationId xmlns:a16="http://schemas.microsoft.com/office/drawing/2014/main" id="{76B22EE2-3A0F-4F11-AFD5-650498A7A01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367038" y="2463057"/>
            <a:ext cx="278249" cy="283305"/>
          </a:xfrm>
          <a:prstGeom prst="rect">
            <a:avLst/>
          </a:prstGeom>
        </p:spPr>
      </p:pic>
      <p:pic>
        <p:nvPicPr>
          <p:cNvPr id="52" name="Graphic 51" descr="Puzzle pieces">
            <a:extLst>
              <a:ext uri="{FF2B5EF4-FFF2-40B4-BE49-F238E27FC236}">
                <a16:creationId xmlns:a16="http://schemas.microsoft.com/office/drawing/2014/main" id="{68C99E56-2893-4CF2-9067-34712B85F19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67038" y="4830578"/>
            <a:ext cx="235691" cy="208062"/>
          </a:xfrm>
          <a:prstGeom prst="rect">
            <a:avLst/>
          </a:prstGeom>
        </p:spPr>
      </p:pic>
      <p:pic>
        <p:nvPicPr>
          <p:cNvPr id="53" name="Graphic 52" descr="Target outline">
            <a:extLst>
              <a:ext uri="{FF2B5EF4-FFF2-40B4-BE49-F238E27FC236}">
                <a16:creationId xmlns:a16="http://schemas.microsoft.com/office/drawing/2014/main" id="{EBA51F03-D1B7-4D4C-8A5D-8867A3BF853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18123" y="2470636"/>
            <a:ext cx="271132" cy="276060"/>
          </a:xfrm>
          <a:prstGeom prst="rect">
            <a:avLst/>
          </a:prstGeom>
        </p:spPr>
      </p:pic>
      <p:pic>
        <p:nvPicPr>
          <p:cNvPr id="38" name="Graphic 37" descr="Home with solid fill">
            <a:extLst>
              <a:ext uri="{FF2B5EF4-FFF2-40B4-BE49-F238E27FC236}">
                <a16:creationId xmlns:a16="http://schemas.microsoft.com/office/drawing/2014/main" id="{BBF6FB04-39CE-4523-A440-49D9189B107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096502" y="999850"/>
            <a:ext cx="283145" cy="283145"/>
          </a:xfrm>
          <a:prstGeom prst="rect">
            <a:avLst/>
          </a:prstGeom>
        </p:spPr>
      </p:pic>
      <p:pic>
        <p:nvPicPr>
          <p:cNvPr id="55" name="Picture 54">
            <a:extLst>
              <a:ext uri="{FF2B5EF4-FFF2-40B4-BE49-F238E27FC236}">
                <a16:creationId xmlns:a16="http://schemas.microsoft.com/office/drawing/2014/main" id="{28BA6F62-BC10-498B-884A-19D43ACDE83D}"/>
              </a:ext>
            </a:extLst>
          </p:cNvPr>
          <p:cNvPicPr>
            <a:picLocks noChangeAspect="1"/>
          </p:cNvPicPr>
          <p:nvPr/>
        </p:nvPicPr>
        <p:blipFill>
          <a:blip r:embed="rId10"/>
          <a:stretch>
            <a:fillRect/>
          </a:stretch>
        </p:blipFill>
        <p:spPr>
          <a:xfrm>
            <a:off x="10853731" y="68995"/>
            <a:ext cx="1183414" cy="552971"/>
          </a:xfrm>
          <a:prstGeom prst="rect">
            <a:avLst/>
          </a:prstGeom>
        </p:spPr>
      </p:pic>
      <p:sp>
        <p:nvSpPr>
          <p:cNvPr id="56" name="Rectangle 55">
            <a:extLst>
              <a:ext uri="{FF2B5EF4-FFF2-40B4-BE49-F238E27FC236}">
                <a16:creationId xmlns:a16="http://schemas.microsoft.com/office/drawing/2014/main" id="{E079007A-D081-45E2-B715-1E4A3ED9BAEB}"/>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7" name="Graphic 56" descr="Map compass with solid fill">
            <a:extLst>
              <a:ext uri="{FF2B5EF4-FFF2-40B4-BE49-F238E27FC236}">
                <a16:creationId xmlns:a16="http://schemas.microsoft.com/office/drawing/2014/main" id="{743AD681-4606-47CB-90B2-7F1D69B606D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299641" y="6240666"/>
            <a:ext cx="468000" cy="468000"/>
          </a:xfrm>
          <a:prstGeom prst="rect">
            <a:avLst/>
          </a:prstGeom>
        </p:spPr>
      </p:pic>
      <p:pic>
        <p:nvPicPr>
          <p:cNvPr id="58" name="Graphic 57" descr="Home with solid fill">
            <a:extLst>
              <a:ext uri="{FF2B5EF4-FFF2-40B4-BE49-F238E27FC236}">
                <a16:creationId xmlns:a16="http://schemas.microsoft.com/office/drawing/2014/main" id="{F981C8A7-A36F-4806-A4B1-033E7D860AE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0823" y="6240666"/>
            <a:ext cx="468000" cy="468000"/>
          </a:xfrm>
          <a:prstGeom prst="rect">
            <a:avLst/>
          </a:prstGeom>
        </p:spPr>
      </p:pic>
      <p:sp>
        <p:nvSpPr>
          <p:cNvPr id="59" name="TextBox 58">
            <a:extLst>
              <a:ext uri="{FF2B5EF4-FFF2-40B4-BE49-F238E27FC236}">
                <a16:creationId xmlns:a16="http://schemas.microsoft.com/office/drawing/2014/main" id="{EB874579-7664-4A12-AA05-66AF054E9BAE}"/>
              </a:ext>
            </a:extLst>
          </p:cNvPr>
          <p:cNvSpPr txBox="1"/>
          <p:nvPr/>
        </p:nvSpPr>
        <p:spPr>
          <a:xfrm>
            <a:off x="1241268" y="6259223"/>
            <a:ext cx="1828503"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Foundational data princip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779E57AB-C7BD-4E65-86B0-A3AEBFDFDFB1}"/>
              </a:ext>
            </a:extLst>
          </p:cNvPr>
          <p:cNvSpPr txBox="1"/>
          <p:nvPr/>
        </p:nvSpPr>
        <p:spPr>
          <a:xfrm>
            <a:off x="3767641" y="6259223"/>
            <a:ext cx="1828503"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nalytics aspiration princip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527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25005EA2-C404-4FE4-BFF9-9A9ABFCCFF3E}"/>
              </a:ext>
            </a:extLst>
          </p:cNvPr>
          <p:cNvSpPr/>
          <p:nvPr/>
        </p:nvSpPr>
        <p:spPr>
          <a:xfrm>
            <a:off x="820152" y="4944725"/>
            <a:ext cx="5074805" cy="115043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a:extLst>
              <a:ext uri="{FF2B5EF4-FFF2-40B4-BE49-F238E27FC236}">
                <a16:creationId xmlns:a16="http://schemas.microsoft.com/office/drawing/2014/main" id="{54E0F463-4FB6-4965-9E28-E860BF2C06A6}"/>
              </a:ext>
            </a:extLst>
          </p:cNvPr>
          <p:cNvSpPr txBox="1"/>
          <p:nvPr/>
        </p:nvSpPr>
        <p:spPr>
          <a:xfrm>
            <a:off x="820153" y="5050501"/>
            <a:ext cx="5074805"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indent="0">
              <a:buNone/>
            </a:pPr>
            <a:r>
              <a:rPr lang="en-US"/>
              <a:t>#4 Building a global way of working to enable the business to use analytics and data innovation techniques</a:t>
            </a:r>
          </a:p>
        </p:txBody>
      </p:sp>
      <p:sp>
        <p:nvSpPr>
          <p:cNvPr id="14" name="Title 5">
            <a:extLst>
              <a:ext uri="{FF2B5EF4-FFF2-40B4-BE49-F238E27FC236}">
                <a16:creationId xmlns:a16="http://schemas.microsoft.com/office/drawing/2014/main" id="{059C36B7-D23A-4334-93AA-C051BE2127AA}"/>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r>
              <a:rPr lang="en-US" sz="2400"/>
              <a:t>Data (Design) Principles (3/4)</a:t>
            </a:r>
          </a:p>
        </p:txBody>
      </p:sp>
      <p:sp>
        <p:nvSpPr>
          <p:cNvPr id="90" name="Rectangle 89">
            <a:extLst>
              <a:ext uri="{FF2B5EF4-FFF2-40B4-BE49-F238E27FC236}">
                <a16:creationId xmlns:a16="http://schemas.microsoft.com/office/drawing/2014/main" id="{EB693C99-639E-4B81-BAB2-25B66FD24BDE}"/>
              </a:ext>
            </a:extLst>
          </p:cNvPr>
          <p:cNvSpPr/>
          <p:nvPr/>
        </p:nvSpPr>
        <p:spPr>
          <a:xfrm>
            <a:off x="855149" y="1248354"/>
            <a:ext cx="5039808" cy="846656"/>
          </a:xfrm>
          <a:prstGeom prst="rect">
            <a:avLst/>
          </a:prstGeom>
          <a:noFill/>
          <a:ln w="25400" cap="flat" cmpd="sng" algn="ctr">
            <a:noFill/>
            <a:prstDash val="solid"/>
          </a:ln>
          <a:effectLst/>
        </p:spPr>
        <p:txBody>
          <a:bodyPr numCol="1" rtlCol="0" anchor="t"/>
          <a:lstStyle/>
          <a:p>
            <a:pPr defTabSz="913943">
              <a:buClr>
                <a:srgbClr val="001F5B"/>
              </a:buClr>
              <a:buSzPct val="100000"/>
            </a:pPr>
            <a:r>
              <a:rPr lang="en-US" sz="1100" spc="20">
                <a:solidFill>
                  <a:srgbClr val="000000"/>
                </a:solidFill>
                <a:latin typeface="Calibri Light" panose="020F0302020204030204"/>
                <a:cs typeface="Times New Roman" panose="02020603050405020304" pitchFamily="18" charset="0"/>
              </a:rPr>
              <a:t>We </a:t>
            </a:r>
            <a:r>
              <a:rPr lang="en-US" sz="1100" b="1" spc="20">
                <a:solidFill>
                  <a:srgbClr val="000000"/>
                </a:solidFill>
                <a:latin typeface="Calibri Light" panose="020F0302020204030204"/>
                <a:cs typeface="Times New Roman" panose="02020603050405020304" pitchFamily="18" charset="0"/>
              </a:rPr>
              <a:t>simplify and standardize our activities by automating data processing </a:t>
            </a:r>
            <a:r>
              <a:rPr lang="en-US" sz="1100" spc="20">
                <a:solidFill>
                  <a:srgbClr val="000000"/>
                </a:solidFill>
                <a:latin typeface="Calibri Light" panose="020F0302020204030204"/>
                <a:cs typeface="Times New Roman" panose="02020603050405020304" pitchFamily="18" charset="0"/>
              </a:rPr>
              <a:t>(calculate it once, use it by many) where possible in order to enhance first-time right (straight-through-processing) and therefore creating cost efficiencies</a:t>
            </a:r>
          </a:p>
        </p:txBody>
      </p:sp>
      <p:sp>
        <p:nvSpPr>
          <p:cNvPr id="91" name="Flowchart: Manual Input 90">
            <a:extLst>
              <a:ext uri="{FF2B5EF4-FFF2-40B4-BE49-F238E27FC236}">
                <a16:creationId xmlns:a16="http://schemas.microsoft.com/office/drawing/2014/main" id="{421F5648-CB2A-4B47-A034-1082B1CD0FBB}"/>
              </a:ext>
            </a:extLst>
          </p:cNvPr>
          <p:cNvSpPr/>
          <p:nvPr/>
        </p:nvSpPr>
        <p:spPr>
          <a:xfrm>
            <a:off x="820152" y="1030652"/>
            <a:ext cx="5039808" cy="241892"/>
          </a:xfrm>
          <a:prstGeom prst="flowChartManualInput">
            <a:avLst/>
          </a:prstGeom>
          <a:solidFill>
            <a:schemeClr val="accent5"/>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defTabSz="912924" rtl="0" eaLnBrk="1" fontAlgn="auto" latinLnBrk="0" hangingPunct="1">
              <a:lnSpc>
                <a:spcPct val="100000"/>
              </a:lnSpc>
              <a:spcBef>
                <a:spcPts val="0"/>
              </a:spcBef>
              <a:spcAft>
                <a:spcPts val="0"/>
              </a:spcAft>
              <a:buClrTx/>
              <a:buSzTx/>
              <a:buFontTx/>
              <a:buNone/>
              <a:tabLst/>
              <a:defRPr/>
            </a:pPr>
            <a:r>
              <a:rPr lang="en-US" sz="1200" b="1">
                <a:solidFill>
                  <a:schemeClr val="bg1"/>
                </a:solidFill>
              </a:rPr>
              <a:t>#5 </a:t>
            </a:r>
            <a:endParaRPr kumimoji="0" lang="en-US" sz="1200" b="1" i="0" u="none" strike="noStrike" kern="1200" cap="none" spc="0" normalizeH="0" baseline="0" noProof="0">
              <a:ln>
                <a:noFill/>
              </a:ln>
              <a:solidFill>
                <a:schemeClr val="bg1"/>
              </a:solidFill>
              <a:effectLst/>
              <a:uLnTx/>
              <a:uFillTx/>
              <a:ea typeface="+mn-ea"/>
              <a:cs typeface="+mn-cs"/>
            </a:endParaRPr>
          </a:p>
        </p:txBody>
      </p:sp>
      <p:cxnSp>
        <p:nvCxnSpPr>
          <p:cNvPr id="92" name="Straight Connector 91">
            <a:extLst>
              <a:ext uri="{FF2B5EF4-FFF2-40B4-BE49-F238E27FC236}">
                <a16:creationId xmlns:a16="http://schemas.microsoft.com/office/drawing/2014/main" id="{C4DC3B17-1E34-4FA9-902A-C3E37F6DCBA7}"/>
              </a:ext>
            </a:extLst>
          </p:cNvPr>
          <p:cNvCxnSpPr>
            <a:cxnSpLocks/>
          </p:cNvCxnSpPr>
          <p:nvPr/>
        </p:nvCxnSpPr>
        <p:spPr>
          <a:xfrm>
            <a:off x="820153" y="2434008"/>
            <a:ext cx="5074803"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8D8B1898-6B9D-460A-BBB2-10D35850AF3D}"/>
              </a:ext>
            </a:extLst>
          </p:cNvPr>
          <p:cNvSpPr/>
          <p:nvPr/>
        </p:nvSpPr>
        <p:spPr>
          <a:xfrm>
            <a:off x="4197198" y="2479490"/>
            <a:ext cx="1697762" cy="223089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64CE4939-72D2-4B94-AE67-A94C1BE290E1}"/>
              </a:ext>
            </a:extLst>
          </p:cNvPr>
          <p:cNvSpPr/>
          <p:nvPr/>
        </p:nvSpPr>
        <p:spPr>
          <a:xfrm>
            <a:off x="820152" y="2470636"/>
            <a:ext cx="3263588" cy="2239752"/>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E92C4C9D-3C27-4D4E-97C8-C90A6F6DFEF4}"/>
              </a:ext>
            </a:extLst>
          </p:cNvPr>
          <p:cNvSpPr/>
          <p:nvPr/>
        </p:nvSpPr>
        <p:spPr>
          <a:xfrm>
            <a:off x="820154" y="2479491"/>
            <a:ext cx="3263590"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escription</a:t>
            </a:r>
          </a:p>
        </p:txBody>
      </p:sp>
      <p:sp>
        <p:nvSpPr>
          <p:cNvPr id="98" name="Rectangle 97">
            <a:extLst>
              <a:ext uri="{FF2B5EF4-FFF2-40B4-BE49-F238E27FC236}">
                <a16:creationId xmlns:a16="http://schemas.microsoft.com/office/drawing/2014/main" id="{2882AAFC-9265-43B7-9E41-3EED69E5839E}"/>
              </a:ext>
            </a:extLst>
          </p:cNvPr>
          <p:cNvSpPr/>
          <p:nvPr/>
        </p:nvSpPr>
        <p:spPr>
          <a:xfrm>
            <a:off x="820155" y="4805380"/>
            <a:ext cx="5074805"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irectly linked strategic data objective</a:t>
            </a:r>
          </a:p>
        </p:txBody>
      </p:sp>
      <p:sp>
        <p:nvSpPr>
          <p:cNvPr id="99" name="TextBox 98">
            <a:extLst>
              <a:ext uri="{FF2B5EF4-FFF2-40B4-BE49-F238E27FC236}">
                <a16:creationId xmlns:a16="http://schemas.microsoft.com/office/drawing/2014/main" id="{93B5AA5B-8A22-48CE-9D93-ABDCE3F0ED57}"/>
              </a:ext>
            </a:extLst>
          </p:cNvPr>
          <p:cNvSpPr txBox="1"/>
          <p:nvPr/>
        </p:nvSpPr>
        <p:spPr>
          <a:xfrm>
            <a:off x="820155" y="2721383"/>
            <a:ext cx="3263589" cy="1384995"/>
          </a:xfrm>
          <a:prstGeom prst="rect">
            <a:avLst/>
          </a:prstGeom>
          <a:noFill/>
          <a:ln>
            <a:noFill/>
          </a:ln>
        </p:spPr>
        <p:txBody>
          <a:bodyPr wrap="square" lIns="0" rIns="0" rtlCol="0" anchor="t" anchorCtr="0">
            <a:spAutoFit/>
          </a:bodyPr>
          <a:lstStyle>
            <a:defPPr>
              <a:defRPr lang="nl-NL"/>
            </a:defPPr>
            <a:lvl1pPr marL="285750" indent="-285750">
              <a:buFont typeface="Arial" panose="020B0604020202020204" pitchFamily="34" charset="0"/>
              <a:buChar char="•"/>
              <a:defRPr sz="1200"/>
            </a:lvl1pPr>
          </a:lstStyle>
          <a:p>
            <a:pPr marL="85725" indent="0">
              <a:buNone/>
            </a:pPr>
            <a:r>
              <a:rPr lang="en-US" sz="1050"/>
              <a:t>We own </a:t>
            </a:r>
            <a:r>
              <a:rPr lang="en-US" sz="1050" b="1"/>
              <a:t>simplified and standardized calculation models used across all regions</a:t>
            </a:r>
            <a:r>
              <a:rPr lang="en-US" sz="1050"/>
              <a:t> that allows us to automating the processes and, therefore helping us to improve the first-time right results. In turn, we </a:t>
            </a:r>
            <a:r>
              <a:rPr lang="en-US" sz="1050" b="1"/>
              <a:t>generate further headspace for creating high-value advanced analytics insights </a:t>
            </a:r>
            <a:r>
              <a:rPr lang="en-US" sz="1050"/>
              <a:t>which ultimately positions our firm as an </a:t>
            </a:r>
            <a:r>
              <a:rPr lang="en-US" sz="1050" b="1"/>
              <a:t>attractive employer </a:t>
            </a:r>
            <a:r>
              <a:rPr lang="en-US" sz="1050"/>
              <a:t>for acquiring sophisticated talents and retaining the high-potential resources. </a:t>
            </a:r>
          </a:p>
        </p:txBody>
      </p:sp>
      <p:sp>
        <p:nvSpPr>
          <p:cNvPr id="100" name="Rectangle 99">
            <a:extLst>
              <a:ext uri="{FF2B5EF4-FFF2-40B4-BE49-F238E27FC236}">
                <a16:creationId xmlns:a16="http://schemas.microsoft.com/office/drawing/2014/main" id="{0B76A25D-028E-4ED9-81E4-5CC566428AB3}"/>
              </a:ext>
            </a:extLst>
          </p:cNvPr>
          <p:cNvSpPr/>
          <p:nvPr/>
        </p:nvSpPr>
        <p:spPr>
          <a:xfrm>
            <a:off x="4197198" y="2485699"/>
            <a:ext cx="1697762" cy="242224"/>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Focus Areas</a:t>
            </a:r>
          </a:p>
        </p:txBody>
      </p:sp>
      <p:sp>
        <p:nvSpPr>
          <p:cNvPr id="101" name="TextBox 100">
            <a:extLst>
              <a:ext uri="{FF2B5EF4-FFF2-40B4-BE49-F238E27FC236}">
                <a16:creationId xmlns:a16="http://schemas.microsoft.com/office/drawing/2014/main" id="{753E0F7A-54E0-45DB-BF2D-D87813B6753F}"/>
              </a:ext>
            </a:extLst>
          </p:cNvPr>
          <p:cNvSpPr txBox="1"/>
          <p:nvPr/>
        </p:nvSpPr>
        <p:spPr>
          <a:xfrm>
            <a:off x="4197197" y="2687221"/>
            <a:ext cx="1697763" cy="938719"/>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r>
              <a:rPr lang="en-US"/>
              <a:t>Process automation</a:t>
            </a:r>
          </a:p>
          <a:p>
            <a:r>
              <a:rPr lang="en-US"/>
              <a:t>Advanced analytics insights</a:t>
            </a:r>
          </a:p>
          <a:p>
            <a:r>
              <a:rPr lang="en-US"/>
              <a:t>Talent acquisition and retention</a:t>
            </a:r>
          </a:p>
        </p:txBody>
      </p:sp>
      <p:pic>
        <p:nvPicPr>
          <p:cNvPr id="103" name="Graphic 102" descr="Teacher">
            <a:extLst>
              <a:ext uri="{FF2B5EF4-FFF2-40B4-BE49-F238E27FC236}">
                <a16:creationId xmlns:a16="http://schemas.microsoft.com/office/drawing/2014/main" id="{88297A5D-3CC3-468E-8F94-905AD85F2D9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5148" y="2463057"/>
            <a:ext cx="278249" cy="283305"/>
          </a:xfrm>
          <a:prstGeom prst="rect">
            <a:avLst/>
          </a:prstGeom>
        </p:spPr>
      </p:pic>
      <p:pic>
        <p:nvPicPr>
          <p:cNvPr id="104" name="Graphic 103" descr="Puzzle pieces">
            <a:extLst>
              <a:ext uri="{FF2B5EF4-FFF2-40B4-BE49-F238E27FC236}">
                <a16:creationId xmlns:a16="http://schemas.microsoft.com/office/drawing/2014/main" id="{84F70B90-49D7-41FE-B73D-BFDC56FD62B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5148" y="4830578"/>
            <a:ext cx="235691" cy="208062"/>
          </a:xfrm>
          <a:prstGeom prst="rect">
            <a:avLst/>
          </a:prstGeom>
        </p:spPr>
      </p:pic>
      <p:pic>
        <p:nvPicPr>
          <p:cNvPr id="105" name="Graphic 104" descr="Target outline">
            <a:extLst>
              <a:ext uri="{FF2B5EF4-FFF2-40B4-BE49-F238E27FC236}">
                <a16:creationId xmlns:a16="http://schemas.microsoft.com/office/drawing/2014/main" id="{C134B824-625A-43FE-B7A3-22BB9EB2E4DB}"/>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06233" y="2470636"/>
            <a:ext cx="271132" cy="276060"/>
          </a:xfrm>
          <a:prstGeom prst="rect">
            <a:avLst/>
          </a:prstGeom>
        </p:spPr>
      </p:pic>
      <p:pic>
        <p:nvPicPr>
          <p:cNvPr id="37" name="Graphic 36" descr="Home with solid fill">
            <a:extLst>
              <a:ext uri="{FF2B5EF4-FFF2-40B4-BE49-F238E27FC236}">
                <a16:creationId xmlns:a16="http://schemas.microsoft.com/office/drawing/2014/main" id="{9BBB318A-FE87-4D85-BFA5-601DCCB9221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76814" y="995607"/>
            <a:ext cx="283145" cy="283145"/>
          </a:xfrm>
          <a:prstGeom prst="rect">
            <a:avLst/>
          </a:prstGeom>
        </p:spPr>
      </p:pic>
      <p:sp>
        <p:nvSpPr>
          <p:cNvPr id="39" name="Rectangle 38">
            <a:extLst>
              <a:ext uri="{FF2B5EF4-FFF2-40B4-BE49-F238E27FC236}">
                <a16:creationId xmlns:a16="http://schemas.microsoft.com/office/drawing/2014/main" id="{2FD38E5E-0BDC-4E0D-B967-262A6996FF00}"/>
              </a:ext>
            </a:extLst>
          </p:cNvPr>
          <p:cNvSpPr/>
          <p:nvPr/>
        </p:nvSpPr>
        <p:spPr>
          <a:xfrm>
            <a:off x="6332042" y="4944725"/>
            <a:ext cx="5074805" cy="115043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C0EC1100-471F-4B8D-B5E9-00B37A005BAE}"/>
              </a:ext>
            </a:extLst>
          </p:cNvPr>
          <p:cNvSpPr txBox="1"/>
          <p:nvPr/>
        </p:nvSpPr>
        <p:spPr>
          <a:xfrm>
            <a:off x="6332043" y="5050501"/>
            <a:ext cx="5074805"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indent="0">
              <a:buNone/>
            </a:pPr>
            <a:r>
              <a:rPr lang="en-US"/>
              <a:t>#4 Building a global way of working to enable the business to use analytics and data innovation techniques</a:t>
            </a:r>
          </a:p>
        </p:txBody>
      </p:sp>
      <p:sp>
        <p:nvSpPr>
          <p:cNvPr id="41" name="Rectangle 40">
            <a:extLst>
              <a:ext uri="{FF2B5EF4-FFF2-40B4-BE49-F238E27FC236}">
                <a16:creationId xmlns:a16="http://schemas.microsoft.com/office/drawing/2014/main" id="{A066D056-4613-4D4D-A03F-231489EF9B67}"/>
              </a:ext>
            </a:extLst>
          </p:cNvPr>
          <p:cNvSpPr/>
          <p:nvPr/>
        </p:nvSpPr>
        <p:spPr>
          <a:xfrm>
            <a:off x="6367039" y="1248354"/>
            <a:ext cx="5039808" cy="846656"/>
          </a:xfrm>
          <a:prstGeom prst="rect">
            <a:avLst/>
          </a:prstGeom>
          <a:noFill/>
          <a:ln w="25400" cap="flat" cmpd="sng" algn="ctr">
            <a:noFill/>
            <a:prstDash val="solid"/>
          </a:ln>
          <a:effectLst/>
        </p:spPr>
        <p:txBody>
          <a:bodyPr numCol="1" rtlCol="0" anchor="t"/>
          <a:lstStyle/>
          <a:p>
            <a:pPr defTabSz="913943">
              <a:buClr>
                <a:srgbClr val="001F5B"/>
              </a:buClr>
              <a:buSzPct val="100000"/>
            </a:pPr>
            <a:r>
              <a:rPr lang="en-US" sz="1100" spc="20">
                <a:solidFill>
                  <a:srgbClr val="000000"/>
                </a:solidFill>
                <a:latin typeface="Calibri Light" panose="020F0302020204030204"/>
                <a:cs typeface="Times New Roman" panose="02020603050405020304" pitchFamily="18" charset="0"/>
              </a:rPr>
              <a:t>We facilitate and enable </a:t>
            </a:r>
            <a:r>
              <a:rPr lang="en-US" sz="1100" b="1" spc="20">
                <a:solidFill>
                  <a:srgbClr val="000000"/>
                </a:solidFill>
                <a:latin typeface="Calibri Light" panose="020F0302020204030204"/>
                <a:cs typeface="Times New Roman" panose="02020603050405020304" pitchFamily="18" charset="0"/>
              </a:rPr>
              <a:t>business driven analytics initiatives </a:t>
            </a:r>
            <a:r>
              <a:rPr lang="en-US" sz="1100" spc="20">
                <a:solidFill>
                  <a:srgbClr val="000000"/>
                </a:solidFill>
                <a:latin typeface="Calibri Light" panose="020F0302020204030204"/>
                <a:cs typeface="Times New Roman" panose="02020603050405020304" pitchFamily="18" charset="0"/>
              </a:rPr>
              <a:t>with a global way of working and architectural standards</a:t>
            </a:r>
          </a:p>
          <a:p>
            <a:pPr marL="361950" lvl="1" indent="-276225" defTabSz="913943">
              <a:buClr>
                <a:srgbClr val="001F5B"/>
              </a:buClr>
              <a:buSzPct val="100000"/>
              <a:buFont typeface="+mj-lt"/>
              <a:buAutoNum type="alphaUcPeriod"/>
            </a:pPr>
            <a:r>
              <a:rPr lang="en-US" sz="1100" spc="20">
                <a:solidFill>
                  <a:srgbClr val="000000"/>
                </a:solidFill>
                <a:latin typeface="Calibri Light" panose="020F0302020204030204"/>
                <a:cs typeface="Times New Roman" panose="02020603050405020304" pitchFamily="18" charset="0"/>
              </a:rPr>
              <a:t>A </a:t>
            </a:r>
            <a:r>
              <a:rPr lang="en-US" sz="1100" b="1" spc="20">
                <a:solidFill>
                  <a:srgbClr val="000000"/>
                </a:solidFill>
                <a:latin typeface="Calibri Light" panose="020F0302020204030204"/>
                <a:cs typeface="Times New Roman" panose="02020603050405020304" pitchFamily="18" charset="0"/>
              </a:rPr>
              <a:t>support model </a:t>
            </a:r>
            <a:r>
              <a:rPr lang="en-US" sz="1100" spc="20">
                <a:solidFill>
                  <a:srgbClr val="000000"/>
                </a:solidFill>
                <a:latin typeface="Calibri Light" panose="020F0302020204030204"/>
                <a:cs typeface="Times New Roman" panose="02020603050405020304" pitchFamily="18" charset="0"/>
              </a:rPr>
              <a:t>overseeing the day to day functioning (You build it, you support &amp; maintain it)</a:t>
            </a:r>
          </a:p>
          <a:p>
            <a:pPr marL="361950" lvl="1" indent="-276225" defTabSz="913943">
              <a:buClr>
                <a:srgbClr val="001F5B"/>
              </a:buClr>
              <a:buSzPct val="100000"/>
              <a:buFont typeface="+mj-lt"/>
              <a:buAutoNum type="alphaUcPeriod"/>
            </a:pPr>
            <a:r>
              <a:rPr lang="en-US" sz="1100" spc="20">
                <a:solidFill>
                  <a:srgbClr val="000000"/>
                </a:solidFill>
                <a:latin typeface="Calibri Light" panose="020F0302020204030204"/>
                <a:cs typeface="Times New Roman" panose="02020603050405020304" pitchFamily="18" charset="0"/>
              </a:rPr>
              <a:t>Running costs to be covered by </a:t>
            </a:r>
            <a:r>
              <a:rPr lang="en-US" sz="1100" b="1" spc="20">
                <a:solidFill>
                  <a:srgbClr val="000000"/>
                </a:solidFill>
                <a:latin typeface="Calibri Light" panose="020F0302020204030204"/>
                <a:cs typeface="Times New Roman" panose="02020603050405020304" pitchFamily="18" charset="0"/>
              </a:rPr>
              <a:t>value added insights </a:t>
            </a:r>
            <a:r>
              <a:rPr lang="en-US" sz="1100" spc="20">
                <a:solidFill>
                  <a:srgbClr val="000000"/>
                </a:solidFill>
                <a:latin typeface="Calibri Light" panose="020F0302020204030204"/>
                <a:cs typeface="Times New Roman" panose="02020603050405020304" pitchFamily="18" charset="0"/>
              </a:rPr>
              <a:t>(Use it or lose it)</a:t>
            </a:r>
          </a:p>
        </p:txBody>
      </p:sp>
      <p:sp>
        <p:nvSpPr>
          <p:cNvPr id="42" name="Flowchart: Manual Input 41">
            <a:extLst>
              <a:ext uri="{FF2B5EF4-FFF2-40B4-BE49-F238E27FC236}">
                <a16:creationId xmlns:a16="http://schemas.microsoft.com/office/drawing/2014/main" id="{C3BA9A6E-A9A5-456D-99D1-4A1B96126711}"/>
              </a:ext>
            </a:extLst>
          </p:cNvPr>
          <p:cNvSpPr/>
          <p:nvPr/>
        </p:nvSpPr>
        <p:spPr>
          <a:xfrm>
            <a:off x="6332042" y="1030652"/>
            <a:ext cx="5039808" cy="241892"/>
          </a:xfrm>
          <a:prstGeom prst="flowChartManualInput">
            <a:avLst/>
          </a:prstGeom>
          <a:solidFill>
            <a:schemeClr val="accent5"/>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defTabSz="912924" rtl="0" eaLnBrk="1" fontAlgn="auto" latinLnBrk="0" hangingPunct="1">
              <a:lnSpc>
                <a:spcPct val="100000"/>
              </a:lnSpc>
              <a:spcBef>
                <a:spcPts val="0"/>
              </a:spcBef>
              <a:spcAft>
                <a:spcPts val="0"/>
              </a:spcAft>
              <a:buClrTx/>
              <a:buSzTx/>
              <a:buFontTx/>
              <a:buNone/>
              <a:tabLst/>
              <a:defRPr/>
            </a:pPr>
            <a:r>
              <a:rPr lang="en-US" sz="1200" b="1">
                <a:solidFill>
                  <a:schemeClr val="bg1"/>
                </a:solidFill>
              </a:rPr>
              <a:t>#6 </a:t>
            </a:r>
            <a:endParaRPr kumimoji="0" lang="en-US" sz="1200" b="1" i="0" u="none" strike="noStrike" kern="1200" cap="none" spc="0" normalizeH="0" baseline="0" noProof="0">
              <a:ln>
                <a:noFill/>
              </a:ln>
              <a:solidFill>
                <a:schemeClr val="bg1"/>
              </a:solidFill>
              <a:effectLst/>
              <a:uLnTx/>
              <a:uFillTx/>
              <a:ea typeface="+mn-ea"/>
              <a:cs typeface="+mn-cs"/>
            </a:endParaRPr>
          </a:p>
        </p:txBody>
      </p:sp>
      <p:cxnSp>
        <p:nvCxnSpPr>
          <p:cNvPr id="43" name="Straight Connector 42">
            <a:extLst>
              <a:ext uri="{FF2B5EF4-FFF2-40B4-BE49-F238E27FC236}">
                <a16:creationId xmlns:a16="http://schemas.microsoft.com/office/drawing/2014/main" id="{4E562028-BB45-424D-A78C-5E1137F396AC}"/>
              </a:ext>
            </a:extLst>
          </p:cNvPr>
          <p:cNvCxnSpPr>
            <a:cxnSpLocks/>
          </p:cNvCxnSpPr>
          <p:nvPr/>
        </p:nvCxnSpPr>
        <p:spPr>
          <a:xfrm>
            <a:off x="6332043" y="2434008"/>
            <a:ext cx="5074803"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4A920FA4-91CF-4EFD-AC79-704370D8D6A1}"/>
              </a:ext>
            </a:extLst>
          </p:cNvPr>
          <p:cNvSpPr/>
          <p:nvPr/>
        </p:nvSpPr>
        <p:spPr>
          <a:xfrm>
            <a:off x="9709088" y="2479490"/>
            <a:ext cx="1697762" cy="223089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7424347A-CD36-4E91-8F61-30684D5511AC}"/>
              </a:ext>
            </a:extLst>
          </p:cNvPr>
          <p:cNvSpPr/>
          <p:nvPr/>
        </p:nvSpPr>
        <p:spPr>
          <a:xfrm>
            <a:off x="6332042" y="2470636"/>
            <a:ext cx="3263588" cy="2239752"/>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ED1163D9-28E2-488D-9E34-B815E6595D24}"/>
              </a:ext>
            </a:extLst>
          </p:cNvPr>
          <p:cNvSpPr/>
          <p:nvPr/>
        </p:nvSpPr>
        <p:spPr>
          <a:xfrm>
            <a:off x="6332044" y="2479491"/>
            <a:ext cx="3263590"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escription</a:t>
            </a:r>
          </a:p>
        </p:txBody>
      </p:sp>
      <p:sp>
        <p:nvSpPr>
          <p:cNvPr id="47" name="Rectangle 46">
            <a:extLst>
              <a:ext uri="{FF2B5EF4-FFF2-40B4-BE49-F238E27FC236}">
                <a16:creationId xmlns:a16="http://schemas.microsoft.com/office/drawing/2014/main" id="{093B08E9-9C07-4C81-BBD8-CF50E6F5007F}"/>
              </a:ext>
            </a:extLst>
          </p:cNvPr>
          <p:cNvSpPr/>
          <p:nvPr/>
        </p:nvSpPr>
        <p:spPr>
          <a:xfrm>
            <a:off x="6332045" y="4805380"/>
            <a:ext cx="5074805"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irectly linked strategic data objective</a:t>
            </a:r>
          </a:p>
        </p:txBody>
      </p:sp>
      <p:sp>
        <p:nvSpPr>
          <p:cNvPr id="48" name="TextBox 47">
            <a:extLst>
              <a:ext uri="{FF2B5EF4-FFF2-40B4-BE49-F238E27FC236}">
                <a16:creationId xmlns:a16="http://schemas.microsoft.com/office/drawing/2014/main" id="{0EE178F4-252B-4BAE-BA58-1625EAEF6BB6}"/>
              </a:ext>
            </a:extLst>
          </p:cNvPr>
          <p:cNvSpPr txBox="1"/>
          <p:nvPr/>
        </p:nvSpPr>
        <p:spPr>
          <a:xfrm>
            <a:off x="6332045" y="2721383"/>
            <a:ext cx="3263589" cy="2031325"/>
          </a:xfrm>
          <a:prstGeom prst="rect">
            <a:avLst/>
          </a:prstGeom>
          <a:noFill/>
          <a:ln>
            <a:noFill/>
          </a:ln>
        </p:spPr>
        <p:txBody>
          <a:bodyPr wrap="square" lIns="0" rIns="0" rtlCol="0" anchor="t" anchorCtr="0">
            <a:spAutoFit/>
          </a:bodyPr>
          <a:lstStyle>
            <a:defPPr>
              <a:defRPr lang="nl-NL"/>
            </a:defPPr>
            <a:lvl1pPr marL="285750" indent="-285750">
              <a:buFont typeface="Arial" panose="020B0604020202020204" pitchFamily="34" charset="0"/>
              <a:buChar char="•"/>
              <a:defRPr sz="1200"/>
            </a:lvl1pPr>
          </a:lstStyle>
          <a:p>
            <a:pPr marL="85725" indent="0">
              <a:buNone/>
            </a:pPr>
            <a:r>
              <a:rPr lang="en-US" sz="1050" noProof="1"/>
              <a:t>We recognize that analytics is a </a:t>
            </a:r>
            <a:r>
              <a:rPr lang="en-US" sz="1050" b="1" noProof="1"/>
              <a:t>team sport </a:t>
            </a:r>
            <a:r>
              <a:rPr lang="en-US" sz="1050" noProof="1"/>
              <a:t>and its success is dependent on </a:t>
            </a:r>
            <a:r>
              <a:rPr lang="en-US" sz="1050" b="1" noProof="1"/>
              <a:t>efficient and effective cross-functional skills</a:t>
            </a:r>
            <a:r>
              <a:rPr lang="en-US" sz="1050" noProof="1"/>
              <a:t> (e.g. business, data, technology, operations, compliance). As a result, AAM is dedicated to build a global way of working to support the analytics initiatives </a:t>
            </a:r>
            <a:r>
              <a:rPr lang="en-US" sz="1050" b="1" noProof="1"/>
              <a:t>facilitated by a guided communications and the relevant governance </a:t>
            </a:r>
            <a:r>
              <a:rPr lang="en-US" sz="1050" noProof="1"/>
              <a:t>to ensure the </a:t>
            </a:r>
            <a:r>
              <a:rPr lang="en-US" sz="1050" b="1" noProof="1"/>
              <a:t>involvement of business partners.</a:t>
            </a:r>
            <a:r>
              <a:rPr lang="en-US" sz="1050" noProof="1"/>
              <a:t> The business and the analytics teams work together throughout development as well as the day to day functioning of the initiaves including</a:t>
            </a:r>
            <a:r>
              <a:rPr lang="en-US" sz="1050" b="1" noProof="1"/>
              <a:t> maintenance </a:t>
            </a:r>
            <a:r>
              <a:rPr lang="en-US" sz="1050" noProof="1"/>
              <a:t>to ensure the opportunity costs are compensated with the created added value. </a:t>
            </a:r>
          </a:p>
        </p:txBody>
      </p:sp>
      <p:sp>
        <p:nvSpPr>
          <p:cNvPr id="49" name="Rectangle 48">
            <a:extLst>
              <a:ext uri="{FF2B5EF4-FFF2-40B4-BE49-F238E27FC236}">
                <a16:creationId xmlns:a16="http://schemas.microsoft.com/office/drawing/2014/main" id="{968087E7-3415-4EAF-A1A2-28B7B3EA46F0}"/>
              </a:ext>
            </a:extLst>
          </p:cNvPr>
          <p:cNvSpPr/>
          <p:nvPr/>
        </p:nvSpPr>
        <p:spPr>
          <a:xfrm>
            <a:off x="9709088" y="2485699"/>
            <a:ext cx="1697762" cy="242224"/>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Focus Areas</a:t>
            </a:r>
          </a:p>
        </p:txBody>
      </p:sp>
      <p:sp>
        <p:nvSpPr>
          <p:cNvPr id="50" name="TextBox 49">
            <a:extLst>
              <a:ext uri="{FF2B5EF4-FFF2-40B4-BE49-F238E27FC236}">
                <a16:creationId xmlns:a16="http://schemas.microsoft.com/office/drawing/2014/main" id="{932065F2-F695-4415-8466-DB723981BB3C}"/>
              </a:ext>
            </a:extLst>
          </p:cNvPr>
          <p:cNvSpPr txBox="1"/>
          <p:nvPr/>
        </p:nvSpPr>
        <p:spPr>
          <a:xfrm>
            <a:off x="9709087" y="2687221"/>
            <a:ext cx="1697763" cy="1107996"/>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r>
              <a:rPr lang="en-US"/>
              <a:t>Global analytics ways of working</a:t>
            </a:r>
          </a:p>
          <a:p>
            <a:r>
              <a:rPr lang="en-US"/>
              <a:t>Client reporting (BI dashboards)</a:t>
            </a:r>
          </a:p>
          <a:p>
            <a:r>
              <a:rPr lang="en-US"/>
              <a:t>Automation of investment processes</a:t>
            </a:r>
          </a:p>
        </p:txBody>
      </p:sp>
      <p:pic>
        <p:nvPicPr>
          <p:cNvPr id="51" name="Graphic 50" descr="Teacher">
            <a:extLst>
              <a:ext uri="{FF2B5EF4-FFF2-40B4-BE49-F238E27FC236}">
                <a16:creationId xmlns:a16="http://schemas.microsoft.com/office/drawing/2014/main" id="{76B22EE2-3A0F-4F11-AFD5-650498A7A01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367038" y="2463057"/>
            <a:ext cx="278249" cy="283305"/>
          </a:xfrm>
          <a:prstGeom prst="rect">
            <a:avLst/>
          </a:prstGeom>
        </p:spPr>
      </p:pic>
      <p:pic>
        <p:nvPicPr>
          <p:cNvPr id="52" name="Graphic 51" descr="Puzzle pieces">
            <a:extLst>
              <a:ext uri="{FF2B5EF4-FFF2-40B4-BE49-F238E27FC236}">
                <a16:creationId xmlns:a16="http://schemas.microsoft.com/office/drawing/2014/main" id="{68C99E56-2893-4CF2-9067-34712B85F19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67038" y="4830578"/>
            <a:ext cx="235691" cy="208062"/>
          </a:xfrm>
          <a:prstGeom prst="rect">
            <a:avLst/>
          </a:prstGeom>
        </p:spPr>
      </p:pic>
      <p:pic>
        <p:nvPicPr>
          <p:cNvPr id="53" name="Graphic 52" descr="Target outline">
            <a:extLst>
              <a:ext uri="{FF2B5EF4-FFF2-40B4-BE49-F238E27FC236}">
                <a16:creationId xmlns:a16="http://schemas.microsoft.com/office/drawing/2014/main" id="{EBA51F03-D1B7-4D4C-8A5D-8867A3BF853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18123" y="2470636"/>
            <a:ext cx="271132" cy="276060"/>
          </a:xfrm>
          <a:prstGeom prst="rect">
            <a:avLst/>
          </a:prstGeom>
        </p:spPr>
      </p:pic>
      <p:pic>
        <p:nvPicPr>
          <p:cNvPr id="54" name="Graphic 53" descr="Map compass with solid fill">
            <a:extLst>
              <a:ext uri="{FF2B5EF4-FFF2-40B4-BE49-F238E27FC236}">
                <a16:creationId xmlns:a16="http://schemas.microsoft.com/office/drawing/2014/main" id="{BD5237BC-D711-4337-A343-8F88EAEF7A4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088703" y="1014287"/>
            <a:ext cx="283145" cy="283145"/>
          </a:xfrm>
          <a:prstGeom prst="rect">
            <a:avLst/>
          </a:prstGeom>
        </p:spPr>
      </p:pic>
      <p:pic>
        <p:nvPicPr>
          <p:cNvPr id="55" name="Picture 54">
            <a:extLst>
              <a:ext uri="{FF2B5EF4-FFF2-40B4-BE49-F238E27FC236}">
                <a16:creationId xmlns:a16="http://schemas.microsoft.com/office/drawing/2014/main" id="{4C9B2329-4B44-4C4A-B518-EF983F42741B}"/>
              </a:ext>
            </a:extLst>
          </p:cNvPr>
          <p:cNvPicPr>
            <a:picLocks noChangeAspect="1"/>
          </p:cNvPicPr>
          <p:nvPr/>
        </p:nvPicPr>
        <p:blipFill>
          <a:blip r:embed="rId12"/>
          <a:stretch>
            <a:fillRect/>
          </a:stretch>
        </p:blipFill>
        <p:spPr>
          <a:xfrm>
            <a:off x="10853731" y="68995"/>
            <a:ext cx="1183414" cy="552971"/>
          </a:xfrm>
          <a:prstGeom prst="rect">
            <a:avLst/>
          </a:prstGeom>
        </p:spPr>
      </p:pic>
      <p:sp>
        <p:nvSpPr>
          <p:cNvPr id="56" name="Rectangle 55">
            <a:extLst>
              <a:ext uri="{FF2B5EF4-FFF2-40B4-BE49-F238E27FC236}">
                <a16:creationId xmlns:a16="http://schemas.microsoft.com/office/drawing/2014/main" id="{08BBC4C8-A824-471A-8DD4-9CC995D51E1D}"/>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7" name="Graphic 56" descr="Map compass with solid fill">
            <a:extLst>
              <a:ext uri="{FF2B5EF4-FFF2-40B4-BE49-F238E27FC236}">
                <a16:creationId xmlns:a16="http://schemas.microsoft.com/office/drawing/2014/main" id="{14B0480B-DC55-45FA-B033-54D34CA01EB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299641" y="6240666"/>
            <a:ext cx="468000" cy="468000"/>
          </a:xfrm>
          <a:prstGeom prst="rect">
            <a:avLst/>
          </a:prstGeom>
        </p:spPr>
      </p:pic>
      <p:pic>
        <p:nvPicPr>
          <p:cNvPr id="58" name="Graphic 57" descr="Home with solid fill">
            <a:extLst>
              <a:ext uri="{FF2B5EF4-FFF2-40B4-BE49-F238E27FC236}">
                <a16:creationId xmlns:a16="http://schemas.microsoft.com/office/drawing/2014/main" id="{89CEF85A-F2DC-4B65-BBEF-B8FEB487786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0823" y="6240666"/>
            <a:ext cx="468000" cy="468000"/>
          </a:xfrm>
          <a:prstGeom prst="rect">
            <a:avLst/>
          </a:prstGeom>
        </p:spPr>
      </p:pic>
      <p:sp>
        <p:nvSpPr>
          <p:cNvPr id="59" name="TextBox 58">
            <a:extLst>
              <a:ext uri="{FF2B5EF4-FFF2-40B4-BE49-F238E27FC236}">
                <a16:creationId xmlns:a16="http://schemas.microsoft.com/office/drawing/2014/main" id="{35698B00-908E-4B47-A1FC-9659C476F1D6}"/>
              </a:ext>
            </a:extLst>
          </p:cNvPr>
          <p:cNvSpPr txBox="1"/>
          <p:nvPr/>
        </p:nvSpPr>
        <p:spPr>
          <a:xfrm>
            <a:off x="1241268" y="6259223"/>
            <a:ext cx="1828503"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Foundational data princip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7CA0C2D6-31EA-470C-AC76-04010863D928}"/>
              </a:ext>
            </a:extLst>
          </p:cNvPr>
          <p:cNvSpPr txBox="1"/>
          <p:nvPr/>
        </p:nvSpPr>
        <p:spPr>
          <a:xfrm>
            <a:off x="3767641" y="6259223"/>
            <a:ext cx="1828503"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nalytics aspiration princip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5420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5">
            <a:extLst>
              <a:ext uri="{FF2B5EF4-FFF2-40B4-BE49-F238E27FC236}">
                <a16:creationId xmlns:a16="http://schemas.microsoft.com/office/drawing/2014/main" id="{059C36B7-D23A-4334-93AA-C051BE2127AA}"/>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r>
              <a:rPr lang="en-US" sz="2400"/>
              <a:t>Data (Design) Principles (4/4)</a:t>
            </a:r>
          </a:p>
        </p:txBody>
      </p:sp>
      <p:sp>
        <p:nvSpPr>
          <p:cNvPr id="108" name="Rectangle 107">
            <a:extLst>
              <a:ext uri="{FF2B5EF4-FFF2-40B4-BE49-F238E27FC236}">
                <a16:creationId xmlns:a16="http://schemas.microsoft.com/office/drawing/2014/main" id="{27DA8F13-265F-4E3E-93DB-05487EE8A558}"/>
              </a:ext>
            </a:extLst>
          </p:cNvPr>
          <p:cNvSpPr/>
          <p:nvPr/>
        </p:nvSpPr>
        <p:spPr>
          <a:xfrm>
            <a:off x="820152" y="4944725"/>
            <a:ext cx="5074805" cy="115043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TextBox 108">
            <a:extLst>
              <a:ext uri="{FF2B5EF4-FFF2-40B4-BE49-F238E27FC236}">
                <a16:creationId xmlns:a16="http://schemas.microsoft.com/office/drawing/2014/main" id="{37E6C881-3FBD-4D9A-AC25-1B67364B35B5}"/>
              </a:ext>
            </a:extLst>
          </p:cNvPr>
          <p:cNvSpPr txBox="1"/>
          <p:nvPr/>
        </p:nvSpPr>
        <p:spPr>
          <a:xfrm>
            <a:off x="820153" y="5050501"/>
            <a:ext cx="5074805"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indent="0">
              <a:buNone/>
            </a:pPr>
            <a:r>
              <a:rPr lang="en-US"/>
              <a:t>#5 AAM as user of data-driven technologies to become the preferred Responsible Investment provider</a:t>
            </a:r>
          </a:p>
        </p:txBody>
      </p:sp>
      <p:sp>
        <p:nvSpPr>
          <p:cNvPr id="110" name="Rectangle 109">
            <a:extLst>
              <a:ext uri="{FF2B5EF4-FFF2-40B4-BE49-F238E27FC236}">
                <a16:creationId xmlns:a16="http://schemas.microsoft.com/office/drawing/2014/main" id="{66D0B51E-45D3-40FE-B804-3635081AAD88}"/>
              </a:ext>
            </a:extLst>
          </p:cNvPr>
          <p:cNvSpPr/>
          <p:nvPr/>
        </p:nvSpPr>
        <p:spPr>
          <a:xfrm>
            <a:off x="855149" y="1248354"/>
            <a:ext cx="5039808" cy="846656"/>
          </a:xfrm>
          <a:prstGeom prst="rect">
            <a:avLst/>
          </a:prstGeom>
          <a:noFill/>
          <a:ln w="25400" cap="flat" cmpd="sng" algn="ctr">
            <a:noFill/>
            <a:prstDash val="solid"/>
          </a:ln>
          <a:effectLst/>
        </p:spPr>
        <p:txBody>
          <a:bodyPr numCol="1" rtlCol="0" anchor="t"/>
          <a:lstStyle/>
          <a:p>
            <a:pPr defTabSz="913943">
              <a:buClr>
                <a:srgbClr val="001F5B"/>
              </a:buClr>
              <a:buSzPct val="100000"/>
              <a:defRPr/>
            </a:pPr>
            <a:r>
              <a:rPr lang="en-US" sz="1100" spc="20">
                <a:solidFill>
                  <a:srgbClr val="000000"/>
                </a:solidFill>
                <a:latin typeface="Calibri Light" panose="020F0302020204030204"/>
                <a:cs typeface="Times New Roman" panose="02020603050405020304" pitchFamily="18" charset="0"/>
              </a:rPr>
              <a:t>We apply a </a:t>
            </a:r>
            <a:r>
              <a:rPr lang="en-US" sz="1100" b="1" spc="20">
                <a:solidFill>
                  <a:srgbClr val="000000"/>
                </a:solidFill>
                <a:latin typeface="Calibri Light" panose="020F0302020204030204"/>
                <a:cs typeface="Times New Roman" panose="02020603050405020304" pitchFamily="18" charset="0"/>
              </a:rPr>
              <a:t>holistic approach to utilizing trusted ESG data &amp; analytics </a:t>
            </a:r>
            <a:r>
              <a:rPr lang="en-US" sz="1100" spc="20">
                <a:solidFill>
                  <a:srgbClr val="000000"/>
                </a:solidFill>
                <a:latin typeface="Calibri Light" panose="020F0302020204030204"/>
                <a:cs typeface="Times New Roman" panose="02020603050405020304" pitchFamily="18" charset="0"/>
              </a:rPr>
              <a:t>to engage with our prospects and clients to enable them to make </a:t>
            </a:r>
            <a:r>
              <a:rPr lang="en-US" sz="1100" b="1" spc="20">
                <a:solidFill>
                  <a:srgbClr val="000000"/>
                </a:solidFill>
                <a:latin typeface="Calibri Light" panose="020F0302020204030204"/>
                <a:cs typeface="Times New Roman" panose="02020603050405020304" pitchFamily="18" charset="0"/>
              </a:rPr>
              <a:t>responsible investment decisions</a:t>
            </a:r>
          </a:p>
          <a:p>
            <a:pPr marL="361950" lvl="1" indent="-276225" defTabSz="913943">
              <a:buClr>
                <a:srgbClr val="001F5B"/>
              </a:buClr>
              <a:buSzPct val="100000"/>
              <a:buFont typeface="+mj-lt"/>
              <a:buAutoNum type="alphaUcPeriod"/>
            </a:pPr>
            <a:r>
              <a:rPr lang="en-US" sz="1100" spc="20">
                <a:solidFill>
                  <a:srgbClr val="000000"/>
                </a:solidFill>
                <a:latin typeface="Calibri Light" panose="020F0302020204030204"/>
                <a:cs typeface="Times New Roman" panose="02020603050405020304" pitchFamily="18" charset="0"/>
              </a:rPr>
              <a:t>Our </a:t>
            </a:r>
            <a:r>
              <a:rPr lang="en-US" sz="1100" b="1" spc="20">
                <a:solidFill>
                  <a:srgbClr val="000000"/>
                </a:solidFill>
                <a:latin typeface="Calibri Light" panose="020F0302020204030204"/>
                <a:cs typeface="Times New Roman" panose="02020603050405020304" pitchFamily="18" charset="0"/>
              </a:rPr>
              <a:t>ESG rating approach is clearly presented </a:t>
            </a:r>
            <a:r>
              <a:rPr lang="en-US" sz="1100" spc="20">
                <a:solidFill>
                  <a:srgbClr val="000000"/>
                </a:solidFill>
                <a:latin typeface="Calibri Light" panose="020F0302020204030204"/>
                <a:cs typeface="Times New Roman" panose="02020603050405020304" pitchFamily="18" charset="0"/>
              </a:rPr>
              <a:t>throughout portfolio management and client reporting</a:t>
            </a:r>
          </a:p>
          <a:p>
            <a:pPr marL="361950" lvl="1" indent="-276225" defTabSz="913943">
              <a:buClr>
                <a:srgbClr val="001F5B"/>
              </a:buClr>
              <a:buSzPct val="100000"/>
              <a:buFont typeface="+mj-lt"/>
              <a:buAutoNum type="alphaUcPeriod"/>
            </a:pPr>
            <a:r>
              <a:rPr lang="en-US" sz="1100" spc="20">
                <a:solidFill>
                  <a:srgbClr val="000000"/>
                </a:solidFill>
                <a:latin typeface="Calibri Light" panose="020F0302020204030204"/>
                <a:cs typeface="Times New Roman" panose="02020603050405020304" pitchFamily="18" charset="0"/>
              </a:rPr>
              <a:t>We </a:t>
            </a:r>
            <a:r>
              <a:rPr lang="en-US" sz="1100" b="1" spc="20">
                <a:solidFill>
                  <a:srgbClr val="000000"/>
                </a:solidFill>
                <a:latin typeface="Calibri Light" panose="020F0302020204030204"/>
                <a:cs typeface="Times New Roman" panose="02020603050405020304" pitchFamily="18" charset="0"/>
              </a:rPr>
              <a:t>structurally provide ESG data and (performance) insights </a:t>
            </a:r>
            <a:r>
              <a:rPr lang="en-US" sz="1100" spc="20">
                <a:solidFill>
                  <a:srgbClr val="000000"/>
                </a:solidFill>
                <a:latin typeface="Calibri Light" panose="020F0302020204030204"/>
                <a:cs typeface="Times New Roman" panose="02020603050405020304" pitchFamily="18" charset="0"/>
              </a:rPr>
              <a:t>to clients</a:t>
            </a:r>
            <a:endParaRPr lang="en-US" sz="1050" spc="20">
              <a:solidFill>
                <a:srgbClr val="000000"/>
              </a:solidFill>
              <a:latin typeface="Calibri Light" panose="020F0302020204030204"/>
              <a:cs typeface="Times New Roman" panose="02020603050405020304" pitchFamily="18" charset="0"/>
            </a:endParaRPr>
          </a:p>
        </p:txBody>
      </p:sp>
      <p:sp>
        <p:nvSpPr>
          <p:cNvPr id="111" name="Flowchart: Manual Input 110">
            <a:extLst>
              <a:ext uri="{FF2B5EF4-FFF2-40B4-BE49-F238E27FC236}">
                <a16:creationId xmlns:a16="http://schemas.microsoft.com/office/drawing/2014/main" id="{42E3C099-6354-4B21-A48F-E638C1388295}"/>
              </a:ext>
            </a:extLst>
          </p:cNvPr>
          <p:cNvSpPr/>
          <p:nvPr/>
        </p:nvSpPr>
        <p:spPr>
          <a:xfrm>
            <a:off x="820152" y="1030652"/>
            <a:ext cx="5039808" cy="241892"/>
          </a:xfrm>
          <a:prstGeom prst="flowChartManualInput">
            <a:avLst/>
          </a:prstGeom>
          <a:solidFill>
            <a:schemeClr val="accent5"/>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defTabSz="912924" rtl="0" eaLnBrk="1" fontAlgn="auto" latinLnBrk="0" hangingPunct="1">
              <a:lnSpc>
                <a:spcPct val="100000"/>
              </a:lnSpc>
              <a:spcBef>
                <a:spcPts val="0"/>
              </a:spcBef>
              <a:spcAft>
                <a:spcPts val="0"/>
              </a:spcAft>
              <a:buClrTx/>
              <a:buSzTx/>
              <a:buFontTx/>
              <a:buNone/>
              <a:tabLst/>
              <a:defRPr/>
            </a:pPr>
            <a:r>
              <a:rPr lang="en-US" sz="1200" b="1">
                <a:solidFill>
                  <a:schemeClr val="bg1"/>
                </a:solidFill>
              </a:rPr>
              <a:t>#7 </a:t>
            </a:r>
            <a:endParaRPr kumimoji="0" lang="en-US" sz="1200" b="1" i="0" u="none" strike="noStrike" kern="1200" cap="none" spc="0" normalizeH="0" baseline="0" noProof="0">
              <a:ln>
                <a:noFill/>
              </a:ln>
              <a:solidFill>
                <a:schemeClr val="bg1"/>
              </a:solidFill>
              <a:effectLst/>
              <a:uLnTx/>
              <a:uFillTx/>
              <a:ea typeface="+mn-ea"/>
              <a:cs typeface="+mn-cs"/>
            </a:endParaRPr>
          </a:p>
        </p:txBody>
      </p:sp>
      <p:cxnSp>
        <p:nvCxnSpPr>
          <p:cNvPr id="112" name="Straight Connector 111">
            <a:extLst>
              <a:ext uri="{FF2B5EF4-FFF2-40B4-BE49-F238E27FC236}">
                <a16:creationId xmlns:a16="http://schemas.microsoft.com/office/drawing/2014/main" id="{950974E1-48AB-4480-A189-CB1050FA9281}"/>
              </a:ext>
            </a:extLst>
          </p:cNvPr>
          <p:cNvCxnSpPr>
            <a:cxnSpLocks/>
          </p:cNvCxnSpPr>
          <p:nvPr/>
        </p:nvCxnSpPr>
        <p:spPr>
          <a:xfrm>
            <a:off x="820153" y="2434008"/>
            <a:ext cx="5074803"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A037CC7C-BCF3-4C4A-8BE1-DCD55E3B0481}"/>
              </a:ext>
            </a:extLst>
          </p:cNvPr>
          <p:cNvSpPr/>
          <p:nvPr/>
        </p:nvSpPr>
        <p:spPr>
          <a:xfrm>
            <a:off x="4197198" y="2479490"/>
            <a:ext cx="1697762" cy="2230897"/>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E8DBF406-D73B-4935-94C0-E3B94DD7649F}"/>
              </a:ext>
            </a:extLst>
          </p:cNvPr>
          <p:cNvSpPr/>
          <p:nvPr/>
        </p:nvSpPr>
        <p:spPr>
          <a:xfrm>
            <a:off x="820152" y="2470636"/>
            <a:ext cx="3263588" cy="2239752"/>
          </a:xfrm>
          <a:prstGeom prst="rect">
            <a:avLst/>
          </a:prstGeom>
          <a:solidFill>
            <a:schemeClr val="bg2">
              <a:lumMod val="9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a:extLst>
              <a:ext uri="{FF2B5EF4-FFF2-40B4-BE49-F238E27FC236}">
                <a16:creationId xmlns:a16="http://schemas.microsoft.com/office/drawing/2014/main" id="{FEBD98EE-32A1-4D71-853C-5AB01618277E}"/>
              </a:ext>
            </a:extLst>
          </p:cNvPr>
          <p:cNvSpPr/>
          <p:nvPr/>
        </p:nvSpPr>
        <p:spPr>
          <a:xfrm>
            <a:off x="820154" y="2479491"/>
            <a:ext cx="3263590"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escription</a:t>
            </a:r>
          </a:p>
        </p:txBody>
      </p:sp>
      <p:sp>
        <p:nvSpPr>
          <p:cNvPr id="116" name="Rectangle 115">
            <a:extLst>
              <a:ext uri="{FF2B5EF4-FFF2-40B4-BE49-F238E27FC236}">
                <a16:creationId xmlns:a16="http://schemas.microsoft.com/office/drawing/2014/main" id="{4D48D9B3-0464-4199-BD4C-EC051A2D50DB}"/>
              </a:ext>
            </a:extLst>
          </p:cNvPr>
          <p:cNvSpPr/>
          <p:nvPr/>
        </p:nvSpPr>
        <p:spPr>
          <a:xfrm>
            <a:off x="820155" y="4805380"/>
            <a:ext cx="5074805" cy="250678"/>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Directly linked strategic data objective</a:t>
            </a:r>
          </a:p>
        </p:txBody>
      </p:sp>
      <p:sp>
        <p:nvSpPr>
          <p:cNvPr id="117" name="TextBox 116">
            <a:extLst>
              <a:ext uri="{FF2B5EF4-FFF2-40B4-BE49-F238E27FC236}">
                <a16:creationId xmlns:a16="http://schemas.microsoft.com/office/drawing/2014/main" id="{7B04DA73-87BC-4DD5-BCC6-A743E7BA8003}"/>
              </a:ext>
            </a:extLst>
          </p:cNvPr>
          <p:cNvSpPr txBox="1"/>
          <p:nvPr/>
        </p:nvSpPr>
        <p:spPr>
          <a:xfrm>
            <a:off x="820155" y="2721383"/>
            <a:ext cx="3263589" cy="1546577"/>
          </a:xfrm>
          <a:prstGeom prst="rect">
            <a:avLst/>
          </a:prstGeom>
          <a:noFill/>
          <a:ln>
            <a:noFill/>
          </a:ln>
        </p:spPr>
        <p:txBody>
          <a:bodyPr wrap="square" lIns="0" rIns="0" rtlCol="0" anchor="t" anchorCtr="0">
            <a:spAutoFit/>
          </a:bodyPr>
          <a:lstStyle>
            <a:defPPr>
              <a:defRPr lang="nl-NL"/>
            </a:defPPr>
            <a:lvl1pPr marL="285750" indent="-285750">
              <a:buFont typeface="Arial" panose="020B0604020202020204" pitchFamily="34" charset="0"/>
              <a:buChar char="•"/>
              <a:defRPr sz="1200"/>
            </a:lvl1pPr>
          </a:lstStyle>
          <a:p>
            <a:pPr marL="85725" indent="0">
              <a:buNone/>
            </a:pPr>
            <a:r>
              <a:rPr lang="en-US" sz="1050"/>
              <a:t>Our clients are a part of our ESG story and we make sure that they understand the </a:t>
            </a:r>
            <a:r>
              <a:rPr lang="en-US" sz="1050" b="1"/>
              <a:t>ESG goals we are committed to achieve with our three strategic pillars </a:t>
            </a:r>
            <a:r>
              <a:rPr lang="en-US" sz="1050"/>
              <a:t>– ESG integration, active ownership and solutions - by providing them access to ESG data &amp; analytics in our client reporting. As an integral part of our investment decisions, we enable our clients to understand the </a:t>
            </a:r>
            <a:r>
              <a:rPr lang="en-US" sz="1050" b="1"/>
              <a:t>material impact/contribution of their investments as well as how we calculate and monitor this impact</a:t>
            </a:r>
            <a:r>
              <a:rPr lang="en-US" sz="1050"/>
              <a:t>.</a:t>
            </a:r>
          </a:p>
        </p:txBody>
      </p:sp>
      <p:sp>
        <p:nvSpPr>
          <p:cNvPr id="118" name="Rectangle 117">
            <a:extLst>
              <a:ext uri="{FF2B5EF4-FFF2-40B4-BE49-F238E27FC236}">
                <a16:creationId xmlns:a16="http://schemas.microsoft.com/office/drawing/2014/main" id="{1D504420-2DFC-473E-80E4-EBD2ACC1BB1B}"/>
              </a:ext>
            </a:extLst>
          </p:cNvPr>
          <p:cNvSpPr/>
          <p:nvPr/>
        </p:nvSpPr>
        <p:spPr>
          <a:xfrm>
            <a:off x="4197198" y="2485699"/>
            <a:ext cx="1697762" cy="242224"/>
          </a:xfrm>
          <a:prstGeom prst="rect">
            <a:avLst/>
          </a:prstGeom>
          <a:solidFill>
            <a:schemeClr val="bg1">
              <a:lumMod val="85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algn="ctr">
              <a:lnSpc>
                <a:spcPct val="110000"/>
              </a:lnSpc>
            </a:pPr>
            <a:r>
              <a:rPr lang="en-US" sz="1100" b="1" kern="0"/>
              <a:t>Focus Areas</a:t>
            </a:r>
          </a:p>
        </p:txBody>
      </p:sp>
      <p:sp>
        <p:nvSpPr>
          <p:cNvPr id="119" name="TextBox 118">
            <a:extLst>
              <a:ext uri="{FF2B5EF4-FFF2-40B4-BE49-F238E27FC236}">
                <a16:creationId xmlns:a16="http://schemas.microsoft.com/office/drawing/2014/main" id="{919094D0-9F08-4356-8F79-4974BEB34842}"/>
              </a:ext>
            </a:extLst>
          </p:cNvPr>
          <p:cNvSpPr txBox="1"/>
          <p:nvPr/>
        </p:nvSpPr>
        <p:spPr>
          <a:xfrm>
            <a:off x="4197197" y="2687221"/>
            <a:ext cx="1697763" cy="1107996"/>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r>
              <a:rPr lang="en-US"/>
              <a:t>Client reporting</a:t>
            </a:r>
          </a:p>
          <a:p>
            <a:r>
              <a:rPr lang="en-US"/>
              <a:t>ESG rating/categorization approach</a:t>
            </a:r>
          </a:p>
          <a:p>
            <a:r>
              <a:rPr lang="en-US"/>
              <a:t>Structured ESG data</a:t>
            </a:r>
          </a:p>
          <a:p>
            <a:endParaRPr lang="en-US"/>
          </a:p>
        </p:txBody>
      </p:sp>
      <p:pic>
        <p:nvPicPr>
          <p:cNvPr id="120" name="Graphic 119" descr="Teacher">
            <a:extLst>
              <a:ext uri="{FF2B5EF4-FFF2-40B4-BE49-F238E27FC236}">
                <a16:creationId xmlns:a16="http://schemas.microsoft.com/office/drawing/2014/main" id="{527E1087-4796-4A02-A69B-799C2A6486E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5148" y="2463057"/>
            <a:ext cx="278249" cy="283305"/>
          </a:xfrm>
          <a:prstGeom prst="rect">
            <a:avLst/>
          </a:prstGeom>
        </p:spPr>
      </p:pic>
      <p:pic>
        <p:nvPicPr>
          <p:cNvPr id="121" name="Graphic 120" descr="Puzzle pieces">
            <a:extLst>
              <a:ext uri="{FF2B5EF4-FFF2-40B4-BE49-F238E27FC236}">
                <a16:creationId xmlns:a16="http://schemas.microsoft.com/office/drawing/2014/main" id="{C3AF2B23-D128-48DB-B380-42F2EDABD5F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5148" y="4830578"/>
            <a:ext cx="235691" cy="208062"/>
          </a:xfrm>
          <a:prstGeom prst="rect">
            <a:avLst/>
          </a:prstGeom>
        </p:spPr>
      </p:pic>
      <p:pic>
        <p:nvPicPr>
          <p:cNvPr id="122" name="Graphic 121" descr="Target outline">
            <a:extLst>
              <a:ext uri="{FF2B5EF4-FFF2-40B4-BE49-F238E27FC236}">
                <a16:creationId xmlns:a16="http://schemas.microsoft.com/office/drawing/2014/main" id="{3F86F842-B2E5-4EFF-969B-6A78B763EFA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06233" y="2470636"/>
            <a:ext cx="271132" cy="276060"/>
          </a:xfrm>
          <a:prstGeom prst="rect">
            <a:avLst/>
          </a:prstGeom>
        </p:spPr>
      </p:pic>
      <p:pic>
        <p:nvPicPr>
          <p:cNvPr id="124" name="Graphic 123" descr="Map compass with solid fill">
            <a:extLst>
              <a:ext uri="{FF2B5EF4-FFF2-40B4-BE49-F238E27FC236}">
                <a16:creationId xmlns:a16="http://schemas.microsoft.com/office/drawing/2014/main" id="{3B9AB3ED-1C86-48E7-81A5-000B4A14658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84788" y="1006021"/>
            <a:ext cx="283145" cy="283145"/>
          </a:xfrm>
          <a:prstGeom prst="rect">
            <a:avLst/>
          </a:prstGeom>
        </p:spPr>
      </p:pic>
      <p:pic>
        <p:nvPicPr>
          <p:cNvPr id="125" name="Picture 124">
            <a:extLst>
              <a:ext uri="{FF2B5EF4-FFF2-40B4-BE49-F238E27FC236}">
                <a16:creationId xmlns:a16="http://schemas.microsoft.com/office/drawing/2014/main" id="{C8A9CB8F-7229-4CBE-9554-D798A1219276}"/>
              </a:ext>
            </a:extLst>
          </p:cNvPr>
          <p:cNvPicPr>
            <a:picLocks noChangeAspect="1"/>
          </p:cNvPicPr>
          <p:nvPr/>
        </p:nvPicPr>
        <p:blipFill>
          <a:blip r:embed="rId10"/>
          <a:stretch>
            <a:fillRect/>
          </a:stretch>
        </p:blipFill>
        <p:spPr>
          <a:xfrm>
            <a:off x="10853731" y="68995"/>
            <a:ext cx="1183414" cy="552971"/>
          </a:xfrm>
          <a:prstGeom prst="rect">
            <a:avLst/>
          </a:prstGeom>
        </p:spPr>
      </p:pic>
      <p:sp>
        <p:nvSpPr>
          <p:cNvPr id="126" name="Rectangle 125">
            <a:extLst>
              <a:ext uri="{FF2B5EF4-FFF2-40B4-BE49-F238E27FC236}">
                <a16:creationId xmlns:a16="http://schemas.microsoft.com/office/drawing/2014/main" id="{BAAF2B5B-161E-409E-BBEA-74708AB462FB}"/>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27" name="Graphic 126" descr="Map compass with solid fill">
            <a:extLst>
              <a:ext uri="{FF2B5EF4-FFF2-40B4-BE49-F238E27FC236}">
                <a16:creationId xmlns:a16="http://schemas.microsoft.com/office/drawing/2014/main" id="{A85C86F4-F6D5-4863-9C59-68AEFC41598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299641" y="6240666"/>
            <a:ext cx="468000" cy="468000"/>
          </a:xfrm>
          <a:prstGeom prst="rect">
            <a:avLst/>
          </a:prstGeom>
        </p:spPr>
      </p:pic>
      <p:pic>
        <p:nvPicPr>
          <p:cNvPr id="128" name="Graphic 127" descr="Home with solid fill">
            <a:extLst>
              <a:ext uri="{FF2B5EF4-FFF2-40B4-BE49-F238E27FC236}">
                <a16:creationId xmlns:a16="http://schemas.microsoft.com/office/drawing/2014/main" id="{E5D3403C-779C-4696-90EA-1D27CE92821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0823" y="6240666"/>
            <a:ext cx="468000" cy="468000"/>
          </a:xfrm>
          <a:prstGeom prst="rect">
            <a:avLst/>
          </a:prstGeom>
        </p:spPr>
      </p:pic>
      <p:sp>
        <p:nvSpPr>
          <p:cNvPr id="129" name="TextBox 128">
            <a:extLst>
              <a:ext uri="{FF2B5EF4-FFF2-40B4-BE49-F238E27FC236}">
                <a16:creationId xmlns:a16="http://schemas.microsoft.com/office/drawing/2014/main" id="{F8607949-3639-4822-A0EB-E34D93FF8BEF}"/>
              </a:ext>
            </a:extLst>
          </p:cNvPr>
          <p:cNvSpPr txBox="1"/>
          <p:nvPr/>
        </p:nvSpPr>
        <p:spPr>
          <a:xfrm>
            <a:off x="1241268" y="6259223"/>
            <a:ext cx="1828503"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Foundational data princip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0" name="TextBox 129">
            <a:extLst>
              <a:ext uri="{FF2B5EF4-FFF2-40B4-BE49-F238E27FC236}">
                <a16:creationId xmlns:a16="http://schemas.microsoft.com/office/drawing/2014/main" id="{AF396E03-ABD2-4AAD-B1D0-E659BF388CF6}"/>
              </a:ext>
            </a:extLst>
          </p:cNvPr>
          <p:cNvSpPr txBox="1"/>
          <p:nvPr/>
        </p:nvSpPr>
        <p:spPr>
          <a:xfrm>
            <a:off x="3767641" y="6259223"/>
            <a:ext cx="1828503" cy="430887"/>
          </a:xfrm>
          <a:prstGeom prst="rect">
            <a:avLst/>
          </a:prstGeom>
          <a:noFill/>
          <a:ln>
            <a:noFill/>
          </a:ln>
        </p:spPr>
        <p:txBody>
          <a:bodyPr wrap="square" lIns="0" rIns="0" rtlCol="0" anchor="t" anchorCtr="0">
            <a:spAutoFit/>
          </a:bodyPr>
          <a:lstStyle>
            <a:defPPr>
              <a:defRPr lang="en-US"/>
            </a:defPPr>
            <a:lvl1pPr marL="266700" indent="-180975">
              <a:buFont typeface="Arial" panose="020B0604020202020204" pitchFamily="34" charset="0"/>
              <a:buChar char="•"/>
              <a:defRPr sz="1100"/>
            </a:lvl1pPr>
          </a:lstStyle>
          <a:p>
            <a:pPr marL="8572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Analytics aspiration principle</a:t>
            </a:r>
          </a:p>
          <a:p>
            <a:pPr marL="266700"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65205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D08B111E-14B4-4079-9B1F-61D9FCDF947A}"/>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l="11991" r="11991"/>
          <a:stretch>
            <a:fillRect/>
          </a:stretch>
        </p:blipFill>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a:lstStyle/>
          <a:p>
            <a:r>
              <a:rPr lang="en-US"/>
              <a:t>Key Use Cases</a:t>
            </a:r>
            <a:endParaRPr lang="nl-NL"/>
          </a:p>
        </p:txBody>
      </p:sp>
      <p:sp>
        <p:nvSpPr>
          <p:cNvPr id="4" name="Text Placeholder 3">
            <a:extLst>
              <a:ext uri="{FF2B5EF4-FFF2-40B4-BE49-F238E27FC236}">
                <a16:creationId xmlns:a16="http://schemas.microsoft.com/office/drawing/2014/main" id="{4465BC45-AA7C-4490-BFD0-C33888A744F3}"/>
              </a:ext>
            </a:extLst>
          </p:cNvPr>
          <p:cNvSpPr>
            <a:spLocks noGrp="1"/>
          </p:cNvSpPr>
          <p:nvPr>
            <p:ph type="body" sz="quarter" idx="13"/>
          </p:nvPr>
        </p:nvSpPr>
        <p:spPr/>
        <p:txBody>
          <a:bodyPr/>
          <a:lstStyle/>
          <a:p>
            <a:r>
              <a:rPr lang="en-US">
                <a:highlight>
                  <a:srgbClr val="FFFF00"/>
                </a:highlight>
              </a:rPr>
              <a:t>WIP</a:t>
            </a:r>
            <a:endParaRPr lang="nl-NL">
              <a:highlight>
                <a:srgbClr val="FFFF00"/>
              </a:highlight>
            </a:endParaRPr>
          </a:p>
        </p:txBody>
      </p:sp>
      <p:sp>
        <p:nvSpPr>
          <p:cNvPr id="7" name="Rectangle 6">
            <a:extLst>
              <a:ext uri="{FF2B5EF4-FFF2-40B4-BE49-F238E27FC236}">
                <a16:creationId xmlns:a16="http://schemas.microsoft.com/office/drawing/2014/main" id="{67EA5EEA-0EFF-4F28-9E2A-CD1C8C011F6F}"/>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9EBB405E-FF81-43C8-BCB1-0517B47EB378}"/>
              </a:ext>
            </a:extLst>
          </p:cNvPr>
          <p:cNvPicPr>
            <a:picLocks noChangeAspect="1"/>
          </p:cNvPicPr>
          <p:nvPr/>
        </p:nvPicPr>
        <p:blipFill>
          <a:blip r:embed="rId3"/>
          <a:stretch>
            <a:fillRect/>
          </a:stretch>
        </p:blipFill>
        <p:spPr>
          <a:xfrm>
            <a:off x="10853730" y="89660"/>
            <a:ext cx="1183415" cy="552969"/>
          </a:xfrm>
          <a:prstGeom prst="rect">
            <a:avLst/>
          </a:prstGeom>
        </p:spPr>
      </p:pic>
    </p:spTree>
    <p:extLst>
      <p:ext uri="{BB962C8B-B14F-4D97-AF65-F5344CB8AC3E}">
        <p14:creationId xmlns:p14="http://schemas.microsoft.com/office/powerpoint/2010/main" val="26521188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2E6B3-D94B-41EE-A870-4B7BA971A73C}"/>
              </a:ext>
            </a:extLst>
          </p:cNvPr>
          <p:cNvGraphicFramePr>
            <a:graphicFrameLocks noChangeAspect="1"/>
          </p:cNvGraphicFramePr>
          <p:nvPr>
            <p:custDataLst>
              <p:tags r:id="rId1"/>
            </p:custDataLst>
          </p:nvPr>
        </p:nvGraphicFramePr>
        <p:xfrm>
          <a:off x="1435" y="1614"/>
          <a:ext cx="1435" cy="1435"/>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1E62E6B3-D94B-41EE-A870-4B7BA971A73C}"/>
                          </a:ext>
                        </a:extLst>
                      </p:cNvPr>
                      <p:cNvPicPr/>
                      <p:nvPr/>
                    </p:nvPicPr>
                    <p:blipFill>
                      <a:blip r:embed="rId6"/>
                      <a:stretch>
                        <a:fillRect/>
                      </a:stretch>
                    </p:blipFill>
                    <p:spPr>
                      <a:xfrm>
                        <a:off x="1435" y="1614"/>
                        <a:ext cx="1435" cy="14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B0B550-D3E7-4BED-A278-0427ABEB385F}"/>
              </a:ext>
            </a:extLst>
          </p:cNvPr>
          <p:cNvSpPr/>
          <p:nvPr>
            <p:custDataLst>
              <p:tags r:id="rId2"/>
            </p:custDataLst>
          </p:nvPr>
        </p:nvSpPr>
        <p:spPr bwMode="auto">
          <a:xfrm>
            <a:off x="0" y="179"/>
            <a:ext cx="143435" cy="143435"/>
          </a:xfrm>
          <a:prstGeom prst="rect">
            <a:avLst/>
          </a:prstGeom>
          <a:no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20825" rtl="0" eaLnBrk="1" fontAlgn="base" latinLnBrk="0" hangingPunct="1">
              <a:lnSpc>
                <a:spcPct val="100000"/>
              </a:lnSpc>
              <a:spcBef>
                <a:spcPct val="0"/>
              </a:spcBef>
              <a:spcAft>
                <a:spcPct val="0"/>
              </a:spcAft>
              <a:buClrTx/>
              <a:buSzTx/>
              <a:buFontTx/>
              <a:buNone/>
              <a:tabLst/>
              <a:defRPr/>
            </a:pPr>
            <a:endParaRPr kumimoji="0" lang="en-US" sz="1625" b="0" i="0" u="none" strike="noStrike" kern="1200" cap="none" spc="0" normalizeH="0" baseline="0" noProof="0">
              <a:ln>
                <a:noFill/>
              </a:ln>
              <a:solidFill>
                <a:srgbClr val="2E2E38"/>
              </a:solidFill>
              <a:effectLst/>
              <a:uLnTx/>
              <a:uFillTx/>
              <a:latin typeface="Corbel" panose="020B0503020204020204" pitchFamily="34" charset="0"/>
              <a:ea typeface="+mn-ea"/>
              <a:cs typeface="+mn-cs"/>
              <a:sym typeface="EYInterstate Light" panose="02000506000000020004" pitchFamily="2" charset="0"/>
            </a:endParaRPr>
          </a:p>
        </p:txBody>
      </p:sp>
      <p:sp>
        <p:nvSpPr>
          <p:cNvPr id="94" name="Rectangle 93">
            <a:extLst>
              <a:ext uri="{FF2B5EF4-FFF2-40B4-BE49-F238E27FC236}">
                <a16:creationId xmlns:a16="http://schemas.microsoft.com/office/drawing/2014/main" id="{4468A3D8-52AF-465D-B6D3-F79ECB5FF525}"/>
              </a:ext>
            </a:extLst>
          </p:cNvPr>
          <p:cNvSpPr>
            <a:spLocks/>
          </p:cNvSpPr>
          <p:nvPr/>
        </p:nvSpPr>
        <p:spPr bwMode="gray">
          <a:xfrm>
            <a:off x="6245533" y="4450870"/>
            <a:ext cx="5220488" cy="2004776"/>
          </a:xfrm>
          <a:prstGeom prst="rect">
            <a:avLst/>
          </a:prstGeom>
          <a:no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542"/>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p:txBody>
      </p:sp>
      <p:sp>
        <p:nvSpPr>
          <p:cNvPr id="95" name="Round Same Side Corner Rectangle 24">
            <a:extLst>
              <a:ext uri="{FF2B5EF4-FFF2-40B4-BE49-F238E27FC236}">
                <a16:creationId xmlns:a16="http://schemas.microsoft.com/office/drawing/2014/main" id="{A94FDBBF-F202-4FBD-B852-DACB6771B663}"/>
              </a:ext>
            </a:extLst>
          </p:cNvPr>
          <p:cNvSpPr>
            <a:spLocks/>
          </p:cNvSpPr>
          <p:nvPr/>
        </p:nvSpPr>
        <p:spPr bwMode="gray">
          <a:xfrm>
            <a:off x="623321" y="4394257"/>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Use case heatmap</a:t>
            </a:r>
          </a:p>
        </p:txBody>
      </p:sp>
      <p:sp>
        <p:nvSpPr>
          <p:cNvPr id="99" name="Title 5">
            <a:extLst>
              <a:ext uri="{FF2B5EF4-FFF2-40B4-BE49-F238E27FC236}">
                <a16:creationId xmlns:a16="http://schemas.microsoft.com/office/drawing/2014/main" id="{D4BD80A2-2B39-4D6F-A68C-4E63F7CDD251}"/>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69B4"/>
                </a:solidFill>
                <a:effectLst/>
                <a:uLnTx/>
                <a:uFillTx/>
                <a:latin typeface="Calibri Light" panose="020F0302020204030204"/>
                <a:ea typeface="+mj-ea"/>
                <a:cs typeface="+mj-cs"/>
              </a:rPr>
              <a:t>Use Cases for Data Objective 1 (1/4) </a:t>
            </a:r>
          </a:p>
        </p:txBody>
      </p:sp>
      <p:grpSp>
        <p:nvGrpSpPr>
          <p:cNvPr id="100" name="Group 99">
            <a:extLst>
              <a:ext uri="{FF2B5EF4-FFF2-40B4-BE49-F238E27FC236}">
                <a16:creationId xmlns:a16="http://schemas.microsoft.com/office/drawing/2014/main" id="{41F40199-CFC5-49C7-9251-0989C9772F7F}"/>
              </a:ext>
            </a:extLst>
          </p:cNvPr>
          <p:cNvGrpSpPr/>
          <p:nvPr/>
        </p:nvGrpSpPr>
        <p:grpSpPr>
          <a:xfrm>
            <a:off x="1800885" y="4724270"/>
            <a:ext cx="2549874" cy="1938566"/>
            <a:chOff x="12687534" y="4543604"/>
            <a:chExt cx="2549874" cy="1938566"/>
          </a:xfrm>
        </p:grpSpPr>
        <p:sp>
          <p:nvSpPr>
            <p:cNvPr id="103" name="Rectangle 102">
              <a:extLst>
                <a:ext uri="{FF2B5EF4-FFF2-40B4-BE49-F238E27FC236}">
                  <a16:creationId xmlns:a16="http://schemas.microsoft.com/office/drawing/2014/main" id="{06C7632F-F35F-4919-8409-62C8D784AB9A}"/>
                </a:ext>
              </a:extLst>
            </p:cNvPr>
            <p:cNvSpPr>
              <a:spLocks/>
            </p:cNvSpPr>
            <p:nvPr/>
          </p:nvSpPr>
          <p:spPr bwMode="gray">
            <a:xfrm>
              <a:off x="12687534" y="4543604"/>
              <a:ext cx="2549874" cy="1938566"/>
            </a:xfrm>
            <a:prstGeom prst="rect">
              <a:avLst/>
            </a:prstGeom>
            <a:solidFill>
              <a:srgbClr val="FFFFFF"/>
            </a:solidFill>
            <a:ln w="19050">
              <a:solidFill>
                <a:schemeClr val="bg1"/>
              </a:solidFill>
            </a:ln>
          </p:spPr>
          <p:txBody>
            <a:bodyPr wrap="square" lIns="65054" tIns="65054" rIns="65054" bIns="65054">
              <a:noAutofit/>
            </a:bodyPr>
            <a:lstStyle/>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p:txBody>
        </p:sp>
        <p:cxnSp>
          <p:nvCxnSpPr>
            <p:cNvPr id="104" name="Straight Connector 103">
              <a:extLst>
                <a:ext uri="{FF2B5EF4-FFF2-40B4-BE49-F238E27FC236}">
                  <a16:creationId xmlns:a16="http://schemas.microsoft.com/office/drawing/2014/main" id="{E667AF1C-FF61-4B5A-9FD7-13F0775D0D4D}"/>
                </a:ext>
              </a:extLst>
            </p:cNvPr>
            <p:cNvCxnSpPr>
              <a:cxnSpLocks/>
            </p:cNvCxnSpPr>
            <p:nvPr/>
          </p:nvCxnSpPr>
          <p:spPr>
            <a:xfrm flipV="1">
              <a:off x="13328368" y="5080542"/>
              <a:ext cx="1621280" cy="1"/>
            </a:xfrm>
            <a:prstGeom prst="line">
              <a:avLst/>
            </a:prstGeom>
            <a:noFill/>
            <a:ln w="3175" cap="flat" cmpd="sng" algn="ctr">
              <a:solidFill>
                <a:schemeClr val="bg1">
                  <a:lumMod val="85000"/>
                </a:schemeClr>
              </a:solidFill>
              <a:prstDash val="dash"/>
              <a:tailEnd type="none"/>
            </a:ln>
            <a:effectLst/>
          </p:spPr>
        </p:cxnSp>
        <p:cxnSp>
          <p:nvCxnSpPr>
            <p:cNvPr id="105" name="Straight Connector 104">
              <a:extLst>
                <a:ext uri="{FF2B5EF4-FFF2-40B4-BE49-F238E27FC236}">
                  <a16:creationId xmlns:a16="http://schemas.microsoft.com/office/drawing/2014/main" id="{5705939A-76CE-4C5E-9AD5-E367651A4E8E}"/>
                </a:ext>
              </a:extLst>
            </p:cNvPr>
            <p:cNvCxnSpPr>
              <a:cxnSpLocks/>
            </p:cNvCxnSpPr>
            <p:nvPr/>
          </p:nvCxnSpPr>
          <p:spPr>
            <a:xfrm flipV="1">
              <a:off x="13879871" y="4673063"/>
              <a:ext cx="0" cy="1214603"/>
            </a:xfrm>
            <a:prstGeom prst="line">
              <a:avLst/>
            </a:prstGeom>
            <a:noFill/>
            <a:ln w="3175" cap="flat" cmpd="sng" algn="ctr">
              <a:solidFill>
                <a:schemeClr val="bg1">
                  <a:lumMod val="85000"/>
                </a:schemeClr>
              </a:solidFill>
              <a:prstDash val="dash"/>
              <a:tailEnd type="none"/>
            </a:ln>
            <a:effectLst/>
          </p:spPr>
        </p:cxnSp>
        <p:cxnSp>
          <p:nvCxnSpPr>
            <p:cNvPr id="106" name="Straight Connector 105">
              <a:extLst>
                <a:ext uri="{FF2B5EF4-FFF2-40B4-BE49-F238E27FC236}">
                  <a16:creationId xmlns:a16="http://schemas.microsoft.com/office/drawing/2014/main" id="{34C4E1FB-9835-4007-AFA1-36CAD90BE309}"/>
                </a:ext>
              </a:extLst>
            </p:cNvPr>
            <p:cNvCxnSpPr>
              <a:cxnSpLocks/>
            </p:cNvCxnSpPr>
            <p:nvPr/>
          </p:nvCxnSpPr>
          <p:spPr>
            <a:xfrm flipV="1">
              <a:off x="14436281" y="4673062"/>
              <a:ext cx="0" cy="1214603"/>
            </a:xfrm>
            <a:prstGeom prst="line">
              <a:avLst/>
            </a:prstGeom>
            <a:noFill/>
            <a:ln w="3175" cap="flat" cmpd="sng" algn="ctr">
              <a:solidFill>
                <a:schemeClr val="bg1">
                  <a:lumMod val="85000"/>
                </a:schemeClr>
              </a:solidFill>
              <a:prstDash val="dash"/>
              <a:tailEnd type="none"/>
            </a:ln>
            <a:effectLst/>
          </p:spPr>
        </p:cxnSp>
        <p:cxnSp>
          <p:nvCxnSpPr>
            <p:cNvPr id="107" name="Straight Connector 106">
              <a:extLst>
                <a:ext uri="{FF2B5EF4-FFF2-40B4-BE49-F238E27FC236}">
                  <a16:creationId xmlns:a16="http://schemas.microsoft.com/office/drawing/2014/main" id="{7098696C-574E-4FC7-8D74-D1297812B1FA}"/>
                </a:ext>
              </a:extLst>
            </p:cNvPr>
            <p:cNvCxnSpPr>
              <a:cxnSpLocks/>
            </p:cNvCxnSpPr>
            <p:nvPr/>
          </p:nvCxnSpPr>
          <p:spPr>
            <a:xfrm flipV="1">
              <a:off x="13352428" y="5483833"/>
              <a:ext cx="1621280" cy="1"/>
            </a:xfrm>
            <a:prstGeom prst="line">
              <a:avLst/>
            </a:prstGeom>
            <a:noFill/>
            <a:ln w="3175" cap="flat" cmpd="sng" algn="ctr">
              <a:solidFill>
                <a:schemeClr val="bg1">
                  <a:lumMod val="85000"/>
                </a:schemeClr>
              </a:solidFill>
              <a:prstDash val="dash"/>
              <a:tailEnd type="none"/>
            </a:ln>
            <a:effectLst/>
          </p:spPr>
        </p:cxnSp>
        <p:cxnSp>
          <p:nvCxnSpPr>
            <p:cNvPr id="108" name="Straight Arrow Connector 107">
              <a:extLst>
                <a:ext uri="{FF2B5EF4-FFF2-40B4-BE49-F238E27FC236}">
                  <a16:creationId xmlns:a16="http://schemas.microsoft.com/office/drawing/2014/main" id="{BC0CAC76-5B02-451A-B11D-625E85D7BD18}"/>
                </a:ext>
              </a:extLst>
            </p:cNvPr>
            <p:cNvCxnSpPr>
              <a:cxnSpLocks/>
            </p:cNvCxnSpPr>
            <p:nvPr/>
          </p:nvCxnSpPr>
          <p:spPr>
            <a:xfrm flipV="1">
              <a:off x="13328368" y="4590630"/>
              <a:ext cx="0" cy="1301082"/>
            </a:xfrm>
            <a:prstGeom prst="straightConnector1">
              <a:avLst/>
            </a:prstGeom>
            <a:noFill/>
            <a:ln w="15875" cap="flat" cmpd="sng" algn="ctr">
              <a:solidFill>
                <a:srgbClr val="000000"/>
              </a:solidFill>
              <a:prstDash val="solid"/>
              <a:tailEnd type="triangle"/>
            </a:ln>
            <a:effectLst/>
          </p:spPr>
        </p:cxnSp>
        <p:cxnSp>
          <p:nvCxnSpPr>
            <p:cNvPr id="109" name="Straight Arrow Connector 108">
              <a:extLst>
                <a:ext uri="{FF2B5EF4-FFF2-40B4-BE49-F238E27FC236}">
                  <a16:creationId xmlns:a16="http://schemas.microsoft.com/office/drawing/2014/main" id="{FAFF1AEF-55A2-4F06-A5BD-A1A9ABFAE678}"/>
                </a:ext>
              </a:extLst>
            </p:cNvPr>
            <p:cNvCxnSpPr>
              <a:cxnSpLocks/>
            </p:cNvCxnSpPr>
            <p:nvPr/>
          </p:nvCxnSpPr>
          <p:spPr>
            <a:xfrm>
              <a:off x="13328368" y="5888245"/>
              <a:ext cx="1724766" cy="0"/>
            </a:xfrm>
            <a:prstGeom prst="straightConnector1">
              <a:avLst/>
            </a:prstGeom>
            <a:noFill/>
            <a:ln w="15875" cap="flat" cmpd="sng" algn="ctr">
              <a:solidFill>
                <a:srgbClr val="000000"/>
              </a:solidFill>
              <a:prstDash val="solid"/>
              <a:tailEnd type="triangle"/>
            </a:ln>
            <a:effectLst/>
          </p:spPr>
        </p:cxnSp>
        <p:sp>
          <p:nvSpPr>
            <p:cNvPr id="110" name="TextBox 109">
              <a:extLst>
                <a:ext uri="{FF2B5EF4-FFF2-40B4-BE49-F238E27FC236}">
                  <a16:creationId xmlns:a16="http://schemas.microsoft.com/office/drawing/2014/main" id="{E11355B9-E41F-4BE5-B155-5C0BE477A02F}"/>
                </a:ext>
              </a:extLst>
            </p:cNvPr>
            <p:cNvSpPr txBox="1"/>
            <p:nvPr/>
          </p:nvSpPr>
          <p:spPr>
            <a:xfrm>
              <a:off x="13270056" y="6054218"/>
              <a:ext cx="1798714" cy="382376"/>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dirty="0">
                  <a:ln>
                    <a:noFill/>
                  </a:ln>
                  <a:solidFill>
                    <a:srgbClr val="2E2E38"/>
                  </a:solidFill>
                  <a:effectLst/>
                  <a:uLnTx/>
                  <a:uFillTx/>
                  <a:latin typeface="Calibri" panose="020F0502020204030204"/>
                  <a:ea typeface="+mn-ea"/>
                  <a:cs typeface="+mn-cs"/>
                </a:rPr>
                <a:t>Ease of implementation</a:t>
              </a:r>
            </a:p>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dirty="0">
                  <a:ln>
                    <a:noFill/>
                  </a:ln>
                  <a:solidFill>
                    <a:srgbClr val="2E2E38"/>
                  </a:solidFill>
                  <a:effectLst/>
                  <a:uLnTx/>
                  <a:uFillTx/>
                  <a:latin typeface="Calibri" panose="020F0502020204030204"/>
                  <a:ea typeface="+mn-ea"/>
                  <a:cs typeface="+mn-cs"/>
                </a:rPr>
                <a:t> </a:t>
              </a:r>
              <a:r>
                <a:rPr kumimoji="0" lang="en-US" sz="1084" b="0" i="1" u="none" strike="noStrike" kern="1200" cap="none" spc="0" normalizeH="0" baseline="0" noProof="0" dirty="0">
                  <a:ln>
                    <a:noFill/>
                  </a:ln>
                  <a:solidFill>
                    <a:srgbClr val="2E2E38"/>
                  </a:solidFill>
                  <a:effectLst/>
                  <a:uLnTx/>
                  <a:uFillTx/>
                  <a:latin typeface="Calibri" panose="020F0502020204030204"/>
                  <a:ea typeface="+mn-ea"/>
                  <a:cs typeface="+mn-cs"/>
                </a:rPr>
                <a:t>(effort level)</a:t>
              </a:r>
            </a:p>
          </p:txBody>
        </p:sp>
        <p:sp>
          <p:nvSpPr>
            <p:cNvPr id="111" name="TextBox 110">
              <a:extLst>
                <a:ext uri="{FF2B5EF4-FFF2-40B4-BE49-F238E27FC236}">
                  <a16:creationId xmlns:a16="http://schemas.microsoft.com/office/drawing/2014/main" id="{81C9371D-17A4-404B-BE7D-47006311B43D}"/>
                </a:ext>
              </a:extLst>
            </p:cNvPr>
            <p:cNvSpPr txBox="1"/>
            <p:nvPr/>
          </p:nvSpPr>
          <p:spPr>
            <a:xfrm rot="16200000">
              <a:off x="12288481" y="5133476"/>
              <a:ext cx="1333177"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Impact</a:t>
              </a:r>
            </a:p>
          </p:txBody>
        </p:sp>
        <p:sp>
          <p:nvSpPr>
            <p:cNvPr id="112" name="TextBox 111">
              <a:extLst>
                <a:ext uri="{FF2B5EF4-FFF2-40B4-BE49-F238E27FC236}">
                  <a16:creationId xmlns:a16="http://schemas.microsoft.com/office/drawing/2014/main" id="{93E6892B-432A-42CA-A3F7-9A50D8DB185A}"/>
                </a:ext>
              </a:extLst>
            </p:cNvPr>
            <p:cNvSpPr txBox="1"/>
            <p:nvPr/>
          </p:nvSpPr>
          <p:spPr>
            <a:xfrm>
              <a:off x="13070774" y="556977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13" name="TextBox 112">
              <a:extLst>
                <a:ext uri="{FF2B5EF4-FFF2-40B4-BE49-F238E27FC236}">
                  <a16:creationId xmlns:a16="http://schemas.microsoft.com/office/drawing/2014/main" id="{FFF64B40-3380-40B2-982B-9DCF68CDBBA5}"/>
                </a:ext>
              </a:extLst>
            </p:cNvPr>
            <p:cNvSpPr txBox="1"/>
            <p:nvPr/>
          </p:nvSpPr>
          <p:spPr>
            <a:xfrm>
              <a:off x="13070774" y="5118658"/>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114" name="TextBox 113">
              <a:extLst>
                <a:ext uri="{FF2B5EF4-FFF2-40B4-BE49-F238E27FC236}">
                  <a16:creationId xmlns:a16="http://schemas.microsoft.com/office/drawing/2014/main" id="{E7761BFD-1E21-4BCE-BB16-D2CB759B1EE6}"/>
                </a:ext>
              </a:extLst>
            </p:cNvPr>
            <p:cNvSpPr txBox="1"/>
            <p:nvPr/>
          </p:nvSpPr>
          <p:spPr>
            <a:xfrm>
              <a:off x="13070774" y="468419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sp>
          <p:nvSpPr>
            <p:cNvPr id="116" name="TextBox 115">
              <a:extLst>
                <a:ext uri="{FF2B5EF4-FFF2-40B4-BE49-F238E27FC236}">
                  <a16:creationId xmlns:a16="http://schemas.microsoft.com/office/drawing/2014/main" id="{2AB08CF4-B21E-4265-B7A4-0D086E37B046}"/>
                </a:ext>
              </a:extLst>
            </p:cNvPr>
            <p:cNvSpPr txBox="1"/>
            <p:nvPr/>
          </p:nvSpPr>
          <p:spPr>
            <a:xfrm>
              <a:off x="13430519"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17" name="TextBox 116">
              <a:extLst>
                <a:ext uri="{FF2B5EF4-FFF2-40B4-BE49-F238E27FC236}">
                  <a16:creationId xmlns:a16="http://schemas.microsoft.com/office/drawing/2014/main" id="{5B43CBBD-4B91-4463-A7A6-FE44B78D0F12}"/>
                </a:ext>
              </a:extLst>
            </p:cNvPr>
            <p:cNvSpPr txBox="1"/>
            <p:nvPr/>
          </p:nvSpPr>
          <p:spPr>
            <a:xfrm>
              <a:off x="14007050"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118" name="TextBox 117">
              <a:extLst>
                <a:ext uri="{FF2B5EF4-FFF2-40B4-BE49-F238E27FC236}">
                  <a16:creationId xmlns:a16="http://schemas.microsoft.com/office/drawing/2014/main" id="{D4430AB8-4CA9-4F35-8D10-BE5EAFFDCD9E}"/>
                </a:ext>
              </a:extLst>
            </p:cNvPr>
            <p:cNvSpPr txBox="1"/>
            <p:nvPr/>
          </p:nvSpPr>
          <p:spPr>
            <a:xfrm>
              <a:off x="14583578"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grpSp>
      <p:sp>
        <p:nvSpPr>
          <p:cNvPr id="119" name="Rectangle 118">
            <a:extLst>
              <a:ext uri="{FF2B5EF4-FFF2-40B4-BE49-F238E27FC236}">
                <a16:creationId xmlns:a16="http://schemas.microsoft.com/office/drawing/2014/main" id="{D1AEE21B-8568-4BE9-9133-738668773E9F}"/>
              </a:ext>
            </a:extLst>
          </p:cNvPr>
          <p:cNvSpPr/>
          <p:nvPr/>
        </p:nvSpPr>
        <p:spPr>
          <a:xfrm>
            <a:off x="2479095" y="4815631"/>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7A11B515-62CA-473A-987B-9BF00054D05A}"/>
              </a:ext>
            </a:extLst>
          </p:cNvPr>
          <p:cNvSpPr/>
          <p:nvPr/>
        </p:nvSpPr>
        <p:spPr>
          <a:xfrm>
            <a:off x="3026553" y="4817113"/>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CE6CE4F1-AB32-445E-AEE9-143314182C17}"/>
              </a:ext>
            </a:extLst>
          </p:cNvPr>
          <p:cNvSpPr/>
          <p:nvPr/>
        </p:nvSpPr>
        <p:spPr>
          <a:xfrm>
            <a:off x="3578448" y="4818590"/>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2" name="Rectangle 121">
            <a:extLst>
              <a:ext uri="{FF2B5EF4-FFF2-40B4-BE49-F238E27FC236}">
                <a16:creationId xmlns:a16="http://schemas.microsoft.com/office/drawing/2014/main" id="{59BB4040-D008-424B-A2C3-B59027B41ACF}"/>
              </a:ext>
            </a:extLst>
          </p:cNvPr>
          <p:cNvSpPr/>
          <p:nvPr/>
        </p:nvSpPr>
        <p:spPr>
          <a:xfrm>
            <a:off x="2479095" y="5249156"/>
            <a:ext cx="499337" cy="388101"/>
          </a:xfrm>
          <a:prstGeom prst="rect">
            <a:avLst/>
          </a:prstGeom>
          <a:solidFill>
            <a:schemeClr val="accent2"/>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A230A1BA-6277-40AA-926D-FB44DDB2FD12}"/>
              </a:ext>
            </a:extLst>
          </p:cNvPr>
          <p:cNvSpPr/>
          <p:nvPr/>
        </p:nvSpPr>
        <p:spPr>
          <a:xfrm>
            <a:off x="3026553" y="5249156"/>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4" name="Rectangle 123">
            <a:extLst>
              <a:ext uri="{FF2B5EF4-FFF2-40B4-BE49-F238E27FC236}">
                <a16:creationId xmlns:a16="http://schemas.microsoft.com/office/drawing/2014/main" id="{AD03806B-F5E8-432A-AB0F-631DC4098582}"/>
              </a:ext>
            </a:extLst>
          </p:cNvPr>
          <p:cNvSpPr/>
          <p:nvPr/>
        </p:nvSpPr>
        <p:spPr>
          <a:xfrm>
            <a:off x="3578448" y="5249156"/>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5" name="Rectangle 124">
            <a:extLst>
              <a:ext uri="{FF2B5EF4-FFF2-40B4-BE49-F238E27FC236}">
                <a16:creationId xmlns:a16="http://schemas.microsoft.com/office/drawing/2014/main" id="{5E9601EC-4AC6-4C5C-97D7-A6AC17289D22}"/>
              </a:ext>
            </a:extLst>
          </p:cNvPr>
          <p:cNvSpPr/>
          <p:nvPr/>
        </p:nvSpPr>
        <p:spPr>
          <a:xfrm>
            <a:off x="2479095" y="5659010"/>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6" name="Rectangle 125">
            <a:extLst>
              <a:ext uri="{FF2B5EF4-FFF2-40B4-BE49-F238E27FC236}">
                <a16:creationId xmlns:a16="http://schemas.microsoft.com/office/drawing/2014/main" id="{79D1D21C-7D0E-437C-959F-25A7B3D15102}"/>
              </a:ext>
            </a:extLst>
          </p:cNvPr>
          <p:cNvSpPr/>
          <p:nvPr/>
        </p:nvSpPr>
        <p:spPr>
          <a:xfrm>
            <a:off x="3026553" y="5659010"/>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31" name="Rectangle 130">
            <a:extLst>
              <a:ext uri="{FF2B5EF4-FFF2-40B4-BE49-F238E27FC236}">
                <a16:creationId xmlns:a16="http://schemas.microsoft.com/office/drawing/2014/main" id="{228C8806-9085-44BC-B40A-09B57308B044}"/>
              </a:ext>
            </a:extLst>
          </p:cNvPr>
          <p:cNvSpPr/>
          <p:nvPr/>
        </p:nvSpPr>
        <p:spPr>
          <a:xfrm>
            <a:off x="3578448" y="5659010"/>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2" name="Rounded Rectangle 150">
            <a:extLst>
              <a:ext uri="{FF2B5EF4-FFF2-40B4-BE49-F238E27FC236}">
                <a16:creationId xmlns:a16="http://schemas.microsoft.com/office/drawing/2014/main" id="{5E20010F-F8CB-4BCB-88B0-11DB74814F4A}"/>
              </a:ext>
            </a:extLst>
          </p:cNvPr>
          <p:cNvSpPr/>
          <p:nvPr/>
        </p:nvSpPr>
        <p:spPr>
          <a:xfrm>
            <a:off x="1953270" y="1262401"/>
            <a:ext cx="3888621" cy="633762"/>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994" b="0" i="0" u="none" strike="noStrike" kern="0" cap="none" spc="0" normalizeH="0" baseline="0" noProof="0">
                <a:ln>
                  <a:noFill/>
                </a:ln>
                <a:solidFill>
                  <a:srgbClr val="2E2E38"/>
                </a:solidFill>
                <a:effectLst/>
                <a:uLnTx/>
                <a:uFillTx/>
                <a:latin typeface="Calibri" panose="020F0502020204030204"/>
                <a:ea typeface="+mn-ea"/>
                <a:cs typeface="+mn-cs"/>
              </a:rPr>
              <a:t>Assess which data management artifacts with which level of detail are necessary to support the data strategy and to enable appropriate control</a:t>
            </a:r>
          </a:p>
        </p:txBody>
      </p:sp>
      <p:sp>
        <p:nvSpPr>
          <p:cNvPr id="133" name="Rectangle 132">
            <a:extLst>
              <a:ext uri="{FF2B5EF4-FFF2-40B4-BE49-F238E27FC236}">
                <a16:creationId xmlns:a16="http://schemas.microsoft.com/office/drawing/2014/main" id="{B055745D-C08C-44B9-A08F-7637F1AF919F}"/>
              </a:ext>
            </a:extLst>
          </p:cNvPr>
          <p:cNvSpPr/>
          <p:nvPr/>
        </p:nvSpPr>
        <p:spPr>
          <a:xfrm>
            <a:off x="615105" y="1262401"/>
            <a:ext cx="1177564" cy="633762"/>
          </a:xfrm>
          <a:prstGeom prst="rect">
            <a:avLst/>
          </a:prstGeom>
          <a:solidFill>
            <a:schemeClr val="tx2"/>
          </a:solidFill>
          <a:ln w="9525" cap="flat" cmpd="sng" algn="ctr">
            <a:solidFill>
              <a:schemeClr val="accent1"/>
            </a:solidFill>
            <a:prstDash val="solid"/>
          </a:ln>
          <a:effectLst/>
        </p:spPr>
        <p:txBody>
          <a:bodyPr lIns="65054" tIns="65054" rIns="65054" bIns="65054" rtlCol="0" anchor="ctr" anchorCtr="0"/>
          <a:lstStyle/>
          <a:p>
            <a:pPr marL="0" marR="0" lvl="0" indent="0" algn="ctr" defTabSz="913845" rtl="0" eaLnBrk="1" fontAlgn="auto" latinLnBrk="0" hangingPunct="1">
              <a:lnSpc>
                <a:spcPct val="100000"/>
              </a:lnSpc>
              <a:spcBef>
                <a:spcPts val="0"/>
              </a:spcBef>
              <a:spcAft>
                <a:spcPts val="0"/>
              </a:spcAft>
              <a:buClrTx/>
              <a:buSzTx/>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Data Management (DM) artifacts</a:t>
            </a:r>
          </a:p>
        </p:txBody>
      </p:sp>
      <p:cxnSp>
        <p:nvCxnSpPr>
          <p:cNvPr id="134" name="Straight Connector 133">
            <a:extLst>
              <a:ext uri="{FF2B5EF4-FFF2-40B4-BE49-F238E27FC236}">
                <a16:creationId xmlns:a16="http://schemas.microsoft.com/office/drawing/2014/main" id="{ABC4AB6D-A8C8-42E5-80DF-A84C1A7374DD}"/>
              </a:ext>
            </a:extLst>
          </p:cNvPr>
          <p:cNvCxnSpPr>
            <a:cxnSpLocks/>
            <a:stCxn id="133" idx="3"/>
            <a:endCxn id="132" idx="1"/>
          </p:cNvCxnSpPr>
          <p:nvPr/>
        </p:nvCxnSpPr>
        <p:spPr>
          <a:xfrm>
            <a:off x="1792669" y="1579282"/>
            <a:ext cx="160601" cy="0"/>
          </a:xfrm>
          <a:prstGeom prst="line">
            <a:avLst/>
          </a:prstGeom>
          <a:noFill/>
          <a:ln w="76200" cap="flat" cmpd="sng" algn="ctr">
            <a:solidFill>
              <a:schemeClr val="tx2"/>
            </a:solidFill>
            <a:prstDash val="solid"/>
          </a:ln>
          <a:effectLst/>
        </p:spPr>
      </p:cxnSp>
      <p:sp>
        <p:nvSpPr>
          <p:cNvPr id="169" name="Rectangle 168">
            <a:extLst>
              <a:ext uri="{FF2B5EF4-FFF2-40B4-BE49-F238E27FC236}">
                <a16:creationId xmlns:a16="http://schemas.microsoft.com/office/drawing/2014/main" id="{D01D072C-1925-43A9-A994-227A013DB5D9}"/>
              </a:ext>
            </a:extLst>
          </p:cNvPr>
          <p:cNvSpPr>
            <a:spLocks/>
          </p:cNvSpPr>
          <p:nvPr/>
        </p:nvSpPr>
        <p:spPr bwMode="gray">
          <a:xfrm>
            <a:off x="623322" y="3539530"/>
            <a:ext cx="5220488"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70" name="Round Same Side Corner Rectangle 24">
            <a:extLst>
              <a:ext uri="{FF2B5EF4-FFF2-40B4-BE49-F238E27FC236}">
                <a16:creationId xmlns:a16="http://schemas.microsoft.com/office/drawing/2014/main" id="{624D0F59-ABF0-4263-B3ED-7AC39478125C}"/>
              </a:ext>
            </a:extLst>
          </p:cNvPr>
          <p:cNvSpPr>
            <a:spLocks/>
          </p:cNvSpPr>
          <p:nvPr/>
        </p:nvSpPr>
        <p:spPr bwMode="gray">
          <a:xfrm>
            <a:off x="623321" y="3254317"/>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Ease of implementation</a:t>
            </a:r>
          </a:p>
        </p:txBody>
      </p:sp>
      <p:sp>
        <p:nvSpPr>
          <p:cNvPr id="173" name="TextBox 172">
            <a:extLst>
              <a:ext uri="{FF2B5EF4-FFF2-40B4-BE49-F238E27FC236}">
                <a16:creationId xmlns:a16="http://schemas.microsoft.com/office/drawing/2014/main" id="{2AD6FF6B-3D99-4BC5-8859-D59CFA8CC2F9}"/>
              </a:ext>
            </a:extLst>
          </p:cNvPr>
          <p:cNvSpPr txBox="1"/>
          <p:nvPr/>
        </p:nvSpPr>
        <p:spPr>
          <a:xfrm>
            <a:off x="657356" y="3548308"/>
            <a:ext cx="5178855" cy="854080"/>
          </a:xfrm>
          <a:prstGeom prst="rect">
            <a:avLst/>
          </a:prstGeom>
          <a:noFill/>
        </p:spPr>
        <p:txBody>
          <a:bodyPr wrap="square" lIns="0" rIns="0" numCol="2" rtlCol="0" anchor="t" anchorCtr="0">
            <a:no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dirty="0">
                <a:ln>
                  <a:noFill/>
                </a:ln>
                <a:solidFill>
                  <a:srgbClr val="2E2E38"/>
                </a:solidFill>
                <a:effectLst/>
                <a:uLnTx/>
                <a:uFillTx/>
                <a:latin typeface="Calibri" panose="020F0502020204030204"/>
                <a:ea typeface="+mn-ea"/>
                <a:cs typeface="+mn-cs"/>
              </a:rPr>
              <a:t>Capture data management, privacy and compliance requirements for the data strategy realization (1-2 day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dirty="0">
                <a:ln>
                  <a:noFill/>
                </a:ln>
                <a:solidFill>
                  <a:srgbClr val="2E2E38"/>
                </a:solidFill>
                <a:effectLst/>
                <a:uLnTx/>
                <a:uFillTx/>
                <a:latin typeface="Calibri" panose="020F0502020204030204"/>
                <a:ea typeface="+mn-ea"/>
                <a:cs typeface="+mn-cs"/>
              </a:rPr>
              <a:t>Organize multiple working sessions with the owners of the strategic data objectives and data management experts to identify the necessary artifacts (owners invest 1-2 days) </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dirty="0">
                <a:ln>
                  <a:noFill/>
                </a:ln>
                <a:solidFill>
                  <a:srgbClr val="2E2E38"/>
                </a:solidFill>
                <a:effectLst/>
                <a:uLnTx/>
                <a:uFillTx/>
                <a:latin typeface="Calibri" panose="020F0502020204030204"/>
                <a:ea typeface="+mn-ea"/>
                <a:cs typeface="+mn-cs"/>
              </a:rPr>
              <a:t>Prepare workshops and document outputs (2 Data Office members invest 5 day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Total of 4-6 weeks effort required</a:t>
            </a:r>
          </a:p>
        </p:txBody>
      </p:sp>
      <p:grpSp>
        <p:nvGrpSpPr>
          <p:cNvPr id="88" name="Group 87">
            <a:extLst>
              <a:ext uri="{FF2B5EF4-FFF2-40B4-BE49-F238E27FC236}">
                <a16:creationId xmlns:a16="http://schemas.microsoft.com/office/drawing/2014/main" id="{FECD8A08-BCE9-4DDF-90B5-496CCDEA328D}"/>
              </a:ext>
            </a:extLst>
          </p:cNvPr>
          <p:cNvGrpSpPr/>
          <p:nvPr/>
        </p:nvGrpSpPr>
        <p:grpSpPr>
          <a:xfrm>
            <a:off x="1945660" y="2084917"/>
            <a:ext cx="3890552" cy="1044280"/>
            <a:chOff x="622344" y="1751542"/>
            <a:chExt cx="5212877" cy="1044280"/>
          </a:xfrm>
        </p:grpSpPr>
        <p:sp>
          <p:nvSpPr>
            <p:cNvPr id="90" name="Rectangle 89">
              <a:extLst>
                <a:ext uri="{FF2B5EF4-FFF2-40B4-BE49-F238E27FC236}">
                  <a16:creationId xmlns:a16="http://schemas.microsoft.com/office/drawing/2014/main" id="{5D4CDE3A-A3B2-48C6-B6E0-FDD1B7755760}"/>
                </a:ext>
              </a:extLst>
            </p:cNvPr>
            <p:cNvSpPr>
              <a:spLocks/>
            </p:cNvSpPr>
            <p:nvPr/>
          </p:nvSpPr>
          <p:spPr bwMode="gray">
            <a:xfrm>
              <a:off x="622345" y="2036755"/>
              <a:ext cx="5212876"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91" name="Round Same Side Corner Rectangle 24">
              <a:extLst>
                <a:ext uri="{FF2B5EF4-FFF2-40B4-BE49-F238E27FC236}">
                  <a16:creationId xmlns:a16="http://schemas.microsoft.com/office/drawing/2014/main" id="{EB5FA4AE-6558-429E-93FF-7A8E6DE1CE05}"/>
                </a:ext>
              </a:extLst>
            </p:cNvPr>
            <p:cNvSpPr>
              <a:spLocks/>
            </p:cNvSpPr>
            <p:nvPr/>
          </p:nvSpPr>
          <p:spPr bwMode="gray">
            <a:xfrm>
              <a:off x="622344" y="1751542"/>
              <a:ext cx="5212876"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Impact</a:t>
              </a:r>
            </a:p>
          </p:txBody>
        </p:sp>
        <p:sp>
          <p:nvSpPr>
            <p:cNvPr id="92" name="TextBox 91">
              <a:extLst>
                <a:ext uri="{FF2B5EF4-FFF2-40B4-BE49-F238E27FC236}">
                  <a16:creationId xmlns:a16="http://schemas.microsoft.com/office/drawing/2014/main" id="{5DE11C81-E027-40D2-AC10-D4249F7F1C42}"/>
                </a:ext>
              </a:extLst>
            </p:cNvPr>
            <p:cNvSpPr txBox="1"/>
            <p:nvPr/>
          </p:nvSpPr>
          <p:spPr>
            <a:xfrm>
              <a:off x="700281" y="2030251"/>
              <a:ext cx="2682509" cy="397032"/>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Understanding the requirements of the data strategy for DM artifacts</a:t>
              </a:r>
            </a:p>
          </p:txBody>
        </p:sp>
      </p:grpSp>
      <p:sp>
        <p:nvSpPr>
          <p:cNvPr id="115" name="Rounded Rectangle 150">
            <a:extLst>
              <a:ext uri="{FF2B5EF4-FFF2-40B4-BE49-F238E27FC236}">
                <a16:creationId xmlns:a16="http://schemas.microsoft.com/office/drawing/2014/main" id="{E4AB4B7B-C2F7-4907-8C8D-02DC60EA292F}"/>
              </a:ext>
            </a:extLst>
          </p:cNvPr>
          <p:cNvSpPr/>
          <p:nvPr/>
        </p:nvSpPr>
        <p:spPr>
          <a:xfrm>
            <a:off x="615105" y="2083952"/>
            <a:ext cx="1169348" cy="504061"/>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E2E38"/>
                </a:solidFill>
                <a:effectLst/>
                <a:uLnTx/>
                <a:uFillTx/>
                <a:latin typeface="Calibri" panose="020F0502020204030204"/>
                <a:ea typeface="+mn-ea"/>
                <a:cs typeface="+mn-cs"/>
              </a:rPr>
              <a:t>Defensive</a:t>
            </a:r>
          </a:p>
        </p:txBody>
      </p:sp>
      <p:sp>
        <p:nvSpPr>
          <p:cNvPr id="96" name="TextBox 95">
            <a:extLst>
              <a:ext uri="{FF2B5EF4-FFF2-40B4-BE49-F238E27FC236}">
                <a16:creationId xmlns:a16="http://schemas.microsoft.com/office/drawing/2014/main" id="{C08978EB-9041-4366-A446-66448AD39ADE}"/>
              </a:ext>
            </a:extLst>
          </p:cNvPr>
          <p:cNvSpPr txBox="1"/>
          <p:nvPr/>
        </p:nvSpPr>
        <p:spPr>
          <a:xfrm>
            <a:off x="4054899" y="2335982"/>
            <a:ext cx="1732291" cy="701731"/>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All Areas/BUs impacted</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Alignment of requirements from security, privacy and compliance</a:t>
            </a:r>
          </a:p>
        </p:txBody>
      </p:sp>
      <p:sp>
        <p:nvSpPr>
          <p:cNvPr id="93" name="Rounded Rectangle 150">
            <a:extLst>
              <a:ext uri="{FF2B5EF4-FFF2-40B4-BE49-F238E27FC236}">
                <a16:creationId xmlns:a16="http://schemas.microsoft.com/office/drawing/2014/main" id="{7EBFCF1E-BA09-4661-9044-21990CE7A7AD}"/>
              </a:ext>
            </a:extLst>
          </p:cNvPr>
          <p:cNvSpPr/>
          <p:nvPr/>
        </p:nvSpPr>
        <p:spPr>
          <a:xfrm>
            <a:off x="7550712" y="1266854"/>
            <a:ext cx="3888621" cy="633762"/>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994" b="0" i="0" u="none" strike="noStrike" kern="0" cap="none" spc="0" normalizeH="0" baseline="0" noProof="0">
                <a:ln>
                  <a:noFill/>
                </a:ln>
                <a:solidFill>
                  <a:srgbClr val="2E2E38"/>
                </a:solidFill>
                <a:effectLst/>
                <a:uLnTx/>
                <a:uFillTx/>
                <a:latin typeface="Calibri" panose="020F0502020204030204"/>
                <a:ea typeface="+mn-ea"/>
                <a:cs typeface="+mn-cs"/>
              </a:rPr>
              <a:t>Data Management maturity assessment and based on results revisit, update and document the current state data management processes, data governance charter and roles &amp; responsibilities in order to improve</a:t>
            </a:r>
          </a:p>
        </p:txBody>
      </p:sp>
      <p:sp>
        <p:nvSpPr>
          <p:cNvPr id="97" name="Rectangle 96">
            <a:extLst>
              <a:ext uri="{FF2B5EF4-FFF2-40B4-BE49-F238E27FC236}">
                <a16:creationId xmlns:a16="http://schemas.microsoft.com/office/drawing/2014/main" id="{752295C9-877B-4BB0-86B0-2F2440780740}"/>
              </a:ext>
            </a:extLst>
          </p:cNvPr>
          <p:cNvSpPr/>
          <p:nvPr/>
        </p:nvSpPr>
        <p:spPr>
          <a:xfrm>
            <a:off x="6212547" y="1262401"/>
            <a:ext cx="1177564" cy="633762"/>
          </a:xfrm>
          <a:prstGeom prst="rect">
            <a:avLst/>
          </a:prstGeom>
          <a:solidFill>
            <a:schemeClr val="tx2"/>
          </a:solidFill>
          <a:ln w="9525" cap="flat" cmpd="sng" algn="ctr">
            <a:solidFill>
              <a:schemeClr val="accent1"/>
            </a:solidFill>
            <a:prstDash val="solid"/>
          </a:ln>
          <a:effectLst/>
        </p:spPr>
        <p:txBody>
          <a:bodyPr lIns="65054" tIns="65054" rIns="65054" bIns="65054" rtlCol="0" anchor="ctr" anchorCtr="0"/>
          <a:lstStyle/>
          <a:p>
            <a:pPr marL="0" marR="0" lvl="0" indent="0" algn="ctr" defTabSz="913845" rtl="0" eaLnBrk="1" fontAlgn="auto" latinLnBrk="0" hangingPunct="1">
              <a:lnSpc>
                <a:spcPct val="100000"/>
              </a:lnSpc>
              <a:spcBef>
                <a:spcPts val="0"/>
              </a:spcBef>
              <a:spcAft>
                <a:spcPts val="0"/>
              </a:spcAft>
              <a:buClrTx/>
              <a:buSzTx/>
              <a:buFontTx/>
              <a:buNone/>
              <a:tabLst/>
              <a:defRPr/>
            </a:pPr>
            <a:r>
              <a:rPr kumimoji="0" lang="en-US" sz="1084" b="1" i="0" u="none" strike="noStrike" kern="0" cap="none" spc="0" normalizeH="0" baseline="0" noProof="0" dirty="0">
                <a:ln>
                  <a:noFill/>
                </a:ln>
                <a:solidFill>
                  <a:prstClr val="white"/>
                </a:solidFill>
                <a:effectLst/>
                <a:uLnTx/>
                <a:uFillTx/>
                <a:latin typeface="Calibri" panose="020F0502020204030204"/>
                <a:ea typeface="+mn-ea"/>
                <a:cs typeface="+mn-cs"/>
              </a:rPr>
              <a:t>DM Assessment &amp; update current processes</a:t>
            </a:r>
          </a:p>
        </p:txBody>
      </p:sp>
      <p:cxnSp>
        <p:nvCxnSpPr>
          <p:cNvPr id="98" name="Straight Connector 97">
            <a:extLst>
              <a:ext uri="{FF2B5EF4-FFF2-40B4-BE49-F238E27FC236}">
                <a16:creationId xmlns:a16="http://schemas.microsoft.com/office/drawing/2014/main" id="{093266AD-571B-439F-BC5C-C013FAA6A661}"/>
              </a:ext>
            </a:extLst>
          </p:cNvPr>
          <p:cNvCxnSpPr>
            <a:cxnSpLocks/>
            <a:stCxn id="97" idx="3"/>
            <a:endCxn id="93" idx="1"/>
          </p:cNvCxnSpPr>
          <p:nvPr/>
        </p:nvCxnSpPr>
        <p:spPr>
          <a:xfrm>
            <a:off x="7390111" y="1579282"/>
            <a:ext cx="160601" cy="4453"/>
          </a:xfrm>
          <a:prstGeom prst="line">
            <a:avLst/>
          </a:prstGeom>
          <a:noFill/>
          <a:ln w="76200" cap="flat" cmpd="sng" algn="ctr">
            <a:solidFill>
              <a:schemeClr val="tx2"/>
            </a:solidFill>
            <a:prstDash val="solid"/>
          </a:ln>
          <a:effectLst/>
        </p:spPr>
      </p:cxnSp>
      <p:sp>
        <p:nvSpPr>
          <p:cNvPr id="127" name="Rectangle 126">
            <a:extLst>
              <a:ext uri="{FF2B5EF4-FFF2-40B4-BE49-F238E27FC236}">
                <a16:creationId xmlns:a16="http://schemas.microsoft.com/office/drawing/2014/main" id="{5E4F5E38-D835-49C8-A34F-80F25BF1836E}"/>
              </a:ext>
            </a:extLst>
          </p:cNvPr>
          <p:cNvSpPr>
            <a:spLocks/>
          </p:cNvSpPr>
          <p:nvPr/>
        </p:nvSpPr>
        <p:spPr bwMode="gray">
          <a:xfrm>
            <a:off x="6220764" y="3543983"/>
            <a:ext cx="5220488"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28" name="Round Same Side Corner Rectangle 24">
            <a:extLst>
              <a:ext uri="{FF2B5EF4-FFF2-40B4-BE49-F238E27FC236}">
                <a16:creationId xmlns:a16="http://schemas.microsoft.com/office/drawing/2014/main" id="{BBF7FF0C-FF00-4E3D-907A-BEBC809D6A79}"/>
              </a:ext>
            </a:extLst>
          </p:cNvPr>
          <p:cNvSpPr>
            <a:spLocks/>
          </p:cNvSpPr>
          <p:nvPr/>
        </p:nvSpPr>
        <p:spPr bwMode="gray">
          <a:xfrm>
            <a:off x="6220763" y="3258770"/>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Ease of implementation </a:t>
            </a:r>
          </a:p>
        </p:txBody>
      </p:sp>
      <p:sp>
        <p:nvSpPr>
          <p:cNvPr id="129" name="Rectangle 128">
            <a:extLst>
              <a:ext uri="{FF2B5EF4-FFF2-40B4-BE49-F238E27FC236}">
                <a16:creationId xmlns:a16="http://schemas.microsoft.com/office/drawing/2014/main" id="{1968D5B1-067D-4B4D-B220-957E9E96165A}"/>
              </a:ext>
            </a:extLst>
          </p:cNvPr>
          <p:cNvSpPr>
            <a:spLocks/>
          </p:cNvSpPr>
          <p:nvPr/>
        </p:nvSpPr>
        <p:spPr bwMode="gray">
          <a:xfrm>
            <a:off x="6312109" y="4438358"/>
            <a:ext cx="5220488" cy="2265239"/>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542"/>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p:txBody>
      </p:sp>
      <p:sp>
        <p:nvSpPr>
          <p:cNvPr id="137" name="Round Same Side Corner Rectangle 24">
            <a:extLst>
              <a:ext uri="{FF2B5EF4-FFF2-40B4-BE49-F238E27FC236}">
                <a16:creationId xmlns:a16="http://schemas.microsoft.com/office/drawing/2014/main" id="{E3C2D320-3702-4D9A-BBDD-782B55D4C1FA}"/>
              </a:ext>
            </a:extLst>
          </p:cNvPr>
          <p:cNvSpPr>
            <a:spLocks/>
          </p:cNvSpPr>
          <p:nvPr/>
        </p:nvSpPr>
        <p:spPr bwMode="gray">
          <a:xfrm>
            <a:off x="6232208" y="4394257"/>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Use case heatmap</a:t>
            </a:r>
          </a:p>
        </p:txBody>
      </p:sp>
      <p:grpSp>
        <p:nvGrpSpPr>
          <p:cNvPr id="138" name="Group 137">
            <a:extLst>
              <a:ext uri="{FF2B5EF4-FFF2-40B4-BE49-F238E27FC236}">
                <a16:creationId xmlns:a16="http://schemas.microsoft.com/office/drawing/2014/main" id="{D1A0D2B9-3594-4D9D-9316-D64E78473F0A}"/>
              </a:ext>
            </a:extLst>
          </p:cNvPr>
          <p:cNvGrpSpPr/>
          <p:nvPr/>
        </p:nvGrpSpPr>
        <p:grpSpPr>
          <a:xfrm>
            <a:off x="7470879" y="4721132"/>
            <a:ext cx="2549874" cy="1938566"/>
            <a:chOff x="12687534" y="4543604"/>
            <a:chExt cx="2549874" cy="1938566"/>
          </a:xfrm>
        </p:grpSpPr>
        <p:sp>
          <p:nvSpPr>
            <p:cNvPr id="139" name="Rectangle 138">
              <a:extLst>
                <a:ext uri="{FF2B5EF4-FFF2-40B4-BE49-F238E27FC236}">
                  <a16:creationId xmlns:a16="http://schemas.microsoft.com/office/drawing/2014/main" id="{F87DBEFE-037D-4335-9E4C-2F8F94D7EF42}"/>
                </a:ext>
              </a:extLst>
            </p:cNvPr>
            <p:cNvSpPr>
              <a:spLocks/>
            </p:cNvSpPr>
            <p:nvPr/>
          </p:nvSpPr>
          <p:spPr bwMode="gray">
            <a:xfrm>
              <a:off x="12687534" y="4543604"/>
              <a:ext cx="2549874" cy="1938566"/>
            </a:xfrm>
            <a:prstGeom prst="rect">
              <a:avLst/>
            </a:prstGeom>
            <a:solidFill>
              <a:srgbClr val="FFFFFF"/>
            </a:solidFill>
            <a:ln w="19050">
              <a:solidFill>
                <a:schemeClr val="bg1"/>
              </a:solidFill>
            </a:ln>
          </p:spPr>
          <p:txBody>
            <a:bodyPr wrap="square" lIns="65054" tIns="65054" rIns="65054" bIns="65054">
              <a:noAutofit/>
            </a:bodyPr>
            <a:lstStyle/>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p:txBody>
        </p:sp>
        <p:cxnSp>
          <p:nvCxnSpPr>
            <p:cNvPr id="140" name="Straight Connector 139">
              <a:extLst>
                <a:ext uri="{FF2B5EF4-FFF2-40B4-BE49-F238E27FC236}">
                  <a16:creationId xmlns:a16="http://schemas.microsoft.com/office/drawing/2014/main" id="{1E6CEE52-0762-4B3B-ADBE-97CDE7DF425C}"/>
                </a:ext>
              </a:extLst>
            </p:cNvPr>
            <p:cNvCxnSpPr>
              <a:cxnSpLocks/>
            </p:cNvCxnSpPr>
            <p:nvPr/>
          </p:nvCxnSpPr>
          <p:spPr>
            <a:xfrm flipV="1">
              <a:off x="13328368" y="5080542"/>
              <a:ext cx="1621280" cy="1"/>
            </a:xfrm>
            <a:prstGeom prst="line">
              <a:avLst/>
            </a:prstGeom>
            <a:noFill/>
            <a:ln w="3175" cap="flat" cmpd="sng" algn="ctr">
              <a:solidFill>
                <a:schemeClr val="bg1">
                  <a:lumMod val="85000"/>
                </a:schemeClr>
              </a:solidFill>
              <a:prstDash val="dash"/>
              <a:tailEnd type="none"/>
            </a:ln>
            <a:effectLst/>
          </p:spPr>
        </p:cxnSp>
        <p:cxnSp>
          <p:nvCxnSpPr>
            <p:cNvPr id="141" name="Straight Connector 140">
              <a:extLst>
                <a:ext uri="{FF2B5EF4-FFF2-40B4-BE49-F238E27FC236}">
                  <a16:creationId xmlns:a16="http://schemas.microsoft.com/office/drawing/2014/main" id="{80B85B35-21E0-49B0-A391-642F289E2D0C}"/>
                </a:ext>
              </a:extLst>
            </p:cNvPr>
            <p:cNvCxnSpPr>
              <a:cxnSpLocks/>
            </p:cNvCxnSpPr>
            <p:nvPr/>
          </p:nvCxnSpPr>
          <p:spPr>
            <a:xfrm flipV="1">
              <a:off x="13879871" y="4673063"/>
              <a:ext cx="0" cy="1214603"/>
            </a:xfrm>
            <a:prstGeom prst="line">
              <a:avLst/>
            </a:prstGeom>
            <a:noFill/>
            <a:ln w="3175" cap="flat" cmpd="sng" algn="ctr">
              <a:solidFill>
                <a:schemeClr val="bg1">
                  <a:lumMod val="85000"/>
                </a:schemeClr>
              </a:solidFill>
              <a:prstDash val="dash"/>
              <a:tailEnd type="none"/>
            </a:ln>
            <a:effectLst/>
          </p:spPr>
        </p:cxnSp>
        <p:cxnSp>
          <p:nvCxnSpPr>
            <p:cNvPr id="142" name="Straight Connector 141">
              <a:extLst>
                <a:ext uri="{FF2B5EF4-FFF2-40B4-BE49-F238E27FC236}">
                  <a16:creationId xmlns:a16="http://schemas.microsoft.com/office/drawing/2014/main" id="{A2E528A7-264D-4BC9-8577-8587463F586F}"/>
                </a:ext>
              </a:extLst>
            </p:cNvPr>
            <p:cNvCxnSpPr>
              <a:cxnSpLocks/>
            </p:cNvCxnSpPr>
            <p:nvPr/>
          </p:nvCxnSpPr>
          <p:spPr>
            <a:xfrm flipV="1">
              <a:off x="14436281" y="4673062"/>
              <a:ext cx="0" cy="1214603"/>
            </a:xfrm>
            <a:prstGeom prst="line">
              <a:avLst/>
            </a:prstGeom>
            <a:noFill/>
            <a:ln w="3175" cap="flat" cmpd="sng" algn="ctr">
              <a:solidFill>
                <a:schemeClr val="bg1">
                  <a:lumMod val="85000"/>
                </a:schemeClr>
              </a:solidFill>
              <a:prstDash val="dash"/>
              <a:tailEnd type="none"/>
            </a:ln>
            <a:effectLst/>
          </p:spPr>
        </p:cxnSp>
        <p:cxnSp>
          <p:nvCxnSpPr>
            <p:cNvPr id="143" name="Straight Connector 142">
              <a:extLst>
                <a:ext uri="{FF2B5EF4-FFF2-40B4-BE49-F238E27FC236}">
                  <a16:creationId xmlns:a16="http://schemas.microsoft.com/office/drawing/2014/main" id="{9272F36A-E19B-4D4C-971D-2BB0FE3A19AE}"/>
                </a:ext>
              </a:extLst>
            </p:cNvPr>
            <p:cNvCxnSpPr>
              <a:cxnSpLocks/>
            </p:cNvCxnSpPr>
            <p:nvPr/>
          </p:nvCxnSpPr>
          <p:spPr>
            <a:xfrm flipV="1">
              <a:off x="13352428" y="5483833"/>
              <a:ext cx="1621280" cy="1"/>
            </a:xfrm>
            <a:prstGeom prst="line">
              <a:avLst/>
            </a:prstGeom>
            <a:noFill/>
            <a:ln w="3175" cap="flat" cmpd="sng" algn="ctr">
              <a:solidFill>
                <a:schemeClr val="bg1">
                  <a:lumMod val="85000"/>
                </a:schemeClr>
              </a:solidFill>
              <a:prstDash val="dash"/>
              <a:tailEnd type="none"/>
            </a:ln>
            <a:effectLst/>
          </p:spPr>
        </p:cxnSp>
        <p:cxnSp>
          <p:nvCxnSpPr>
            <p:cNvPr id="144" name="Straight Arrow Connector 143">
              <a:extLst>
                <a:ext uri="{FF2B5EF4-FFF2-40B4-BE49-F238E27FC236}">
                  <a16:creationId xmlns:a16="http://schemas.microsoft.com/office/drawing/2014/main" id="{60C4C7F8-C3D8-41AF-AB2B-C9A644768F4E}"/>
                </a:ext>
              </a:extLst>
            </p:cNvPr>
            <p:cNvCxnSpPr>
              <a:cxnSpLocks/>
            </p:cNvCxnSpPr>
            <p:nvPr/>
          </p:nvCxnSpPr>
          <p:spPr>
            <a:xfrm flipV="1">
              <a:off x="13328368" y="4590630"/>
              <a:ext cx="0" cy="1301082"/>
            </a:xfrm>
            <a:prstGeom prst="straightConnector1">
              <a:avLst/>
            </a:prstGeom>
            <a:noFill/>
            <a:ln w="15875" cap="flat" cmpd="sng" algn="ctr">
              <a:solidFill>
                <a:srgbClr val="000000"/>
              </a:solidFill>
              <a:prstDash val="solid"/>
              <a:tailEnd type="triangle"/>
            </a:ln>
            <a:effectLst/>
          </p:spPr>
        </p:cxnSp>
        <p:cxnSp>
          <p:nvCxnSpPr>
            <p:cNvPr id="145" name="Straight Arrow Connector 144">
              <a:extLst>
                <a:ext uri="{FF2B5EF4-FFF2-40B4-BE49-F238E27FC236}">
                  <a16:creationId xmlns:a16="http://schemas.microsoft.com/office/drawing/2014/main" id="{FE7164E4-F58B-4CDD-A645-0E1497E10D3F}"/>
                </a:ext>
              </a:extLst>
            </p:cNvPr>
            <p:cNvCxnSpPr>
              <a:cxnSpLocks/>
            </p:cNvCxnSpPr>
            <p:nvPr/>
          </p:nvCxnSpPr>
          <p:spPr>
            <a:xfrm>
              <a:off x="13328368" y="5888245"/>
              <a:ext cx="1724766" cy="0"/>
            </a:xfrm>
            <a:prstGeom prst="straightConnector1">
              <a:avLst/>
            </a:prstGeom>
            <a:noFill/>
            <a:ln w="15875" cap="flat" cmpd="sng" algn="ctr">
              <a:solidFill>
                <a:srgbClr val="000000"/>
              </a:solidFill>
              <a:prstDash val="solid"/>
              <a:tailEnd type="triangle"/>
            </a:ln>
            <a:effectLst/>
          </p:spPr>
        </p:cxnSp>
        <p:sp>
          <p:nvSpPr>
            <p:cNvPr id="146" name="TextBox 145">
              <a:extLst>
                <a:ext uri="{FF2B5EF4-FFF2-40B4-BE49-F238E27FC236}">
                  <a16:creationId xmlns:a16="http://schemas.microsoft.com/office/drawing/2014/main" id="{8EFD10B3-5C82-4E93-91DF-0638B9F6AD9D}"/>
                </a:ext>
              </a:extLst>
            </p:cNvPr>
            <p:cNvSpPr txBox="1"/>
            <p:nvPr/>
          </p:nvSpPr>
          <p:spPr>
            <a:xfrm>
              <a:off x="13270056" y="6054218"/>
              <a:ext cx="1798714"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Ease of implementation</a:t>
              </a:r>
            </a:p>
          </p:txBody>
        </p:sp>
        <p:sp>
          <p:nvSpPr>
            <p:cNvPr id="147" name="TextBox 146">
              <a:extLst>
                <a:ext uri="{FF2B5EF4-FFF2-40B4-BE49-F238E27FC236}">
                  <a16:creationId xmlns:a16="http://schemas.microsoft.com/office/drawing/2014/main" id="{00AB11BC-70B1-4F67-94A7-701AB3AD823C}"/>
                </a:ext>
              </a:extLst>
            </p:cNvPr>
            <p:cNvSpPr txBox="1"/>
            <p:nvPr/>
          </p:nvSpPr>
          <p:spPr>
            <a:xfrm rot="16200000">
              <a:off x="12288481" y="5133476"/>
              <a:ext cx="1333177"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Impact</a:t>
              </a:r>
            </a:p>
          </p:txBody>
        </p:sp>
        <p:sp>
          <p:nvSpPr>
            <p:cNvPr id="148" name="TextBox 147">
              <a:extLst>
                <a:ext uri="{FF2B5EF4-FFF2-40B4-BE49-F238E27FC236}">
                  <a16:creationId xmlns:a16="http://schemas.microsoft.com/office/drawing/2014/main" id="{DE0876F1-0FCA-4970-81AB-72DB52AFD4DE}"/>
                </a:ext>
              </a:extLst>
            </p:cNvPr>
            <p:cNvSpPr txBox="1"/>
            <p:nvPr/>
          </p:nvSpPr>
          <p:spPr>
            <a:xfrm>
              <a:off x="13070774" y="556977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49" name="TextBox 148">
              <a:extLst>
                <a:ext uri="{FF2B5EF4-FFF2-40B4-BE49-F238E27FC236}">
                  <a16:creationId xmlns:a16="http://schemas.microsoft.com/office/drawing/2014/main" id="{43DBC48C-BA6F-4DCA-A198-8DA178E8220F}"/>
                </a:ext>
              </a:extLst>
            </p:cNvPr>
            <p:cNvSpPr txBox="1"/>
            <p:nvPr/>
          </p:nvSpPr>
          <p:spPr>
            <a:xfrm>
              <a:off x="13070774" y="5118658"/>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150" name="TextBox 149">
              <a:extLst>
                <a:ext uri="{FF2B5EF4-FFF2-40B4-BE49-F238E27FC236}">
                  <a16:creationId xmlns:a16="http://schemas.microsoft.com/office/drawing/2014/main" id="{99F70349-16DF-4BE8-986C-314573602911}"/>
                </a:ext>
              </a:extLst>
            </p:cNvPr>
            <p:cNvSpPr txBox="1"/>
            <p:nvPr/>
          </p:nvSpPr>
          <p:spPr>
            <a:xfrm>
              <a:off x="13070774" y="468419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sp>
          <p:nvSpPr>
            <p:cNvPr id="152" name="TextBox 151">
              <a:extLst>
                <a:ext uri="{FF2B5EF4-FFF2-40B4-BE49-F238E27FC236}">
                  <a16:creationId xmlns:a16="http://schemas.microsoft.com/office/drawing/2014/main" id="{55BC0379-A351-4B79-82B6-4998AA68E29B}"/>
                </a:ext>
              </a:extLst>
            </p:cNvPr>
            <p:cNvSpPr txBox="1"/>
            <p:nvPr/>
          </p:nvSpPr>
          <p:spPr>
            <a:xfrm>
              <a:off x="13430519"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53" name="TextBox 152">
              <a:extLst>
                <a:ext uri="{FF2B5EF4-FFF2-40B4-BE49-F238E27FC236}">
                  <a16:creationId xmlns:a16="http://schemas.microsoft.com/office/drawing/2014/main" id="{EB94DFBF-3981-42BC-BA3A-BACED541BE0A}"/>
                </a:ext>
              </a:extLst>
            </p:cNvPr>
            <p:cNvSpPr txBox="1"/>
            <p:nvPr/>
          </p:nvSpPr>
          <p:spPr>
            <a:xfrm>
              <a:off x="14007050"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157" name="TextBox 156">
              <a:extLst>
                <a:ext uri="{FF2B5EF4-FFF2-40B4-BE49-F238E27FC236}">
                  <a16:creationId xmlns:a16="http://schemas.microsoft.com/office/drawing/2014/main" id="{794C2A56-1E95-4489-A0C9-2B4E44BEBA05}"/>
                </a:ext>
              </a:extLst>
            </p:cNvPr>
            <p:cNvSpPr txBox="1"/>
            <p:nvPr/>
          </p:nvSpPr>
          <p:spPr>
            <a:xfrm>
              <a:off x="14583578"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grpSp>
      <p:grpSp>
        <p:nvGrpSpPr>
          <p:cNvPr id="158" name="Group 157">
            <a:extLst>
              <a:ext uri="{FF2B5EF4-FFF2-40B4-BE49-F238E27FC236}">
                <a16:creationId xmlns:a16="http://schemas.microsoft.com/office/drawing/2014/main" id="{4C39A2A6-A07D-458B-AA9B-EAD8BD98A265}"/>
              </a:ext>
            </a:extLst>
          </p:cNvPr>
          <p:cNvGrpSpPr/>
          <p:nvPr/>
        </p:nvGrpSpPr>
        <p:grpSpPr>
          <a:xfrm>
            <a:off x="7550713" y="2084917"/>
            <a:ext cx="3890552" cy="1437488"/>
            <a:chOff x="622344" y="1751542"/>
            <a:chExt cx="5212877" cy="1437488"/>
          </a:xfrm>
        </p:grpSpPr>
        <p:sp>
          <p:nvSpPr>
            <p:cNvPr id="161" name="Rectangle 160">
              <a:extLst>
                <a:ext uri="{FF2B5EF4-FFF2-40B4-BE49-F238E27FC236}">
                  <a16:creationId xmlns:a16="http://schemas.microsoft.com/office/drawing/2014/main" id="{93C6B9B6-24E8-4E31-9631-DF4488CF1C37}"/>
                </a:ext>
              </a:extLst>
            </p:cNvPr>
            <p:cNvSpPr>
              <a:spLocks/>
            </p:cNvSpPr>
            <p:nvPr/>
          </p:nvSpPr>
          <p:spPr bwMode="gray">
            <a:xfrm>
              <a:off x="622345" y="2036755"/>
              <a:ext cx="5212876"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62" name="Round Same Side Corner Rectangle 24">
              <a:extLst>
                <a:ext uri="{FF2B5EF4-FFF2-40B4-BE49-F238E27FC236}">
                  <a16:creationId xmlns:a16="http://schemas.microsoft.com/office/drawing/2014/main" id="{61413476-9B11-4A6A-AC25-C0898B0D5100}"/>
                </a:ext>
              </a:extLst>
            </p:cNvPr>
            <p:cNvSpPr>
              <a:spLocks/>
            </p:cNvSpPr>
            <p:nvPr/>
          </p:nvSpPr>
          <p:spPr bwMode="gray">
            <a:xfrm>
              <a:off x="622344" y="1751542"/>
              <a:ext cx="5212876"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Impact</a:t>
              </a:r>
            </a:p>
          </p:txBody>
        </p:sp>
        <p:sp>
          <p:nvSpPr>
            <p:cNvPr id="163" name="TextBox 162">
              <a:extLst>
                <a:ext uri="{FF2B5EF4-FFF2-40B4-BE49-F238E27FC236}">
                  <a16:creationId xmlns:a16="http://schemas.microsoft.com/office/drawing/2014/main" id="{68017BCE-AFD8-4144-8942-22D5AAB67A6C}"/>
                </a:ext>
              </a:extLst>
            </p:cNvPr>
            <p:cNvSpPr txBox="1"/>
            <p:nvPr/>
          </p:nvSpPr>
          <p:spPr>
            <a:xfrm>
              <a:off x="650687" y="2030251"/>
              <a:ext cx="2895653" cy="244682"/>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All Areas impacted</a:t>
              </a:r>
            </a:p>
          </p:txBody>
        </p:sp>
        <p:sp>
          <p:nvSpPr>
            <p:cNvPr id="164" name="TextBox 163">
              <a:extLst>
                <a:ext uri="{FF2B5EF4-FFF2-40B4-BE49-F238E27FC236}">
                  <a16:creationId xmlns:a16="http://schemas.microsoft.com/office/drawing/2014/main" id="{CD54F5FD-C966-4E5B-845A-D403974172BE}"/>
                </a:ext>
              </a:extLst>
            </p:cNvPr>
            <p:cNvSpPr txBox="1"/>
            <p:nvPr/>
          </p:nvSpPr>
          <p:spPr>
            <a:xfrm>
              <a:off x="3230251" y="2030251"/>
              <a:ext cx="2602381" cy="1158779"/>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Better understanding of the gaps in the current processes and roles and responsibilitie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Improved data management governance in line with key goals </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5" name="TextBox 164">
            <a:extLst>
              <a:ext uri="{FF2B5EF4-FFF2-40B4-BE49-F238E27FC236}">
                <a16:creationId xmlns:a16="http://schemas.microsoft.com/office/drawing/2014/main" id="{6145C627-020F-4340-AE7D-EEB8386E46C3}"/>
              </a:ext>
            </a:extLst>
          </p:cNvPr>
          <p:cNvSpPr txBox="1"/>
          <p:nvPr/>
        </p:nvSpPr>
        <p:spPr>
          <a:xfrm>
            <a:off x="6254799" y="3548307"/>
            <a:ext cx="2321064" cy="854080"/>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Available documentation on data management and data governance charter required</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Documentation on definitions of current roles and responsibilities required</a:t>
            </a:r>
          </a:p>
        </p:txBody>
      </p:sp>
      <p:sp>
        <p:nvSpPr>
          <p:cNvPr id="166" name="TextBox 165">
            <a:extLst>
              <a:ext uri="{FF2B5EF4-FFF2-40B4-BE49-F238E27FC236}">
                <a16:creationId xmlns:a16="http://schemas.microsoft.com/office/drawing/2014/main" id="{18A5960B-F733-40DF-BD81-623470218B77}"/>
              </a:ext>
            </a:extLst>
          </p:cNvPr>
          <p:cNvSpPr txBox="1"/>
          <p:nvPr/>
        </p:nvSpPr>
        <p:spPr>
          <a:xfrm>
            <a:off x="8980424" y="3548307"/>
            <a:ext cx="2321064" cy="701731"/>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Organize a couple of workshops to deep-dive on the data management capabilities with stakeholders across the organization</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Total of 4-6 weeks effort required</a:t>
            </a:r>
          </a:p>
        </p:txBody>
      </p:sp>
      <p:sp>
        <p:nvSpPr>
          <p:cNvPr id="167" name="Rectangle 166">
            <a:extLst>
              <a:ext uri="{FF2B5EF4-FFF2-40B4-BE49-F238E27FC236}">
                <a16:creationId xmlns:a16="http://schemas.microsoft.com/office/drawing/2014/main" id="{059FDAE2-4FA6-41EE-AF42-94CFC41687A3}"/>
              </a:ext>
            </a:extLst>
          </p:cNvPr>
          <p:cNvSpPr/>
          <p:nvPr/>
        </p:nvSpPr>
        <p:spPr>
          <a:xfrm>
            <a:off x="8149089" y="4812493"/>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8" name="Rectangle 167">
            <a:extLst>
              <a:ext uri="{FF2B5EF4-FFF2-40B4-BE49-F238E27FC236}">
                <a16:creationId xmlns:a16="http://schemas.microsoft.com/office/drawing/2014/main" id="{FB64E794-8F4D-4DE2-9846-4D3D8861A6DB}"/>
              </a:ext>
            </a:extLst>
          </p:cNvPr>
          <p:cNvSpPr/>
          <p:nvPr/>
        </p:nvSpPr>
        <p:spPr>
          <a:xfrm>
            <a:off x="8696547" y="4813975"/>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1" name="Rectangle 170">
            <a:extLst>
              <a:ext uri="{FF2B5EF4-FFF2-40B4-BE49-F238E27FC236}">
                <a16:creationId xmlns:a16="http://schemas.microsoft.com/office/drawing/2014/main" id="{C19D7271-A249-4F8F-8DD3-EEA1DC0E71EF}"/>
              </a:ext>
            </a:extLst>
          </p:cNvPr>
          <p:cNvSpPr/>
          <p:nvPr/>
        </p:nvSpPr>
        <p:spPr>
          <a:xfrm>
            <a:off x="9248442" y="4815452"/>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72" name="Rectangle 171">
            <a:extLst>
              <a:ext uri="{FF2B5EF4-FFF2-40B4-BE49-F238E27FC236}">
                <a16:creationId xmlns:a16="http://schemas.microsoft.com/office/drawing/2014/main" id="{C024EC4A-F519-48FA-9B02-A0FB8CEF8373}"/>
              </a:ext>
            </a:extLst>
          </p:cNvPr>
          <p:cNvSpPr/>
          <p:nvPr/>
        </p:nvSpPr>
        <p:spPr>
          <a:xfrm>
            <a:off x="8149089" y="5246018"/>
            <a:ext cx="499337" cy="388101"/>
          </a:xfrm>
          <a:prstGeom prst="rect">
            <a:avLst/>
          </a:prstGeom>
          <a:solidFill>
            <a:schemeClr val="accent2"/>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5" name="Rectangle 174">
            <a:extLst>
              <a:ext uri="{FF2B5EF4-FFF2-40B4-BE49-F238E27FC236}">
                <a16:creationId xmlns:a16="http://schemas.microsoft.com/office/drawing/2014/main" id="{C926D7FC-4C8C-4A9A-B9FB-7DC1AE291F10}"/>
              </a:ext>
            </a:extLst>
          </p:cNvPr>
          <p:cNvSpPr/>
          <p:nvPr/>
        </p:nvSpPr>
        <p:spPr>
          <a:xfrm>
            <a:off x="8696547" y="5246018"/>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76" name="Rectangle 175">
            <a:extLst>
              <a:ext uri="{FF2B5EF4-FFF2-40B4-BE49-F238E27FC236}">
                <a16:creationId xmlns:a16="http://schemas.microsoft.com/office/drawing/2014/main" id="{B884E8FB-0914-44C0-AA6D-64F5A2B23206}"/>
              </a:ext>
            </a:extLst>
          </p:cNvPr>
          <p:cNvSpPr/>
          <p:nvPr/>
        </p:nvSpPr>
        <p:spPr>
          <a:xfrm>
            <a:off x="9248442" y="5246018"/>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77" name="Rectangle 176">
            <a:extLst>
              <a:ext uri="{FF2B5EF4-FFF2-40B4-BE49-F238E27FC236}">
                <a16:creationId xmlns:a16="http://schemas.microsoft.com/office/drawing/2014/main" id="{00EBED82-200D-4790-B2E8-1FEC9DF59EA2}"/>
              </a:ext>
            </a:extLst>
          </p:cNvPr>
          <p:cNvSpPr/>
          <p:nvPr/>
        </p:nvSpPr>
        <p:spPr>
          <a:xfrm>
            <a:off x="8149089" y="5655872"/>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78" name="Rectangle 177">
            <a:extLst>
              <a:ext uri="{FF2B5EF4-FFF2-40B4-BE49-F238E27FC236}">
                <a16:creationId xmlns:a16="http://schemas.microsoft.com/office/drawing/2014/main" id="{72A53160-F7F4-4E9F-A921-49DAA306AC8F}"/>
              </a:ext>
            </a:extLst>
          </p:cNvPr>
          <p:cNvSpPr/>
          <p:nvPr/>
        </p:nvSpPr>
        <p:spPr>
          <a:xfrm>
            <a:off x="8696547" y="5655872"/>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79" name="Rectangle 178">
            <a:extLst>
              <a:ext uri="{FF2B5EF4-FFF2-40B4-BE49-F238E27FC236}">
                <a16:creationId xmlns:a16="http://schemas.microsoft.com/office/drawing/2014/main" id="{5AD6DA8E-D517-4670-901E-F1043082FA96}"/>
              </a:ext>
            </a:extLst>
          </p:cNvPr>
          <p:cNvSpPr/>
          <p:nvPr/>
        </p:nvSpPr>
        <p:spPr>
          <a:xfrm>
            <a:off x="9248442" y="5655872"/>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80" name="Rounded Rectangle 150">
            <a:extLst>
              <a:ext uri="{FF2B5EF4-FFF2-40B4-BE49-F238E27FC236}">
                <a16:creationId xmlns:a16="http://schemas.microsoft.com/office/drawing/2014/main" id="{1EC99F32-9264-49D1-9AD7-CF7002601652}"/>
              </a:ext>
            </a:extLst>
          </p:cNvPr>
          <p:cNvSpPr/>
          <p:nvPr/>
        </p:nvSpPr>
        <p:spPr>
          <a:xfrm>
            <a:off x="6220763" y="2083952"/>
            <a:ext cx="1169348" cy="504061"/>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E2E38"/>
                </a:solidFill>
                <a:effectLst/>
                <a:uLnTx/>
                <a:uFillTx/>
                <a:latin typeface="Calibri" panose="020F0502020204030204"/>
                <a:ea typeface="+mn-ea"/>
                <a:cs typeface="+mn-cs"/>
              </a:rPr>
              <a:t>Defensive</a:t>
            </a:r>
          </a:p>
        </p:txBody>
      </p:sp>
      <p:sp>
        <p:nvSpPr>
          <p:cNvPr id="185" name="Rectangle 184">
            <a:extLst>
              <a:ext uri="{FF2B5EF4-FFF2-40B4-BE49-F238E27FC236}">
                <a16:creationId xmlns:a16="http://schemas.microsoft.com/office/drawing/2014/main" id="{8C1940E8-E59F-45C7-80E2-DEA68B82C9D8}"/>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86" name="Picture 185">
            <a:extLst>
              <a:ext uri="{FF2B5EF4-FFF2-40B4-BE49-F238E27FC236}">
                <a16:creationId xmlns:a16="http://schemas.microsoft.com/office/drawing/2014/main" id="{0CBE7F61-EB4B-4931-8A9D-B014B5D7153A}"/>
              </a:ext>
            </a:extLst>
          </p:cNvPr>
          <p:cNvPicPr>
            <a:picLocks noChangeAspect="1"/>
          </p:cNvPicPr>
          <p:nvPr/>
        </p:nvPicPr>
        <p:blipFill>
          <a:blip r:embed="rId7"/>
          <a:stretch>
            <a:fillRect/>
          </a:stretch>
        </p:blipFill>
        <p:spPr>
          <a:xfrm>
            <a:off x="10853730" y="89660"/>
            <a:ext cx="1183415" cy="552969"/>
          </a:xfrm>
          <a:prstGeom prst="rect">
            <a:avLst/>
          </a:prstGeom>
        </p:spPr>
      </p:pic>
      <p:sp>
        <p:nvSpPr>
          <p:cNvPr id="86" name="Rectangle 85">
            <a:extLst>
              <a:ext uri="{FF2B5EF4-FFF2-40B4-BE49-F238E27FC236}">
                <a16:creationId xmlns:a16="http://schemas.microsoft.com/office/drawing/2014/main" id="{2302AB09-C349-4FC2-9D3D-3F892E575044}"/>
              </a:ext>
            </a:extLst>
          </p:cNvPr>
          <p:cNvSpPr/>
          <p:nvPr/>
        </p:nvSpPr>
        <p:spPr>
          <a:xfrm>
            <a:off x="2600325" y="900140"/>
            <a:ext cx="8839008"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Improving Data Governance and integrating Data Management into our business for ensuring regulatory compliance and easy/timely access to data</a:t>
            </a:r>
            <a:endParaRPr kumimoji="0" lang="en-US" sz="1400" b="0"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cxnSp>
        <p:nvCxnSpPr>
          <p:cNvPr id="87" name="Straight Connector 86">
            <a:extLst>
              <a:ext uri="{FF2B5EF4-FFF2-40B4-BE49-F238E27FC236}">
                <a16:creationId xmlns:a16="http://schemas.microsoft.com/office/drawing/2014/main" id="{EC3E59A9-ED6F-42CB-A914-B1DF6E824996}"/>
              </a:ext>
            </a:extLst>
          </p:cNvPr>
          <p:cNvCxnSpPr>
            <a:cxnSpLocks/>
          </p:cNvCxnSpPr>
          <p:nvPr/>
        </p:nvCxnSpPr>
        <p:spPr>
          <a:xfrm>
            <a:off x="615105" y="1209729"/>
            <a:ext cx="10824228"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9" name="Flowchart: Manual Input 88">
            <a:extLst>
              <a:ext uri="{FF2B5EF4-FFF2-40B4-BE49-F238E27FC236}">
                <a16:creationId xmlns:a16="http://schemas.microsoft.com/office/drawing/2014/main" id="{7F3394D4-E66E-4290-8F38-BAE950F22730}"/>
              </a:ext>
            </a:extLst>
          </p:cNvPr>
          <p:cNvSpPr/>
          <p:nvPr/>
        </p:nvSpPr>
        <p:spPr>
          <a:xfrm>
            <a:off x="615106" y="880900"/>
            <a:ext cx="1985220"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1</a:t>
            </a:r>
          </a:p>
        </p:txBody>
      </p:sp>
    </p:spTree>
    <p:extLst>
      <p:ext uri="{BB962C8B-B14F-4D97-AF65-F5344CB8AC3E}">
        <p14:creationId xmlns:p14="http://schemas.microsoft.com/office/powerpoint/2010/main" val="14727289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2E6B3-D94B-41EE-A870-4B7BA971A73C}"/>
              </a:ext>
            </a:extLst>
          </p:cNvPr>
          <p:cNvGraphicFramePr>
            <a:graphicFrameLocks noChangeAspect="1"/>
          </p:cNvGraphicFramePr>
          <p:nvPr>
            <p:custDataLst>
              <p:tags r:id="rId1"/>
            </p:custDataLst>
          </p:nvPr>
        </p:nvGraphicFramePr>
        <p:xfrm>
          <a:off x="1435" y="1614"/>
          <a:ext cx="1435" cy="1435"/>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1E62E6B3-D94B-41EE-A870-4B7BA971A73C}"/>
                          </a:ext>
                        </a:extLst>
                      </p:cNvPr>
                      <p:cNvPicPr/>
                      <p:nvPr/>
                    </p:nvPicPr>
                    <p:blipFill>
                      <a:blip r:embed="rId6"/>
                      <a:stretch>
                        <a:fillRect/>
                      </a:stretch>
                    </p:blipFill>
                    <p:spPr>
                      <a:xfrm>
                        <a:off x="1435" y="1614"/>
                        <a:ext cx="1435" cy="14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B0B550-D3E7-4BED-A278-0427ABEB385F}"/>
              </a:ext>
            </a:extLst>
          </p:cNvPr>
          <p:cNvSpPr/>
          <p:nvPr>
            <p:custDataLst>
              <p:tags r:id="rId2"/>
            </p:custDataLst>
          </p:nvPr>
        </p:nvSpPr>
        <p:spPr bwMode="auto">
          <a:xfrm>
            <a:off x="0" y="179"/>
            <a:ext cx="143435" cy="143435"/>
          </a:xfrm>
          <a:prstGeom prst="rect">
            <a:avLst/>
          </a:prstGeom>
          <a:no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20825" rtl="0" eaLnBrk="1" fontAlgn="base" latinLnBrk="0" hangingPunct="1">
              <a:lnSpc>
                <a:spcPct val="100000"/>
              </a:lnSpc>
              <a:spcBef>
                <a:spcPct val="0"/>
              </a:spcBef>
              <a:spcAft>
                <a:spcPct val="0"/>
              </a:spcAft>
              <a:buClrTx/>
              <a:buSzTx/>
              <a:buFontTx/>
              <a:buNone/>
              <a:tabLst/>
              <a:defRPr/>
            </a:pPr>
            <a:endParaRPr kumimoji="0" lang="en-US" sz="1625" b="0" i="0" u="none" strike="noStrike" kern="1200" cap="none" spc="0" normalizeH="0" baseline="0" noProof="0">
              <a:ln>
                <a:noFill/>
              </a:ln>
              <a:solidFill>
                <a:srgbClr val="2E2E38"/>
              </a:solidFill>
              <a:effectLst/>
              <a:uLnTx/>
              <a:uFillTx/>
              <a:latin typeface="Corbel" panose="020B0503020204020204" pitchFamily="34" charset="0"/>
              <a:ea typeface="+mn-ea"/>
              <a:cs typeface="+mn-cs"/>
              <a:sym typeface="EYInterstate Light" panose="02000506000000020004" pitchFamily="2" charset="0"/>
            </a:endParaRPr>
          </a:p>
        </p:txBody>
      </p:sp>
      <p:sp>
        <p:nvSpPr>
          <p:cNvPr id="151" name="Rounded Rectangle 150">
            <a:extLst>
              <a:ext uri="{FF2B5EF4-FFF2-40B4-BE49-F238E27FC236}">
                <a16:creationId xmlns:a16="http://schemas.microsoft.com/office/drawing/2014/main" id="{E17DA885-D864-41B9-9A66-9C1A25408257}"/>
              </a:ext>
            </a:extLst>
          </p:cNvPr>
          <p:cNvSpPr/>
          <p:nvPr/>
        </p:nvSpPr>
        <p:spPr>
          <a:xfrm>
            <a:off x="1946599" y="1274891"/>
            <a:ext cx="3888621" cy="540000"/>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994" b="0" i="0" u="none" strike="noStrike" kern="0" cap="none" spc="0" normalizeH="0" baseline="0" noProof="0" dirty="0">
                <a:ln>
                  <a:noFill/>
                </a:ln>
                <a:solidFill>
                  <a:srgbClr val="2E2E38"/>
                </a:solidFill>
                <a:effectLst/>
                <a:uLnTx/>
                <a:uFillTx/>
                <a:latin typeface="Calibri" panose="020F0502020204030204"/>
                <a:ea typeface="+mn-ea"/>
                <a:cs typeface="+mn-cs"/>
              </a:rPr>
              <a:t>Document and define data lineage</a:t>
            </a:r>
          </a:p>
        </p:txBody>
      </p:sp>
      <p:sp>
        <p:nvSpPr>
          <p:cNvPr id="155" name="Rectangle 154">
            <a:extLst>
              <a:ext uri="{FF2B5EF4-FFF2-40B4-BE49-F238E27FC236}">
                <a16:creationId xmlns:a16="http://schemas.microsoft.com/office/drawing/2014/main" id="{99A622E7-7953-4F9A-BDBA-83764677A3CA}"/>
              </a:ext>
            </a:extLst>
          </p:cNvPr>
          <p:cNvSpPr/>
          <p:nvPr/>
        </p:nvSpPr>
        <p:spPr>
          <a:xfrm>
            <a:off x="608434" y="1270438"/>
            <a:ext cx="1177564" cy="540000"/>
          </a:xfrm>
          <a:prstGeom prst="rect">
            <a:avLst/>
          </a:prstGeom>
          <a:solidFill>
            <a:schemeClr val="tx2"/>
          </a:solidFill>
          <a:ln w="9525" cap="flat" cmpd="sng" algn="ctr">
            <a:solidFill>
              <a:schemeClr val="accent1"/>
            </a:solidFill>
            <a:prstDash val="solid"/>
          </a:ln>
          <a:effectLst/>
        </p:spPr>
        <p:txBody>
          <a:bodyPr lIns="65054" tIns="65054" rIns="65054" bIns="65054" rtlCol="0" anchor="ctr" anchorCtr="0"/>
          <a:lstStyle/>
          <a:p>
            <a:pPr marL="0" marR="0" lvl="0" indent="0" algn="ctr" defTabSz="913845" rtl="0" eaLnBrk="1" fontAlgn="auto" latinLnBrk="0" hangingPunct="1">
              <a:lnSpc>
                <a:spcPct val="100000"/>
              </a:lnSpc>
              <a:spcBef>
                <a:spcPts val="0"/>
              </a:spcBef>
              <a:spcAft>
                <a:spcPts val="0"/>
              </a:spcAft>
              <a:buClrTx/>
              <a:buSzTx/>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Defining data lineage</a:t>
            </a:r>
          </a:p>
        </p:txBody>
      </p:sp>
      <p:cxnSp>
        <p:nvCxnSpPr>
          <p:cNvPr id="156" name="Straight Connector 155">
            <a:extLst>
              <a:ext uri="{FF2B5EF4-FFF2-40B4-BE49-F238E27FC236}">
                <a16:creationId xmlns:a16="http://schemas.microsoft.com/office/drawing/2014/main" id="{089F8C67-8227-42C1-9C7A-016071E3FB03}"/>
              </a:ext>
            </a:extLst>
          </p:cNvPr>
          <p:cNvCxnSpPr>
            <a:cxnSpLocks/>
            <a:stCxn id="155" idx="3"/>
            <a:endCxn id="151" idx="1"/>
          </p:cNvCxnSpPr>
          <p:nvPr/>
        </p:nvCxnSpPr>
        <p:spPr>
          <a:xfrm>
            <a:off x="1785998" y="1540438"/>
            <a:ext cx="160601" cy="4453"/>
          </a:xfrm>
          <a:prstGeom prst="line">
            <a:avLst/>
          </a:prstGeom>
          <a:noFill/>
          <a:ln w="76200" cap="flat" cmpd="sng" algn="ctr">
            <a:solidFill>
              <a:schemeClr val="tx2"/>
            </a:solidFill>
            <a:prstDash val="solid"/>
          </a:ln>
          <a:effectLst/>
        </p:spPr>
      </p:cxnSp>
      <p:sp>
        <p:nvSpPr>
          <p:cNvPr id="237" name="Rectangle 236">
            <a:extLst>
              <a:ext uri="{FF2B5EF4-FFF2-40B4-BE49-F238E27FC236}">
                <a16:creationId xmlns:a16="http://schemas.microsoft.com/office/drawing/2014/main" id="{C46689C9-6D51-48B3-96FA-65457418D838}"/>
              </a:ext>
            </a:extLst>
          </p:cNvPr>
          <p:cNvSpPr>
            <a:spLocks/>
          </p:cNvSpPr>
          <p:nvPr/>
        </p:nvSpPr>
        <p:spPr bwMode="gray">
          <a:xfrm>
            <a:off x="616651" y="3458258"/>
            <a:ext cx="5220488"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238" name="Round Same Side Corner Rectangle 24">
            <a:extLst>
              <a:ext uri="{FF2B5EF4-FFF2-40B4-BE49-F238E27FC236}">
                <a16:creationId xmlns:a16="http://schemas.microsoft.com/office/drawing/2014/main" id="{1C3FD96F-930D-4DCE-98F3-A5213983C662}"/>
              </a:ext>
            </a:extLst>
          </p:cNvPr>
          <p:cNvSpPr>
            <a:spLocks/>
          </p:cNvSpPr>
          <p:nvPr/>
        </p:nvSpPr>
        <p:spPr bwMode="gray">
          <a:xfrm>
            <a:off x="616650" y="3173045"/>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Ease of implementation </a:t>
            </a:r>
          </a:p>
        </p:txBody>
      </p:sp>
      <p:sp>
        <p:nvSpPr>
          <p:cNvPr id="240" name="Rectangle 239">
            <a:extLst>
              <a:ext uri="{FF2B5EF4-FFF2-40B4-BE49-F238E27FC236}">
                <a16:creationId xmlns:a16="http://schemas.microsoft.com/office/drawing/2014/main" id="{AE145C0D-923D-4C8A-9CA3-EF5A2C698466}"/>
              </a:ext>
            </a:extLst>
          </p:cNvPr>
          <p:cNvSpPr>
            <a:spLocks/>
          </p:cNvSpPr>
          <p:nvPr/>
        </p:nvSpPr>
        <p:spPr bwMode="gray">
          <a:xfrm>
            <a:off x="656197" y="4581233"/>
            <a:ext cx="5220488" cy="2004776"/>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542"/>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p:txBody>
      </p:sp>
      <p:sp>
        <p:nvSpPr>
          <p:cNvPr id="241" name="Round Same Side Corner Rectangle 24">
            <a:extLst>
              <a:ext uri="{FF2B5EF4-FFF2-40B4-BE49-F238E27FC236}">
                <a16:creationId xmlns:a16="http://schemas.microsoft.com/office/drawing/2014/main" id="{906A34BC-A5AE-470C-BF2D-BE35E81C422A}"/>
              </a:ext>
            </a:extLst>
          </p:cNvPr>
          <p:cNvSpPr>
            <a:spLocks/>
          </p:cNvSpPr>
          <p:nvPr/>
        </p:nvSpPr>
        <p:spPr bwMode="gray">
          <a:xfrm>
            <a:off x="628095" y="4308532"/>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Use case heatmap</a:t>
            </a:r>
          </a:p>
        </p:txBody>
      </p:sp>
      <p:grpSp>
        <p:nvGrpSpPr>
          <p:cNvPr id="3" name="Group 2">
            <a:extLst>
              <a:ext uri="{FF2B5EF4-FFF2-40B4-BE49-F238E27FC236}">
                <a16:creationId xmlns:a16="http://schemas.microsoft.com/office/drawing/2014/main" id="{53110A58-D7FD-4FD8-993E-A02B19DD39D5}"/>
              </a:ext>
            </a:extLst>
          </p:cNvPr>
          <p:cNvGrpSpPr/>
          <p:nvPr/>
        </p:nvGrpSpPr>
        <p:grpSpPr>
          <a:xfrm>
            <a:off x="1866766" y="4635407"/>
            <a:ext cx="2549874" cy="1938566"/>
            <a:chOff x="12687534" y="4543604"/>
            <a:chExt cx="2549874" cy="1938566"/>
          </a:xfrm>
        </p:grpSpPr>
        <p:sp>
          <p:nvSpPr>
            <p:cNvPr id="154" name="Rectangle 153">
              <a:extLst>
                <a:ext uri="{FF2B5EF4-FFF2-40B4-BE49-F238E27FC236}">
                  <a16:creationId xmlns:a16="http://schemas.microsoft.com/office/drawing/2014/main" id="{0C24D6FD-B372-4158-A1DC-BA85B62FF792}"/>
                </a:ext>
              </a:extLst>
            </p:cNvPr>
            <p:cNvSpPr>
              <a:spLocks/>
            </p:cNvSpPr>
            <p:nvPr/>
          </p:nvSpPr>
          <p:spPr bwMode="gray">
            <a:xfrm>
              <a:off x="12687534" y="4543604"/>
              <a:ext cx="2549874" cy="1938566"/>
            </a:xfrm>
            <a:prstGeom prst="rect">
              <a:avLst/>
            </a:prstGeom>
            <a:solidFill>
              <a:srgbClr val="FFFFFF"/>
            </a:solidFill>
            <a:ln w="19050">
              <a:solidFill>
                <a:schemeClr val="bg1"/>
              </a:solidFill>
            </a:ln>
          </p:spPr>
          <p:txBody>
            <a:bodyPr wrap="square" lIns="65054" tIns="65054" rIns="65054" bIns="65054">
              <a:noAutofit/>
            </a:bodyPr>
            <a:lstStyle/>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p:txBody>
        </p:sp>
        <p:cxnSp>
          <p:nvCxnSpPr>
            <p:cNvPr id="181" name="Straight Connector 180">
              <a:extLst>
                <a:ext uri="{FF2B5EF4-FFF2-40B4-BE49-F238E27FC236}">
                  <a16:creationId xmlns:a16="http://schemas.microsoft.com/office/drawing/2014/main" id="{C0592825-A5A1-476C-9573-4FFDF74C524A}"/>
                </a:ext>
              </a:extLst>
            </p:cNvPr>
            <p:cNvCxnSpPr>
              <a:cxnSpLocks/>
            </p:cNvCxnSpPr>
            <p:nvPr/>
          </p:nvCxnSpPr>
          <p:spPr>
            <a:xfrm flipV="1">
              <a:off x="13328368" y="5080542"/>
              <a:ext cx="1621280" cy="1"/>
            </a:xfrm>
            <a:prstGeom prst="line">
              <a:avLst/>
            </a:prstGeom>
            <a:noFill/>
            <a:ln w="3175" cap="flat" cmpd="sng" algn="ctr">
              <a:solidFill>
                <a:schemeClr val="bg1">
                  <a:lumMod val="85000"/>
                </a:schemeClr>
              </a:solidFill>
              <a:prstDash val="dash"/>
              <a:tailEnd type="none"/>
            </a:ln>
            <a:effectLst/>
          </p:spPr>
        </p:cxnSp>
        <p:cxnSp>
          <p:nvCxnSpPr>
            <p:cNvPr id="182" name="Straight Connector 181">
              <a:extLst>
                <a:ext uri="{FF2B5EF4-FFF2-40B4-BE49-F238E27FC236}">
                  <a16:creationId xmlns:a16="http://schemas.microsoft.com/office/drawing/2014/main" id="{1A8390A6-9ED5-4BD4-BD44-06CDC90FC296}"/>
                </a:ext>
              </a:extLst>
            </p:cNvPr>
            <p:cNvCxnSpPr>
              <a:cxnSpLocks/>
            </p:cNvCxnSpPr>
            <p:nvPr/>
          </p:nvCxnSpPr>
          <p:spPr>
            <a:xfrm flipV="1">
              <a:off x="13879871" y="4673063"/>
              <a:ext cx="0" cy="1214603"/>
            </a:xfrm>
            <a:prstGeom prst="line">
              <a:avLst/>
            </a:prstGeom>
            <a:noFill/>
            <a:ln w="3175" cap="flat" cmpd="sng" algn="ctr">
              <a:solidFill>
                <a:schemeClr val="bg1">
                  <a:lumMod val="85000"/>
                </a:schemeClr>
              </a:solidFill>
              <a:prstDash val="dash"/>
              <a:tailEnd type="none"/>
            </a:ln>
            <a:effectLst/>
          </p:spPr>
        </p:cxnSp>
        <p:cxnSp>
          <p:nvCxnSpPr>
            <p:cNvPr id="183" name="Straight Connector 182">
              <a:extLst>
                <a:ext uri="{FF2B5EF4-FFF2-40B4-BE49-F238E27FC236}">
                  <a16:creationId xmlns:a16="http://schemas.microsoft.com/office/drawing/2014/main" id="{38722D98-9BC5-41A1-8A2B-4E286C4D967E}"/>
                </a:ext>
              </a:extLst>
            </p:cNvPr>
            <p:cNvCxnSpPr>
              <a:cxnSpLocks/>
            </p:cNvCxnSpPr>
            <p:nvPr/>
          </p:nvCxnSpPr>
          <p:spPr>
            <a:xfrm flipV="1">
              <a:off x="14436281" y="4673062"/>
              <a:ext cx="0" cy="1214603"/>
            </a:xfrm>
            <a:prstGeom prst="line">
              <a:avLst/>
            </a:prstGeom>
            <a:noFill/>
            <a:ln w="3175" cap="flat" cmpd="sng" algn="ctr">
              <a:solidFill>
                <a:schemeClr val="bg1">
                  <a:lumMod val="85000"/>
                </a:schemeClr>
              </a:solidFill>
              <a:prstDash val="dash"/>
              <a:tailEnd type="none"/>
            </a:ln>
            <a:effectLst/>
          </p:spPr>
        </p:cxnSp>
        <p:cxnSp>
          <p:nvCxnSpPr>
            <p:cNvPr id="184" name="Straight Connector 183">
              <a:extLst>
                <a:ext uri="{FF2B5EF4-FFF2-40B4-BE49-F238E27FC236}">
                  <a16:creationId xmlns:a16="http://schemas.microsoft.com/office/drawing/2014/main" id="{3BECF907-3CF4-4B25-AA94-9A9A2F3961AA}"/>
                </a:ext>
              </a:extLst>
            </p:cNvPr>
            <p:cNvCxnSpPr>
              <a:cxnSpLocks/>
            </p:cNvCxnSpPr>
            <p:nvPr/>
          </p:nvCxnSpPr>
          <p:spPr>
            <a:xfrm flipV="1">
              <a:off x="13352428" y="5483833"/>
              <a:ext cx="1621280" cy="1"/>
            </a:xfrm>
            <a:prstGeom prst="line">
              <a:avLst/>
            </a:prstGeom>
            <a:noFill/>
            <a:ln w="3175" cap="flat" cmpd="sng" algn="ctr">
              <a:solidFill>
                <a:schemeClr val="bg1">
                  <a:lumMod val="85000"/>
                </a:schemeClr>
              </a:solidFill>
              <a:prstDash val="dash"/>
              <a:tailEnd type="none"/>
            </a:ln>
            <a:effectLst/>
          </p:spPr>
        </p:cxnSp>
        <p:cxnSp>
          <p:nvCxnSpPr>
            <p:cNvPr id="192" name="Straight Arrow Connector 191">
              <a:extLst>
                <a:ext uri="{FF2B5EF4-FFF2-40B4-BE49-F238E27FC236}">
                  <a16:creationId xmlns:a16="http://schemas.microsoft.com/office/drawing/2014/main" id="{3CDBB80C-E57A-478C-9984-0B2E7373A007}"/>
                </a:ext>
              </a:extLst>
            </p:cNvPr>
            <p:cNvCxnSpPr>
              <a:cxnSpLocks/>
            </p:cNvCxnSpPr>
            <p:nvPr/>
          </p:nvCxnSpPr>
          <p:spPr>
            <a:xfrm flipV="1">
              <a:off x="13328368" y="4590630"/>
              <a:ext cx="0" cy="1301082"/>
            </a:xfrm>
            <a:prstGeom prst="straightConnector1">
              <a:avLst/>
            </a:prstGeom>
            <a:noFill/>
            <a:ln w="15875" cap="flat" cmpd="sng" algn="ctr">
              <a:solidFill>
                <a:srgbClr val="000000"/>
              </a:solidFill>
              <a:prstDash val="solid"/>
              <a:tailEnd type="triangle"/>
            </a:ln>
            <a:effectLst/>
          </p:spPr>
        </p:cxnSp>
        <p:cxnSp>
          <p:nvCxnSpPr>
            <p:cNvPr id="193" name="Straight Arrow Connector 192">
              <a:extLst>
                <a:ext uri="{FF2B5EF4-FFF2-40B4-BE49-F238E27FC236}">
                  <a16:creationId xmlns:a16="http://schemas.microsoft.com/office/drawing/2014/main" id="{8DC67D23-1B3E-4B6B-A47F-7E7561357191}"/>
                </a:ext>
              </a:extLst>
            </p:cNvPr>
            <p:cNvCxnSpPr>
              <a:cxnSpLocks/>
            </p:cNvCxnSpPr>
            <p:nvPr/>
          </p:nvCxnSpPr>
          <p:spPr>
            <a:xfrm>
              <a:off x="13328368" y="5888245"/>
              <a:ext cx="1724766" cy="0"/>
            </a:xfrm>
            <a:prstGeom prst="straightConnector1">
              <a:avLst/>
            </a:prstGeom>
            <a:noFill/>
            <a:ln w="15875" cap="flat" cmpd="sng" algn="ctr">
              <a:solidFill>
                <a:srgbClr val="000000"/>
              </a:solidFill>
              <a:prstDash val="solid"/>
              <a:tailEnd type="triangle"/>
            </a:ln>
            <a:effectLst/>
          </p:spPr>
        </p:cxnSp>
        <p:sp>
          <p:nvSpPr>
            <p:cNvPr id="194" name="TextBox 193">
              <a:extLst>
                <a:ext uri="{FF2B5EF4-FFF2-40B4-BE49-F238E27FC236}">
                  <a16:creationId xmlns:a16="http://schemas.microsoft.com/office/drawing/2014/main" id="{D8875C31-66A0-47E4-B473-05E693070C92}"/>
                </a:ext>
              </a:extLst>
            </p:cNvPr>
            <p:cNvSpPr txBox="1"/>
            <p:nvPr/>
          </p:nvSpPr>
          <p:spPr>
            <a:xfrm>
              <a:off x="13270056" y="6054218"/>
              <a:ext cx="1798714"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Ease of implementation</a:t>
              </a:r>
            </a:p>
          </p:txBody>
        </p:sp>
        <p:sp>
          <p:nvSpPr>
            <p:cNvPr id="195" name="TextBox 194">
              <a:extLst>
                <a:ext uri="{FF2B5EF4-FFF2-40B4-BE49-F238E27FC236}">
                  <a16:creationId xmlns:a16="http://schemas.microsoft.com/office/drawing/2014/main" id="{AEF94116-F890-49D5-BFE1-54599BD88AAC}"/>
                </a:ext>
              </a:extLst>
            </p:cNvPr>
            <p:cNvSpPr txBox="1"/>
            <p:nvPr/>
          </p:nvSpPr>
          <p:spPr>
            <a:xfrm rot="16200000">
              <a:off x="12288481" y="5133476"/>
              <a:ext cx="1333177"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Impact</a:t>
              </a:r>
            </a:p>
          </p:txBody>
        </p:sp>
        <p:sp>
          <p:nvSpPr>
            <p:cNvPr id="199" name="TextBox 198">
              <a:extLst>
                <a:ext uri="{FF2B5EF4-FFF2-40B4-BE49-F238E27FC236}">
                  <a16:creationId xmlns:a16="http://schemas.microsoft.com/office/drawing/2014/main" id="{5D4D4C80-D48D-416A-B78C-31599B92E7CF}"/>
                </a:ext>
              </a:extLst>
            </p:cNvPr>
            <p:cNvSpPr txBox="1"/>
            <p:nvPr/>
          </p:nvSpPr>
          <p:spPr>
            <a:xfrm>
              <a:off x="13070774" y="556977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200" name="TextBox 199">
              <a:extLst>
                <a:ext uri="{FF2B5EF4-FFF2-40B4-BE49-F238E27FC236}">
                  <a16:creationId xmlns:a16="http://schemas.microsoft.com/office/drawing/2014/main" id="{F4B86CB4-C16E-4952-9061-EC934214EBA9}"/>
                </a:ext>
              </a:extLst>
            </p:cNvPr>
            <p:cNvSpPr txBox="1"/>
            <p:nvPr/>
          </p:nvSpPr>
          <p:spPr>
            <a:xfrm>
              <a:off x="13070774" y="5118658"/>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201" name="TextBox 200">
              <a:extLst>
                <a:ext uri="{FF2B5EF4-FFF2-40B4-BE49-F238E27FC236}">
                  <a16:creationId xmlns:a16="http://schemas.microsoft.com/office/drawing/2014/main" id="{FC25420A-B36E-43FE-9144-7A14BD2C97A6}"/>
                </a:ext>
              </a:extLst>
            </p:cNvPr>
            <p:cNvSpPr txBox="1"/>
            <p:nvPr/>
          </p:nvSpPr>
          <p:spPr>
            <a:xfrm>
              <a:off x="13070774" y="468419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sp>
          <p:nvSpPr>
            <p:cNvPr id="205" name="TextBox 204">
              <a:extLst>
                <a:ext uri="{FF2B5EF4-FFF2-40B4-BE49-F238E27FC236}">
                  <a16:creationId xmlns:a16="http://schemas.microsoft.com/office/drawing/2014/main" id="{63964CAF-A6BC-4CB5-AEFE-4CDA1983588F}"/>
                </a:ext>
              </a:extLst>
            </p:cNvPr>
            <p:cNvSpPr txBox="1"/>
            <p:nvPr/>
          </p:nvSpPr>
          <p:spPr>
            <a:xfrm>
              <a:off x="13430519"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206" name="TextBox 205">
              <a:extLst>
                <a:ext uri="{FF2B5EF4-FFF2-40B4-BE49-F238E27FC236}">
                  <a16:creationId xmlns:a16="http://schemas.microsoft.com/office/drawing/2014/main" id="{5E87349D-9373-4DEB-AD8D-29C1E2035CF6}"/>
                </a:ext>
              </a:extLst>
            </p:cNvPr>
            <p:cNvSpPr txBox="1"/>
            <p:nvPr/>
          </p:nvSpPr>
          <p:spPr>
            <a:xfrm>
              <a:off x="14007050"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207" name="TextBox 206">
              <a:extLst>
                <a:ext uri="{FF2B5EF4-FFF2-40B4-BE49-F238E27FC236}">
                  <a16:creationId xmlns:a16="http://schemas.microsoft.com/office/drawing/2014/main" id="{92520F1A-555B-4E6A-9FE9-5FEC4F2B25E4}"/>
                </a:ext>
              </a:extLst>
            </p:cNvPr>
            <p:cNvSpPr txBox="1"/>
            <p:nvPr/>
          </p:nvSpPr>
          <p:spPr>
            <a:xfrm>
              <a:off x="14583578"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grpSp>
      <p:sp>
        <p:nvSpPr>
          <p:cNvPr id="94" name="Rectangle 93">
            <a:extLst>
              <a:ext uri="{FF2B5EF4-FFF2-40B4-BE49-F238E27FC236}">
                <a16:creationId xmlns:a16="http://schemas.microsoft.com/office/drawing/2014/main" id="{4468A3D8-52AF-465D-B6D3-F79ECB5FF525}"/>
              </a:ext>
            </a:extLst>
          </p:cNvPr>
          <p:cNvSpPr>
            <a:spLocks/>
          </p:cNvSpPr>
          <p:nvPr/>
        </p:nvSpPr>
        <p:spPr bwMode="gray">
          <a:xfrm>
            <a:off x="6245533" y="4450870"/>
            <a:ext cx="5220488" cy="2004776"/>
          </a:xfrm>
          <a:prstGeom prst="rect">
            <a:avLst/>
          </a:prstGeom>
          <a:no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542"/>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p:txBody>
      </p:sp>
      <p:sp>
        <p:nvSpPr>
          <p:cNvPr id="95" name="Round Same Side Corner Rectangle 24">
            <a:extLst>
              <a:ext uri="{FF2B5EF4-FFF2-40B4-BE49-F238E27FC236}">
                <a16:creationId xmlns:a16="http://schemas.microsoft.com/office/drawing/2014/main" id="{A94FDBBF-F202-4FBD-B852-DACB6771B663}"/>
              </a:ext>
            </a:extLst>
          </p:cNvPr>
          <p:cNvSpPr>
            <a:spLocks/>
          </p:cNvSpPr>
          <p:nvPr/>
        </p:nvSpPr>
        <p:spPr bwMode="gray">
          <a:xfrm>
            <a:off x="6245532" y="4308532"/>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Use case heatmap</a:t>
            </a:r>
          </a:p>
        </p:txBody>
      </p:sp>
      <p:grpSp>
        <p:nvGrpSpPr>
          <p:cNvPr id="7" name="Group 6">
            <a:extLst>
              <a:ext uri="{FF2B5EF4-FFF2-40B4-BE49-F238E27FC236}">
                <a16:creationId xmlns:a16="http://schemas.microsoft.com/office/drawing/2014/main" id="{F7B622D3-1C0D-4604-9E7D-C0FDAABF00FB}"/>
              </a:ext>
            </a:extLst>
          </p:cNvPr>
          <p:cNvGrpSpPr/>
          <p:nvPr/>
        </p:nvGrpSpPr>
        <p:grpSpPr>
          <a:xfrm>
            <a:off x="1946600" y="1999192"/>
            <a:ext cx="3890552" cy="1044280"/>
            <a:chOff x="622344" y="1751542"/>
            <a:chExt cx="5212877" cy="1044280"/>
          </a:xfrm>
        </p:grpSpPr>
        <p:sp>
          <p:nvSpPr>
            <p:cNvPr id="159" name="Rectangle 158">
              <a:extLst>
                <a:ext uri="{FF2B5EF4-FFF2-40B4-BE49-F238E27FC236}">
                  <a16:creationId xmlns:a16="http://schemas.microsoft.com/office/drawing/2014/main" id="{8F5EB3F3-E9C0-4715-BF38-3580849B375D}"/>
                </a:ext>
              </a:extLst>
            </p:cNvPr>
            <p:cNvSpPr>
              <a:spLocks/>
            </p:cNvSpPr>
            <p:nvPr/>
          </p:nvSpPr>
          <p:spPr bwMode="gray">
            <a:xfrm>
              <a:off x="622345" y="2036755"/>
              <a:ext cx="5212876"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60" name="Round Same Side Corner Rectangle 24">
              <a:extLst>
                <a:ext uri="{FF2B5EF4-FFF2-40B4-BE49-F238E27FC236}">
                  <a16:creationId xmlns:a16="http://schemas.microsoft.com/office/drawing/2014/main" id="{0EBC60FF-D14D-4913-91BE-B0527D010B0E}"/>
                </a:ext>
              </a:extLst>
            </p:cNvPr>
            <p:cNvSpPr>
              <a:spLocks/>
            </p:cNvSpPr>
            <p:nvPr/>
          </p:nvSpPr>
          <p:spPr bwMode="gray">
            <a:xfrm>
              <a:off x="622344" y="1751542"/>
              <a:ext cx="5212876"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Impact</a:t>
              </a:r>
            </a:p>
          </p:txBody>
        </p:sp>
        <p:sp>
          <p:nvSpPr>
            <p:cNvPr id="5" name="TextBox 4">
              <a:extLst>
                <a:ext uri="{FF2B5EF4-FFF2-40B4-BE49-F238E27FC236}">
                  <a16:creationId xmlns:a16="http://schemas.microsoft.com/office/drawing/2014/main" id="{5E6CEF4C-B839-4D27-937A-19706289E313}"/>
                </a:ext>
              </a:extLst>
            </p:cNvPr>
            <p:cNvSpPr txBox="1"/>
            <p:nvPr/>
          </p:nvSpPr>
          <p:spPr>
            <a:xfrm>
              <a:off x="650687" y="2030251"/>
              <a:ext cx="2895653" cy="244682"/>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All Areas impacted</a:t>
              </a:r>
            </a:p>
          </p:txBody>
        </p:sp>
        <p:sp>
          <p:nvSpPr>
            <p:cNvPr id="130" name="TextBox 129">
              <a:extLst>
                <a:ext uri="{FF2B5EF4-FFF2-40B4-BE49-F238E27FC236}">
                  <a16:creationId xmlns:a16="http://schemas.microsoft.com/office/drawing/2014/main" id="{26DA1BAD-7B43-4991-ABCC-2D06DDFE899D}"/>
                </a:ext>
              </a:extLst>
            </p:cNvPr>
            <p:cNvSpPr txBox="1"/>
            <p:nvPr/>
          </p:nvSpPr>
          <p:spPr>
            <a:xfrm>
              <a:off x="3376311" y="2030251"/>
              <a:ext cx="2321064" cy="701731"/>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Improved visibility of data flow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Large improvement in data quality</a:t>
              </a:r>
            </a:p>
          </p:txBody>
        </p:sp>
      </p:grpSp>
      <p:sp>
        <p:nvSpPr>
          <p:cNvPr id="135" name="TextBox 134">
            <a:extLst>
              <a:ext uri="{FF2B5EF4-FFF2-40B4-BE49-F238E27FC236}">
                <a16:creationId xmlns:a16="http://schemas.microsoft.com/office/drawing/2014/main" id="{9146C970-D1EE-4045-8E28-6E7CB87E663E}"/>
              </a:ext>
            </a:extLst>
          </p:cNvPr>
          <p:cNvSpPr txBox="1"/>
          <p:nvPr/>
        </p:nvSpPr>
        <p:spPr>
          <a:xfrm>
            <a:off x="650685" y="3462582"/>
            <a:ext cx="2697523" cy="1006429"/>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Reviewing the data movements in Collibra</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Understanding the (if any) gaps in the data flows and tracking its source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Identification of level of depth expected in data flow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36" name="TextBox 135">
            <a:extLst>
              <a:ext uri="{FF2B5EF4-FFF2-40B4-BE49-F238E27FC236}">
                <a16:creationId xmlns:a16="http://schemas.microsoft.com/office/drawing/2014/main" id="{937EF19C-CD2E-43F7-AADA-C1D846ABF673}"/>
              </a:ext>
            </a:extLst>
          </p:cNvPr>
          <p:cNvSpPr txBox="1"/>
          <p:nvPr/>
        </p:nvSpPr>
        <p:spPr>
          <a:xfrm>
            <a:off x="3376310" y="3462582"/>
            <a:ext cx="2458909" cy="854080"/>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dirty="0">
                <a:ln>
                  <a:noFill/>
                </a:ln>
                <a:solidFill>
                  <a:srgbClr val="2E2E38"/>
                </a:solidFill>
                <a:effectLst/>
                <a:uLnTx/>
                <a:uFillTx/>
                <a:latin typeface="Calibri" panose="020F0502020204030204"/>
                <a:ea typeface="+mn-ea"/>
                <a:cs typeface="+mn-cs"/>
              </a:rPr>
              <a:t>Align with/benefit from RAFT documentation</a:t>
            </a:r>
            <a:endPar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Subject matter experts from BUs need to be available</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Significant effort from data team required</a:t>
            </a:r>
          </a:p>
        </p:txBody>
      </p:sp>
      <p:sp>
        <p:nvSpPr>
          <p:cNvPr id="6" name="Rectangle 5">
            <a:extLst>
              <a:ext uri="{FF2B5EF4-FFF2-40B4-BE49-F238E27FC236}">
                <a16:creationId xmlns:a16="http://schemas.microsoft.com/office/drawing/2014/main" id="{07A47E1E-FBDC-4685-A3A0-DB71DBED56CD}"/>
              </a:ext>
            </a:extLst>
          </p:cNvPr>
          <p:cNvSpPr/>
          <p:nvPr/>
        </p:nvSpPr>
        <p:spPr>
          <a:xfrm>
            <a:off x="2544976" y="4726768"/>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C975F1BB-5460-4AC5-8B50-A125A8E01CF9}"/>
              </a:ext>
            </a:extLst>
          </p:cNvPr>
          <p:cNvSpPr/>
          <p:nvPr/>
        </p:nvSpPr>
        <p:spPr>
          <a:xfrm>
            <a:off x="3092434" y="4728250"/>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13660265-D0E1-4849-A01C-FB9E845F9E5C}"/>
              </a:ext>
            </a:extLst>
          </p:cNvPr>
          <p:cNvSpPr/>
          <p:nvPr/>
        </p:nvSpPr>
        <p:spPr>
          <a:xfrm>
            <a:off x="3644329" y="4729727"/>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4" name="Rectangle 73">
            <a:extLst>
              <a:ext uri="{FF2B5EF4-FFF2-40B4-BE49-F238E27FC236}">
                <a16:creationId xmlns:a16="http://schemas.microsoft.com/office/drawing/2014/main" id="{147A0E2E-B9EF-416F-8E01-B6B6A2BE56C8}"/>
              </a:ext>
            </a:extLst>
          </p:cNvPr>
          <p:cNvSpPr/>
          <p:nvPr/>
        </p:nvSpPr>
        <p:spPr>
          <a:xfrm>
            <a:off x="2544976" y="5160293"/>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5" name="Rectangle 74">
            <a:extLst>
              <a:ext uri="{FF2B5EF4-FFF2-40B4-BE49-F238E27FC236}">
                <a16:creationId xmlns:a16="http://schemas.microsoft.com/office/drawing/2014/main" id="{B90A583F-8D96-4A22-A61B-1B0182C5B7E5}"/>
              </a:ext>
            </a:extLst>
          </p:cNvPr>
          <p:cNvSpPr/>
          <p:nvPr/>
        </p:nvSpPr>
        <p:spPr>
          <a:xfrm>
            <a:off x="3092434" y="5160293"/>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6" name="Rectangle 75">
            <a:extLst>
              <a:ext uri="{FF2B5EF4-FFF2-40B4-BE49-F238E27FC236}">
                <a16:creationId xmlns:a16="http://schemas.microsoft.com/office/drawing/2014/main" id="{A60BDD15-A837-42F3-95C7-29F09DE6D9B0}"/>
              </a:ext>
            </a:extLst>
          </p:cNvPr>
          <p:cNvSpPr/>
          <p:nvPr/>
        </p:nvSpPr>
        <p:spPr>
          <a:xfrm>
            <a:off x="3644329" y="5160293"/>
            <a:ext cx="499337" cy="388101"/>
          </a:xfrm>
          <a:prstGeom prst="rect">
            <a:avLst/>
          </a:prstGeom>
          <a:solidFill>
            <a:schemeClr val="accent2"/>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A7D1D6CA-FA9D-40FC-AAD3-B96C51B32D7D}"/>
              </a:ext>
            </a:extLst>
          </p:cNvPr>
          <p:cNvSpPr/>
          <p:nvPr/>
        </p:nvSpPr>
        <p:spPr>
          <a:xfrm>
            <a:off x="2544976" y="5570147"/>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8" name="Rectangle 77">
            <a:extLst>
              <a:ext uri="{FF2B5EF4-FFF2-40B4-BE49-F238E27FC236}">
                <a16:creationId xmlns:a16="http://schemas.microsoft.com/office/drawing/2014/main" id="{AA68CEC8-69D7-465E-B6AB-77C7C8105782}"/>
              </a:ext>
            </a:extLst>
          </p:cNvPr>
          <p:cNvSpPr/>
          <p:nvPr/>
        </p:nvSpPr>
        <p:spPr>
          <a:xfrm>
            <a:off x="3092434" y="5570147"/>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9" name="Rectangle 78">
            <a:extLst>
              <a:ext uri="{FF2B5EF4-FFF2-40B4-BE49-F238E27FC236}">
                <a16:creationId xmlns:a16="http://schemas.microsoft.com/office/drawing/2014/main" id="{D06F1782-1563-4F79-BA5C-D84134A9020B}"/>
              </a:ext>
            </a:extLst>
          </p:cNvPr>
          <p:cNvSpPr/>
          <p:nvPr/>
        </p:nvSpPr>
        <p:spPr>
          <a:xfrm>
            <a:off x="3644329" y="5570147"/>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99" name="Title 5">
            <a:extLst>
              <a:ext uri="{FF2B5EF4-FFF2-40B4-BE49-F238E27FC236}">
                <a16:creationId xmlns:a16="http://schemas.microsoft.com/office/drawing/2014/main" id="{D4BD80A2-2B39-4D6F-A68C-4E63F7CDD251}"/>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69B4"/>
                </a:solidFill>
                <a:effectLst/>
                <a:uLnTx/>
                <a:uFillTx/>
                <a:latin typeface="Calibri Light" panose="020F0302020204030204"/>
                <a:ea typeface="+mj-ea"/>
                <a:cs typeface="+mj-cs"/>
              </a:rPr>
              <a:t>Use Cases for Data Objective 1 (2/4) </a:t>
            </a:r>
          </a:p>
        </p:txBody>
      </p:sp>
      <p:grpSp>
        <p:nvGrpSpPr>
          <p:cNvPr id="100" name="Group 99">
            <a:extLst>
              <a:ext uri="{FF2B5EF4-FFF2-40B4-BE49-F238E27FC236}">
                <a16:creationId xmlns:a16="http://schemas.microsoft.com/office/drawing/2014/main" id="{41F40199-CFC5-49C7-9251-0989C9772F7F}"/>
              </a:ext>
            </a:extLst>
          </p:cNvPr>
          <p:cNvGrpSpPr/>
          <p:nvPr/>
        </p:nvGrpSpPr>
        <p:grpSpPr>
          <a:xfrm>
            <a:off x="7423096" y="4638545"/>
            <a:ext cx="2549874" cy="1938566"/>
            <a:chOff x="12687534" y="4543604"/>
            <a:chExt cx="2549874" cy="1938566"/>
          </a:xfrm>
        </p:grpSpPr>
        <p:sp>
          <p:nvSpPr>
            <p:cNvPr id="103" name="Rectangle 102">
              <a:extLst>
                <a:ext uri="{FF2B5EF4-FFF2-40B4-BE49-F238E27FC236}">
                  <a16:creationId xmlns:a16="http://schemas.microsoft.com/office/drawing/2014/main" id="{06C7632F-F35F-4919-8409-62C8D784AB9A}"/>
                </a:ext>
              </a:extLst>
            </p:cNvPr>
            <p:cNvSpPr>
              <a:spLocks/>
            </p:cNvSpPr>
            <p:nvPr/>
          </p:nvSpPr>
          <p:spPr bwMode="gray">
            <a:xfrm>
              <a:off x="12687534" y="4543604"/>
              <a:ext cx="2549874" cy="1938566"/>
            </a:xfrm>
            <a:prstGeom prst="rect">
              <a:avLst/>
            </a:prstGeom>
            <a:solidFill>
              <a:srgbClr val="FFFFFF"/>
            </a:solidFill>
            <a:ln w="19050">
              <a:solidFill>
                <a:schemeClr val="bg1"/>
              </a:solidFill>
            </a:ln>
          </p:spPr>
          <p:txBody>
            <a:bodyPr wrap="square" lIns="65054" tIns="65054" rIns="65054" bIns="65054">
              <a:noAutofit/>
            </a:bodyPr>
            <a:lstStyle/>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p:txBody>
        </p:sp>
        <p:cxnSp>
          <p:nvCxnSpPr>
            <p:cNvPr id="104" name="Straight Connector 103">
              <a:extLst>
                <a:ext uri="{FF2B5EF4-FFF2-40B4-BE49-F238E27FC236}">
                  <a16:creationId xmlns:a16="http://schemas.microsoft.com/office/drawing/2014/main" id="{E667AF1C-FF61-4B5A-9FD7-13F0775D0D4D}"/>
                </a:ext>
              </a:extLst>
            </p:cNvPr>
            <p:cNvCxnSpPr>
              <a:cxnSpLocks/>
            </p:cNvCxnSpPr>
            <p:nvPr/>
          </p:nvCxnSpPr>
          <p:spPr>
            <a:xfrm flipV="1">
              <a:off x="13328368" y="5080542"/>
              <a:ext cx="1621280" cy="1"/>
            </a:xfrm>
            <a:prstGeom prst="line">
              <a:avLst/>
            </a:prstGeom>
            <a:noFill/>
            <a:ln w="3175" cap="flat" cmpd="sng" algn="ctr">
              <a:solidFill>
                <a:schemeClr val="bg1">
                  <a:lumMod val="85000"/>
                </a:schemeClr>
              </a:solidFill>
              <a:prstDash val="dash"/>
              <a:tailEnd type="none"/>
            </a:ln>
            <a:effectLst/>
          </p:spPr>
        </p:cxnSp>
        <p:cxnSp>
          <p:nvCxnSpPr>
            <p:cNvPr id="105" name="Straight Connector 104">
              <a:extLst>
                <a:ext uri="{FF2B5EF4-FFF2-40B4-BE49-F238E27FC236}">
                  <a16:creationId xmlns:a16="http://schemas.microsoft.com/office/drawing/2014/main" id="{5705939A-76CE-4C5E-9AD5-E367651A4E8E}"/>
                </a:ext>
              </a:extLst>
            </p:cNvPr>
            <p:cNvCxnSpPr>
              <a:cxnSpLocks/>
            </p:cNvCxnSpPr>
            <p:nvPr/>
          </p:nvCxnSpPr>
          <p:spPr>
            <a:xfrm flipV="1">
              <a:off x="13879871" y="4673063"/>
              <a:ext cx="0" cy="1214603"/>
            </a:xfrm>
            <a:prstGeom prst="line">
              <a:avLst/>
            </a:prstGeom>
            <a:noFill/>
            <a:ln w="3175" cap="flat" cmpd="sng" algn="ctr">
              <a:solidFill>
                <a:schemeClr val="bg1">
                  <a:lumMod val="85000"/>
                </a:schemeClr>
              </a:solidFill>
              <a:prstDash val="dash"/>
              <a:tailEnd type="none"/>
            </a:ln>
            <a:effectLst/>
          </p:spPr>
        </p:cxnSp>
        <p:cxnSp>
          <p:nvCxnSpPr>
            <p:cNvPr id="106" name="Straight Connector 105">
              <a:extLst>
                <a:ext uri="{FF2B5EF4-FFF2-40B4-BE49-F238E27FC236}">
                  <a16:creationId xmlns:a16="http://schemas.microsoft.com/office/drawing/2014/main" id="{34C4E1FB-9835-4007-AFA1-36CAD90BE309}"/>
                </a:ext>
              </a:extLst>
            </p:cNvPr>
            <p:cNvCxnSpPr>
              <a:cxnSpLocks/>
            </p:cNvCxnSpPr>
            <p:nvPr/>
          </p:nvCxnSpPr>
          <p:spPr>
            <a:xfrm flipV="1">
              <a:off x="14436281" y="4673062"/>
              <a:ext cx="0" cy="1214603"/>
            </a:xfrm>
            <a:prstGeom prst="line">
              <a:avLst/>
            </a:prstGeom>
            <a:noFill/>
            <a:ln w="3175" cap="flat" cmpd="sng" algn="ctr">
              <a:solidFill>
                <a:schemeClr val="bg1">
                  <a:lumMod val="85000"/>
                </a:schemeClr>
              </a:solidFill>
              <a:prstDash val="dash"/>
              <a:tailEnd type="none"/>
            </a:ln>
            <a:effectLst/>
          </p:spPr>
        </p:cxnSp>
        <p:cxnSp>
          <p:nvCxnSpPr>
            <p:cNvPr id="107" name="Straight Connector 106">
              <a:extLst>
                <a:ext uri="{FF2B5EF4-FFF2-40B4-BE49-F238E27FC236}">
                  <a16:creationId xmlns:a16="http://schemas.microsoft.com/office/drawing/2014/main" id="{7098696C-574E-4FC7-8D74-D1297812B1FA}"/>
                </a:ext>
              </a:extLst>
            </p:cNvPr>
            <p:cNvCxnSpPr>
              <a:cxnSpLocks/>
            </p:cNvCxnSpPr>
            <p:nvPr/>
          </p:nvCxnSpPr>
          <p:spPr>
            <a:xfrm flipV="1">
              <a:off x="13352428" y="5483833"/>
              <a:ext cx="1621280" cy="1"/>
            </a:xfrm>
            <a:prstGeom prst="line">
              <a:avLst/>
            </a:prstGeom>
            <a:noFill/>
            <a:ln w="3175" cap="flat" cmpd="sng" algn="ctr">
              <a:solidFill>
                <a:schemeClr val="bg1">
                  <a:lumMod val="85000"/>
                </a:schemeClr>
              </a:solidFill>
              <a:prstDash val="dash"/>
              <a:tailEnd type="none"/>
            </a:ln>
            <a:effectLst/>
          </p:spPr>
        </p:cxnSp>
        <p:cxnSp>
          <p:nvCxnSpPr>
            <p:cNvPr id="108" name="Straight Arrow Connector 107">
              <a:extLst>
                <a:ext uri="{FF2B5EF4-FFF2-40B4-BE49-F238E27FC236}">
                  <a16:creationId xmlns:a16="http://schemas.microsoft.com/office/drawing/2014/main" id="{BC0CAC76-5B02-451A-B11D-625E85D7BD18}"/>
                </a:ext>
              </a:extLst>
            </p:cNvPr>
            <p:cNvCxnSpPr>
              <a:cxnSpLocks/>
            </p:cNvCxnSpPr>
            <p:nvPr/>
          </p:nvCxnSpPr>
          <p:spPr>
            <a:xfrm flipV="1">
              <a:off x="13328368" y="4590630"/>
              <a:ext cx="0" cy="1301082"/>
            </a:xfrm>
            <a:prstGeom prst="straightConnector1">
              <a:avLst/>
            </a:prstGeom>
            <a:noFill/>
            <a:ln w="15875" cap="flat" cmpd="sng" algn="ctr">
              <a:solidFill>
                <a:srgbClr val="000000"/>
              </a:solidFill>
              <a:prstDash val="solid"/>
              <a:tailEnd type="triangle"/>
            </a:ln>
            <a:effectLst/>
          </p:spPr>
        </p:cxnSp>
        <p:cxnSp>
          <p:nvCxnSpPr>
            <p:cNvPr id="109" name="Straight Arrow Connector 108">
              <a:extLst>
                <a:ext uri="{FF2B5EF4-FFF2-40B4-BE49-F238E27FC236}">
                  <a16:creationId xmlns:a16="http://schemas.microsoft.com/office/drawing/2014/main" id="{FAFF1AEF-55A2-4F06-A5BD-A1A9ABFAE678}"/>
                </a:ext>
              </a:extLst>
            </p:cNvPr>
            <p:cNvCxnSpPr>
              <a:cxnSpLocks/>
            </p:cNvCxnSpPr>
            <p:nvPr/>
          </p:nvCxnSpPr>
          <p:spPr>
            <a:xfrm>
              <a:off x="13328368" y="5888245"/>
              <a:ext cx="1724766" cy="0"/>
            </a:xfrm>
            <a:prstGeom prst="straightConnector1">
              <a:avLst/>
            </a:prstGeom>
            <a:noFill/>
            <a:ln w="15875" cap="flat" cmpd="sng" algn="ctr">
              <a:solidFill>
                <a:srgbClr val="000000"/>
              </a:solidFill>
              <a:prstDash val="solid"/>
              <a:tailEnd type="triangle"/>
            </a:ln>
            <a:effectLst/>
          </p:spPr>
        </p:cxnSp>
        <p:sp>
          <p:nvSpPr>
            <p:cNvPr id="110" name="TextBox 109">
              <a:extLst>
                <a:ext uri="{FF2B5EF4-FFF2-40B4-BE49-F238E27FC236}">
                  <a16:creationId xmlns:a16="http://schemas.microsoft.com/office/drawing/2014/main" id="{E11355B9-E41F-4BE5-B155-5C0BE477A02F}"/>
                </a:ext>
              </a:extLst>
            </p:cNvPr>
            <p:cNvSpPr txBox="1"/>
            <p:nvPr/>
          </p:nvSpPr>
          <p:spPr>
            <a:xfrm>
              <a:off x="13270056" y="6054218"/>
              <a:ext cx="1798714"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Ease of implementation</a:t>
              </a:r>
            </a:p>
          </p:txBody>
        </p:sp>
        <p:sp>
          <p:nvSpPr>
            <p:cNvPr id="111" name="TextBox 110">
              <a:extLst>
                <a:ext uri="{FF2B5EF4-FFF2-40B4-BE49-F238E27FC236}">
                  <a16:creationId xmlns:a16="http://schemas.microsoft.com/office/drawing/2014/main" id="{81C9371D-17A4-404B-BE7D-47006311B43D}"/>
                </a:ext>
              </a:extLst>
            </p:cNvPr>
            <p:cNvSpPr txBox="1"/>
            <p:nvPr/>
          </p:nvSpPr>
          <p:spPr>
            <a:xfrm rot="16200000">
              <a:off x="12288481" y="5133476"/>
              <a:ext cx="1333177"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Impact</a:t>
              </a:r>
            </a:p>
          </p:txBody>
        </p:sp>
        <p:sp>
          <p:nvSpPr>
            <p:cNvPr id="112" name="TextBox 111">
              <a:extLst>
                <a:ext uri="{FF2B5EF4-FFF2-40B4-BE49-F238E27FC236}">
                  <a16:creationId xmlns:a16="http://schemas.microsoft.com/office/drawing/2014/main" id="{93E6892B-432A-42CA-A3F7-9A50D8DB185A}"/>
                </a:ext>
              </a:extLst>
            </p:cNvPr>
            <p:cNvSpPr txBox="1"/>
            <p:nvPr/>
          </p:nvSpPr>
          <p:spPr>
            <a:xfrm>
              <a:off x="13070774" y="556977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13" name="TextBox 112">
              <a:extLst>
                <a:ext uri="{FF2B5EF4-FFF2-40B4-BE49-F238E27FC236}">
                  <a16:creationId xmlns:a16="http://schemas.microsoft.com/office/drawing/2014/main" id="{FFF64B40-3380-40B2-982B-9DCF68CDBBA5}"/>
                </a:ext>
              </a:extLst>
            </p:cNvPr>
            <p:cNvSpPr txBox="1"/>
            <p:nvPr/>
          </p:nvSpPr>
          <p:spPr>
            <a:xfrm>
              <a:off x="13070774" y="5118658"/>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114" name="TextBox 113">
              <a:extLst>
                <a:ext uri="{FF2B5EF4-FFF2-40B4-BE49-F238E27FC236}">
                  <a16:creationId xmlns:a16="http://schemas.microsoft.com/office/drawing/2014/main" id="{E7761BFD-1E21-4BCE-BB16-D2CB759B1EE6}"/>
                </a:ext>
              </a:extLst>
            </p:cNvPr>
            <p:cNvSpPr txBox="1"/>
            <p:nvPr/>
          </p:nvSpPr>
          <p:spPr>
            <a:xfrm>
              <a:off x="13070774" y="468419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sp>
          <p:nvSpPr>
            <p:cNvPr id="116" name="TextBox 115">
              <a:extLst>
                <a:ext uri="{FF2B5EF4-FFF2-40B4-BE49-F238E27FC236}">
                  <a16:creationId xmlns:a16="http://schemas.microsoft.com/office/drawing/2014/main" id="{2AB08CF4-B21E-4265-B7A4-0D086E37B046}"/>
                </a:ext>
              </a:extLst>
            </p:cNvPr>
            <p:cNvSpPr txBox="1"/>
            <p:nvPr/>
          </p:nvSpPr>
          <p:spPr>
            <a:xfrm>
              <a:off x="13430519"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17" name="TextBox 116">
              <a:extLst>
                <a:ext uri="{FF2B5EF4-FFF2-40B4-BE49-F238E27FC236}">
                  <a16:creationId xmlns:a16="http://schemas.microsoft.com/office/drawing/2014/main" id="{5B43CBBD-4B91-4463-A7A6-FE44B78D0F12}"/>
                </a:ext>
              </a:extLst>
            </p:cNvPr>
            <p:cNvSpPr txBox="1"/>
            <p:nvPr/>
          </p:nvSpPr>
          <p:spPr>
            <a:xfrm>
              <a:off x="14007050"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118" name="TextBox 117">
              <a:extLst>
                <a:ext uri="{FF2B5EF4-FFF2-40B4-BE49-F238E27FC236}">
                  <a16:creationId xmlns:a16="http://schemas.microsoft.com/office/drawing/2014/main" id="{D4430AB8-4CA9-4F35-8D10-BE5EAFFDCD9E}"/>
                </a:ext>
              </a:extLst>
            </p:cNvPr>
            <p:cNvSpPr txBox="1"/>
            <p:nvPr/>
          </p:nvSpPr>
          <p:spPr>
            <a:xfrm>
              <a:off x="14583578"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grpSp>
      <p:sp>
        <p:nvSpPr>
          <p:cNvPr id="119" name="Rectangle 118">
            <a:extLst>
              <a:ext uri="{FF2B5EF4-FFF2-40B4-BE49-F238E27FC236}">
                <a16:creationId xmlns:a16="http://schemas.microsoft.com/office/drawing/2014/main" id="{D1AEE21B-8568-4BE9-9133-738668773E9F}"/>
              </a:ext>
            </a:extLst>
          </p:cNvPr>
          <p:cNvSpPr/>
          <p:nvPr/>
        </p:nvSpPr>
        <p:spPr>
          <a:xfrm>
            <a:off x="8101306" y="4729906"/>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7A11B515-62CA-473A-987B-9BF00054D05A}"/>
              </a:ext>
            </a:extLst>
          </p:cNvPr>
          <p:cNvSpPr/>
          <p:nvPr/>
        </p:nvSpPr>
        <p:spPr>
          <a:xfrm>
            <a:off x="8648764" y="4731388"/>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CE6CE4F1-AB32-445E-AEE9-143314182C17}"/>
              </a:ext>
            </a:extLst>
          </p:cNvPr>
          <p:cNvSpPr/>
          <p:nvPr/>
        </p:nvSpPr>
        <p:spPr>
          <a:xfrm>
            <a:off x="9200659" y="4732865"/>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2" name="Rectangle 121">
            <a:extLst>
              <a:ext uri="{FF2B5EF4-FFF2-40B4-BE49-F238E27FC236}">
                <a16:creationId xmlns:a16="http://schemas.microsoft.com/office/drawing/2014/main" id="{59BB4040-D008-424B-A2C3-B59027B41ACF}"/>
              </a:ext>
            </a:extLst>
          </p:cNvPr>
          <p:cNvSpPr/>
          <p:nvPr/>
        </p:nvSpPr>
        <p:spPr>
          <a:xfrm>
            <a:off x="8101306" y="5163431"/>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3" name="Rectangle 122">
            <a:extLst>
              <a:ext uri="{FF2B5EF4-FFF2-40B4-BE49-F238E27FC236}">
                <a16:creationId xmlns:a16="http://schemas.microsoft.com/office/drawing/2014/main" id="{A230A1BA-6277-40AA-926D-FB44DDB2FD12}"/>
              </a:ext>
            </a:extLst>
          </p:cNvPr>
          <p:cNvSpPr/>
          <p:nvPr/>
        </p:nvSpPr>
        <p:spPr>
          <a:xfrm>
            <a:off x="8648764" y="5163431"/>
            <a:ext cx="499337" cy="388101"/>
          </a:xfrm>
          <a:prstGeom prst="rect">
            <a:avLst/>
          </a:prstGeom>
          <a:solidFill>
            <a:schemeClr val="accent2"/>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AD03806B-F5E8-432A-AB0F-631DC4098582}"/>
              </a:ext>
            </a:extLst>
          </p:cNvPr>
          <p:cNvSpPr/>
          <p:nvPr/>
        </p:nvSpPr>
        <p:spPr>
          <a:xfrm>
            <a:off x="9200659" y="5163431"/>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5E9601EC-4AC6-4C5C-97D7-A6AC17289D22}"/>
              </a:ext>
            </a:extLst>
          </p:cNvPr>
          <p:cNvSpPr/>
          <p:nvPr/>
        </p:nvSpPr>
        <p:spPr>
          <a:xfrm>
            <a:off x="8101306" y="5573285"/>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6" name="Rectangle 125">
            <a:extLst>
              <a:ext uri="{FF2B5EF4-FFF2-40B4-BE49-F238E27FC236}">
                <a16:creationId xmlns:a16="http://schemas.microsoft.com/office/drawing/2014/main" id="{79D1D21C-7D0E-437C-959F-25A7B3D15102}"/>
              </a:ext>
            </a:extLst>
          </p:cNvPr>
          <p:cNvSpPr/>
          <p:nvPr/>
        </p:nvSpPr>
        <p:spPr>
          <a:xfrm>
            <a:off x="8648764" y="5573285"/>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31" name="Rectangle 130">
            <a:extLst>
              <a:ext uri="{FF2B5EF4-FFF2-40B4-BE49-F238E27FC236}">
                <a16:creationId xmlns:a16="http://schemas.microsoft.com/office/drawing/2014/main" id="{228C8806-9085-44BC-B40A-09B57308B044}"/>
              </a:ext>
            </a:extLst>
          </p:cNvPr>
          <p:cNvSpPr/>
          <p:nvPr/>
        </p:nvSpPr>
        <p:spPr>
          <a:xfrm>
            <a:off x="9200659" y="5573285"/>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2" name="Rounded Rectangle 150">
            <a:extLst>
              <a:ext uri="{FF2B5EF4-FFF2-40B4-BE49-F238E27FC236}">
                <a16:creationId xmlns:a16="http://schemas.microsoft.com/office/drawing/2014/main" id="{5E20010F-F8CB-4BCB-88B0-11DB74814F4A}"/>
              </a:ext>
            </a:extLst>
          </p:cNvPr>
          <p:cNvSpPr/>
          <p:nvPr/>
        </p:nvSpPr>
        <p:spPr>
          <a:xfrm>
            <a:off x="7575481" y="1270438"/>
            <a:ext cx="3888621" cy="540000"/>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994" b="0" i="0" u="none" strike="noStrike" kern="0" cap="none" spc="0" normalizeH="0" baseline="0" noProof="0">
                <a:ln>
                  <a:noFill/>
                </a:ln>
                <a:solidFill>
                  <a:srgbClr val="2E2E38"/>
                </a:solidFill>
                <a:effectLst/>
                <a:uLnTx/>
                <a:uFillTx/>
                <a:latin typeface="Calibri" panose="020F0502020204030204"/>
                <a:ea typeface="+mn-ea"/>
                <a:cs typeface="+mn-cs"/>
              </a:rPr>
              <a:t>Set up data delivery agreements (DDA) between sharing/receiving parties</a:t>
            </a:r>
          </a:p>
        </p:txBody>
      </p:sp>
      <p:sp>
        <p:nvSpPr>
          <p:cNvPr id="133" name="Rectangle 132">
            <a:extLst>
              <a:ext uri="{FF2B5EF4-FFF2-40B4-BE49-F238E27FC236}">
                <a16:creationId xmlns:a16="http://schemas.microsoft.com/office/drawing/2014/main" id="{B055745D-C08C-44B9-A08F-7637F1AF919F}"/>
              </a:ext>
            </a:extLst>
          </p:cNvPr>
          <p:cNvSpPr/>
          <p:nvPr/>
        </p:nvSpPr>
        <p:spPr>
          <a:xfrm>
            <a:off x="6237316" y="1270438"/>
            <a:ext cx="1177564" cy="540000"/>
          </a:xfrm>
          <a:prstGeom prst="rect">
            <a:avLst/>
          </a:prstGeom>
          <a:solidFill>
            <a:schemeClr val="tx2"/>
          </a:solidFill>
          <a:ln w="9525" cap="flat" cmpd="sng" algn="ctr">
            <a:solidFill>
              <a:schemeClr val="accent1"/>
            </a:solidFill>
            <a:prstDash val="solid"/>
          </a:ln>
          <a:effectLst/>
        </p:spPr>
        <p:txBody>
          <a:bodyPr lIns="65054" tIns="65054" rIns="65054" bIns="65054" rtlCol="0" anchor="ctr" anchorCtr="0"/>
          <a:lstStyle/>
          <a:p>
            <a:pPr marL="0" marR="0" lvl="0" indent="0" algn="ctr" defTabSz="913845" rtl="0" eaLnBrk="1" fontAlgn="auto" latinLnBrk="0" hangingPunct="1">
              <a:lnSpc>
                <a:spcPct val="100000"/>
              </a:lnSpc>
              <a:spcBef>
                <a:spcPts val="0"/>
              </a:spcBef>
              <a:spcAft>
                <a:spcPts val="0"/>
              </a:spcAft>
              <a:buClrTx/>
              <a:buSzTx/>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Introducing DDAs</a:t>
            </a:r>
          </a:p>
        </p:txBody>
      </p:sp>
      <p:cxnSp>
        <p:nvCxnSpPr>
          <p:cNvPr id="134" name="Straight Connector 133">
            <a:extLst>
              <a:ext uri="{FF2B5EF4-FFF2-40B4-BE49-F238E27FC236}">
                <a16:creationId xmlns:a16="http://schemas.microsoft.com/office/drawing/2014/main" id="{ABC4AB6D-A8C8-42E5-80DF-A84C1A7374DD}"/>
              </a:ext>
            </a:extLst>
          </p:cNvPr>
          <p:cNvCxnSpPr>
            <a:cxnSpLocks/>
            <a:stCxn id="133" idx="3"/>
            <a:endCxn id="132" idx="1"/>
          </p:cNvCxnSpPr>
          <p:nvPr/>
        </p:nvCxnSpPr>
        <p:spPr>
          <a:xfrm>
            <a:off x="7414880" y="1540438"/>
            <a:ext cx="160601" cy="0"/>
          </a:xfrm>
          <a:prstGeom prst="line">
            <a:avLst/>
          </a:prstGeom>
          <a:noFill/>
          <a:ln w="76200" cap="flat" cmpd="sng" algn="ctr">
            <a:solidFill>
              <a:schemeClr val="tx2"/>
            </a:solidFill>
            <a:prstDash val="solid"/>
          </a:ln>
          <a:effectLst/>
        </p:spPr>
      </p:cxnSp>
      <p:sp>
        <p:nvSpPr>
          <p:cNvPr id="169" name="Rectangle 168">
            <a:extLst>
              <a:ext uri="{FF2B5EF4-FFF2-40B4-BE49-F238E27FC236}">
                <a16:creationId xmlns:a16="http://schemas.microsoft.com/office/drawing/2014/main" id="{D01D072C-1925-43A9-A994-227A013DB5D9}"/>
              </a:ext>
            </a:extLst>
          </p:cNvPr>
          <p:cNvSpPr>
            <a:spLocks/>
          </p:cNvSpPr>
          <p:nvPr/>
        </p:nvSpPr>
        <p:spPr bwMode="gray">
          <a:xfrm>
            <a:off x="6245533" y="3453805"/>
            <a:ext cx="5220488"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70" name="Round Same Side Corner Rectangle 24">
            <a:extLst>
              <a:ext uri="{FF2B5EF4-FFF2-40B4-BE49-F238E27FC236}">
                <a16:creationId xmlns:a16="http://schemas.microsoft.com/office/drawing/2014/main" id="{624D0F59-ABF0-4263-B3ED-7AC39478125C}"/>
              </a:ext>
            </a:extLst>
          </p:cNvPr>
          <p:cNvSpPr>
            <a:spLocks/>
          </p:cNvSpPr>
          <p:nvPr/>
        </p:nvSpPr>
        <p:spPr bwMode="gray">
          <a:xfrm>
            <a:off x="6245532" y="3168592"/>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Ease of implementation</a:t>
            </a:r>
          </a:p>
        </p:txBody>
      </p:sp>
      <p:sp>
        <p:nvSpPr>
          <p:cNvPr id="173" name="TextBox 172">
            <a:extLst>
              <a:ext uri="{FF2B5EF4-FFF2-40B4-BE49-F238E27FC236}">
                <a16:creationId xmlns:a16="http://schemas.microsoft.com/office/drawing/2014/main" id="{2AD6FF6B-3D99-4BC5-8859-D59CFA8CC2F9}"/>
              </a:ext>
            </a:extLst>
          </p:cNvPr>
          <p:cNvSpPr txBox="1"/>
          <p:nvPr/>
        </p:nvSpPr>
        <p:spPr>
          <a:xfrm>
            <a:off x="6279568" y="3462582"/>
            <a:ext cx="2627040" cy="854080"/>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Creating a standardized DDA template for all BUs to use and make custom changes where necessary</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Define scope/applicability of DDA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Train users for the usage of DDAs</a:t>
            </a:r>
          </a:p>
        </p:txBody>
      </p:sp>
      <p:sp>
        <p:nvSpPr>
          <p:cNvPr id="174" name="TextBox 173">
            <a:extLst>
              <a:ext uri="{FF2B5EF4-FFF2-40B4-BE49-F238E27FC236}">
                <a16:creationId xmlns:a16="http://schemas.microsoft.com/office/drawing/2014/main" id="{F0AF8E4D-9F24-4A01-AD28-0056FE9D4B83}"/>
              </a:ext>
            </a:extLst>
          </p:cNvPr>
          <p:cNvSpPr txBox="1"/>
          <p:nvPr/>
        </p:nvSpPr>
        <p:spPr>
          <a:xfrm>
            <a:off x="9005192" y="3462582"/>
            <a:ext cx="2453229" cy="701731"/>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Collaboration between data team and relevant BUs required to set up and agree on DDA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Total of 4-6 weeks effort required</a:t>
            </a:r>
          </a:p>
        </p:txBody>
      </p:sp>
      <p:grpSp>
        <p:nvGrpSpPr>
          <p:cNvPr id="88" name="Group 87">
            <a:extLst>
              <a:ext uri="{FF2B5EF4-FFF2-40B4-BE49-F238E27FC236}">
                <a16:creationId xmlns:a16="http://schemas.microsoft.com/office/drawing/2014/main" id="{FECD8A08-BCE9-4DDF-90B5-496CCDEA328D}"/>
              </a:ext>
            </a:extLst>
          </p:cNvPr>
          <p:cNvGrpSpPr/>
          <p:nvPr/>
        </p:nvGrpSpPr>
        <p:grpSpPr>
          <a:xfrm>
            <a:off x="7567871" y="1999192"/>
            <a:ext cx="3890552" cy="1044280"/>
            <a:chOff x="622344" y="1751542"/>
            <a:chExt cx="5212877" cy="1044280"/>
          </a:xfrm>
        </p:grpSpPr>
        <p:sp>
          <p:nvSpPr>
            <p:cNvPr id="90" name="Rectangle 89">
              <a:extLst>
                <a:ext uri="{FF2B5EF4-FFF2-40B4-BE49-F238E27FC236}">
                  <a16:creationId xmlns:a16="http://schemas.microsoft.com/office/drawing/2014/main" id="{5D4CDE3A-A3B2-48C6-B6E0-FDD1B7755760}"/>
                </a:ext>
              </a:extLst>
            </p:cNvPr>
            <p:cNvSpPr>
              <a:spLocks/>
            </p:cNvSpPr>
            <p:nvPr/>
          </p:nvSpPr>
          <p:spPr bwMode="gray">
            <a:xfrm>
              <a:off x="622345" y="2036755"/>
              <a:ext cx="5212876"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91" name="Round Same Side Corner Rectangle 24">
              <a:extLst>
                <a:ext uri="{FF2B5EF4-FFF2-40B4-BE49-F238E27FC236}">
                  <a16:creationId xmlns:a16="http://schemas.microsoft.com/office/drawing/2014/main" id="{EB5FA4AE-6558-429E-93FF-7A8E6DE1CE05}"/>
                </a:ext>
              </a:extLst>
            </p:cNvPr>
            <p:cNvSpPr>
              <a:spLocks/>
            </p:cNvSpPr>
            <p:nvPr/>
          </p:nvSpPr>
          <p:spPr bwMode="gray">
            <a:xfrm>
              <a:off x="622344" y="1751542"/>
              <a:ext cx="5212876"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Impact</a:t>
              </a:r>
            </a:p>
          </p:txBody>
        </p:sp>
        <p:sp>
          <p:nvSpPr>
            <p:cNvPr id="92" name="TextBox 91">
              <a:extLst>
                <a:ext uri="{FF2B5EF4-FFF2-40B4-BE49-F238E27FC236}">
                  <a16:creationId xmlns:a16="http://schemas.microsoft.com/office/drawing/2014/main" id="{5DE11C81-E027-40D2-AC10-D4249F7F1C42}"/>
                </a:ext>
              </a:extLst>
            </p:cNvPr>
            <p:cNvSpPr txBox="1"/>
            <p:nvPr/>
          </p:nvSpPr>
          <p:spPr>
            <a:xfrm>
              <a:off x="700281" y="2030251"/>
              <a:ext cx="2682509" cy="244682"/>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All Areas impacted</a:t>
              </a:r>
            </a:p>
          </p:txBody>
        </p:sp>
      </p:grpSp>
      <p:sp>
        <p:nvSpPr>
          <p:cNvPr id="101" name="Rounded Rectangle 150">
            <a:extLst>
              <a:ext uri="{FF2B5EF4-FFF2-40B4-BE49-F238E27FC236}">
                <a16:creationId xmlns:a16="http://schemas.microsoft.com/office/drawing/2014/main" id="{F501161F-EA6C-490D-8AE5-375EAC5E5C95}"/>
              </a:ext>
            </a:extLst>
          </p:cNvPr>
          <p:cNvSpPr/>
          <p:nvPr/>
        </p:nvSpPr>
        <p:spPr>
          <a:xfrm>
            <a:off x="616650" y="1998227"/>
            <a:ext cx="1169348" cy="504061"/>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E2E38"/>
                </a:solidFill>
                <a:effectLst/>
                <a:uLnTx/>
                <a:uFillTx/>
                <a:latin typeface="Calibri" panose="020F0502020204030204"/>
                <a:ea typeface="+mn-ea"/>
                <a:cs typeface="+mn-cs"/>
              </a:rPr>
              <a:t>Defensive</a:t>
            </a:r>
          </a:p>
        </p:txBody>
      </p:sp>
      <p:sp>
        <p:nvSpPr>
          <p:cNvPr id="115" name="Rounded Rectangle 150">
            <a:extLst>
              <a:ext uri="{FF2B5EF4-FFF2-40B4-BE49-F238E27FC236}">
                <a16:creationId xmlns:a16="http://schemas.microsoft.com/office/drawing/2014/main" id="{E4AB4B7B-C2F7-4907-8C8D-02DC60EA292F}"/>
              </a:ext>
            </a:extLst>
          </p:cNvPr>
          <p:cNvSpPr/>
          <p:nvPr/>
        </p:nvSpPr>
        <p:spPr>
          <a:xfrm>
            <a:off x="6237316" y="1998227"/>
            <a:ext cx="1169348" cy="504061"/>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E2E38"/>
                </a:solidFill>
                <a:effectLst/>
                <a:uLnTx/>
                <a:uFillTx/>
                <a:latin typeface="Calibri" panose="020F0502020204030204"/>
                <a:ea typeface="+mn-ea"/>
                <a:cs typeface="+mn-cs"/>
              </a:rPr>
              <a:t>Defensive</a:t>
            </a:r>
          </a:p>
        </p:txBody>
      </p:sp>
      <p:sp>
        <p:nvSpPr>
          <p:cNvPr id="96" name="TextBox 95">
            <a:extLst>
              <a:ext uri="{FF2B5EF4-FFF2-40B4-BE49-F238E27FC236}">
                <a16:creationId xmlns:a16="http://schemas.microsoft.com/office/drawing/2014/main" id="{C08978EB-9041-4366-A446-66448AD39ADE}"/>
              </a:ext>
            </a:extLst>
          </p:cNvPr>
          <p:cNvSpPr txBox="1"/>
          <p:nvPr/>
        </p:nvSpPr>
        <p:spPr>
          <a:xfrm>
            <a:off x="9677110" y="2250257"/>
            <a:ext cx="1732291" cy="854080"/>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More efficient, controlled and compliant data sharing and data usage</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18138D9C-85CC-4E67-9B93-DC10108ABA0F}"/>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93" name="Picture 92">
            <a:extLst>
              <a:ext uri="{FF2B5EF4-FFF2-40B4-BE49-F238E27FC236}">
                <a16:creationId xmlns:a16="http://schemas.microsoft.com/office/drawing/2014/main" id="{BF847334-91A8-4178-B08C-D59E7438EBF2}"/>
              </a:ext>
            </a:extLst>
          </p:cNvPr>
          <p:cNvPicPr>
            <a:picLocks noChangeAspect="1"/>
          </p:cNvPicPr>
          <p:nvPr/>
        </p:nvPicPr>
        <p:blipFill>
          <a:blip r:embed="rId7"/>
          <a:stretch>
            <a:fillRect/>
          </a:stretch>
        </p:blipFill>
        <p:spPr>
          <a:xfrm>
            <a:off x="10853730" y="89660"/>
            <a:ext cx="1183415" cy="552969"/>
          </a:xfrm>
          <a:prstGeom prst="rect">
            <a:avLst/>
          </a:prstGeom>
        </p:spPr>
      </p:pic>
      <p:sp>
        <p:nvSpPr>
          <p:cNvPr id="89" name="Rectangle 88">
            <a:extLst>
              <a:ext uri="{FF2B5EF4-FFF2-40B4-BE49-F238E27FC236}">
                <a16:creationId xmlns:a16="http://schemas.microsoft.com/office/drawing/2014/main" id="{62BF73BF-5028-4359-88A2-8CB8FF199407}"/>
              </a:ext>
            </a:extLst>
          </p:cNvPr>
          <p:cNvSpPr/>
          <p:nvPr/>
        </p:nvSpPr>
        <p:spPr>
          <a:xfrm>
            <a:off x="2600325" y="900140"/>
            <a:ext cx="8839008"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Improving Data Governance and integrating Data Management into our business for ensuring regulatory compliance and easy/timely access to data</a:t>
            </a:r>
            <a:endParaRPr kumimoji="0" lang="en-US" sz="1400" b="0"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cxnSp>
        <p:nvCxnSpPr>
          <p:cNvPr id="97" name="Straight Connector 96">
            <a:extLst>
              <a:ext uri="{FF2B5EF4-FFF2-40B4-BE49-F238E27FC236}">
                <a16:creationId xmlns:a16="http://schemas.microsoft.com/office/drawing/2014/main" id="{023EE956-CD46-47B5-8C6E-001A8FC1DFC2}"/>
              </a:ext>
            </a:extLst>
          </p:cNvPr>
          <p:cNvCxnSpPr>
            <a:cxnSpLocks/>
          </p:cNvCxnSpPr>
          <p:nvPr/>
        </p:nvCxnSpPr>
        <p:spPr>
          <a:xfrm>
            <a:off x="615105" y="1209729"/>
            <a:ext cx="10824228"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8" name="Flowchart: Manual Input 97">
            <a:extLst>
              <a:ext uri="{FF2B5EF4-FFF2-40B4-BE49-F238E27FC236}">
                <a16:creationId xmlns:a16="http://schemas.microsoft.com/office/drawing/2014/main" id="{2FE25C53-0D5E-428C-B9F9-8F525093DA38}"/>
              </a:ext>
            </a:extLst>
          </p:cNvPr>
          <p:cNvSpPr/>
          <p:nvPr/>
        </p:nvSpPr>
        <p:spPr>
          <a:xfrm>
            <a:off x="615106" y="880900"/>
            <a:ext cx="1985220"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1</a:t>
            </a:r>
          </a:p>
        </p:txBody>
      </p:sp>
    </p:spTree>
    <p:extLst>
      <p:ext uri="{BB962C8B-B14F-4D97-AF65-F5344CB8AC3E}">
        <p14:creationId xmlns:p14="http://schemas.microsoft.com/office/powerpoint/2010/main" val="33316667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2E6B3-D94B-41EE-A870-4B7BA971A73C}"/>
              </a:ext>
            </a:extLst>
          </p:cNvPr>
          <p:cNvGraphicFramePr>
            <a:graphicFrameLocks noChangeAspect="1"/>
          </p:cNvGraphicFramePr>
          <p:nvPr>
            <p:custDataLst>
              <p:tags r:id="rId1"/>
            </p:custDataLst>
          </p:nvPr>
        </p:nvGraphicFramePr>
        <p:xfrm>
          <a:off x="1435" y="1614"/>
          <a:ext cx="1435" cy="1435"/>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1E62E6B3-D94B-41EE-A870-4B7BA971A73C}"/>
                          </a:ext>
                        </a:extLst>
                      </p:cNvPr>
                      <p:cNvPicPr/>
                      <p:nvPr/>
                    </p:nvPicPr>
                    <p:blipFill>
                      <a:blip r:embed="rId6"/>
                      <a:stretch>
                        <a:fillRect/>
                      </a:stretch>
                    </p:blipFill>
                    <p:spPr>
                      <a:xfrm>
                        <a:off x="1435" y="1614"/>
                        <a:ext cx="1435" cy="14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B0B550-D3E7-4BED-A278-0427ABEB385F}"/>
              </a:ext>
            </a:extLst>
          </p:cNvPr>
          <p:cNvSpPr/>
          <p:nvPr>
            <p:custDataLst>
              <p:tags r:id="rId2"/>
            </p:custDataLst>
          </p:nvPr>
        </p:nvSpPr>
        <p:spPr bwMode="auto">
          <a:xfrm>
            <a:off x="0" y="179"/>
            <a:ext cx="143435" cy="143435"/>
          </a:xfrm>
          <a:prstGeom prst="rect">
            <a:avLst/>
          </a:prstGeom>
          <a:no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20825" rtl="0" eaLnBrk="1" fontAlgn="base" latinLnBrk="0" hangingPunct="1">
              <a:lnSpc>
                <a:spcPct val="100000"/>
              </a:lnSpc>
              <a:spcBef>
                <a:spcPct val="0"/>
              </a:spcBef>
              <a:spcAft>
                <a:spcPct val="0"/>
              </a:spcAft>
              <a:buClrTx/>
              <a:buSzTx/>
              <a:buFontTx/>
              <a:buNone/>
              <a:tabLst/>
              <a:defRPr/>
            </a:pPr>
            <a:endParaRPr kumimoji="0" lang="en-US" sz="1625" b="0" i="0" u="none" strike="noStrike" kern="1200" cap="none" spc="0" normalizeH="0" baseline="0" noProof="0">
              <a:ln>
                <a:noFill/>
              </a:ln>
              <a:solidFill>
                <a:srgbClr val="2E2E38"/>
              </a:solidFill>
              <a:effectLst/>
              <a:uLnTx/>
              <a:uFillTx/>
              <a:latin typeface="Corbel" panose="020B0503020204020204" pitchFamily="34" charset="0"/>
              <a:ea typeface="+mn-ea"/>
              <a:cs typeface="+mn-cs"/>
              <a:sym typeface="EYInterstate Light" panose="02000506000000020004" pitchFamily="2" charset="0"/>
            </a:endParaRPr>
          </a:p>
        </p:txBody>
      </p:sp>
      <p:sp>
        <p:nvSpPr>
          <p:cNvPr id="151" name="Rounded Rectangle 150">
            <a:extLst>
              <a:ext uri="{FF2B5EF4-FFF2-40B4-BE49-F238E27FC236}">
                <a16:creationId xmlns:a16="http://schemas.microsoft.com/office/drawing/2014/main" id="{E17DA885-D864-41B9-9A66-9C1A25408257}"/>
              </a:ext>
            </a:extLst>
          </p:cNvPr>
          <p:cNvSpPr/>
          <p:nvPr/>
        </p:nvSpPr>
        <p:spPr>
          <a:xfrm>
            <a:off x="1946599" y="1274891"/>
            <a:ext cx="3888621" cy="540000"/>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994" b="0" i="0" u="none" strike="noStrike" kern="0" cap="none" spc="0" normalizeH="0" baseline="0" noProof="0">
                <a:ln>
                  <a:noFill/>
                </a:ln>
                <a:solidFill>
                  <a:srgbClr val="2E2E38"/>
                </a:solidFill>
                <a:effectLst/>
                <a:uLnTx/>
                <a:uFillTx/>
                <a:latin typeface="Calibri" panose="020F0502020204030204"/>
                <a:ea typeface="+mn-ea"/>
                <a:cs typeface="+mn-cs"/>
              </a:rPr>
              <a:t>Align governance and supporting processes with security, privacy, compliance and legal</a:t>
            </a:r>
          </a:p>
        </p:txBody>
      </p:sp>
      <p:sp>
        <p:nvSpPr>
          <p:cNvPr id="155" name="Rectangle 154">
            <a:extLst>
              <a:ext uri="{FF2B5EF4-FFF2-40B4-BE49-F238E27FC236}">
                <a16:creationId xmlns:a16="http://schemas.microsoft.com/office/drawing/2014/main" id="{99A622E7-7953-4F9A-BDBA-83764677A3CA}"/>
              </a:ext>
            </a:extLst>
          </p:cNvPr>
          <p:cNvSpPr/>
          <p:nvPr/>
        </p:nvSpPr>
        <p:spPr>
          <a:xfrm>
            <a:off x="608434" y="1270438"/>
            <a:ext cx="1177564" cy="540000"/>
          </a:xfrm>
          <a:prstGeom prst="rect">
            <a:avLst/>
          </a:prstGeom>
          <a:solidFill>
            <a:schemeClr val="tx2"/>
          </a:solidFill>
          <a:ln w="9525" cap="flat" cmpd="sng" algn="ctr">
            <a:solidFill>
              <a:schemeClr val="accent1"/>
            </a:solidFill>
            <a:prstDash val="solid"/>
          </a:ln>
          <a:effectLst/>
        </p:spPr>
        <p:txBody>
          <a:bodyPr lIns="65054" tIns="65054" rIns="65054" bIns="65054" rtlCol="0" anchor="ctr" anchorCtr="0"/>
          <a:lstStyle/>
          <a:p>
            <a:pPr marL="0" marR="0" lvl="0" indent="0" algn="ctr" defTabSz="913845" rtl="0" eaLnBrk="1" fontAlgn="auto" latinLnBrk="0" hangingPunct="1">
              <a:lnSpc>
                <a:spcPct val="100000"/>
              </a:lnSpc>
              <a:spcBef>
                <a:spcPts val="0"/>
              </a:spcBef>
              <a:spcAft>
                <a:spcPts val="0"/>
              </a:spcAft>
              <a:buClrTx/>
              <a:buSzTx/>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Aligning governance and support processes</a:t>
            </a:r>
          </a:p>
        </p:txBody>
      </p:sp>
      <p:cxnSp>
        <p:nvCxnSpPr>
          <p:cNvPr id="156" name="Straight Connector 155">
            <a:extLst>
              <a:ext uri="{FF2B5EF4-FFF2-40B4-BE49-F238E27FC236}">
                <a16:creationId xmlns:a16="http://schemas.microsoft.com/office/drawing/2014/main" id="{089F8C67-8227-42C1-9C7A-016071E3FB03}"/>
              </a:ext>
            </a:extLst>
          </p:cNvPr>
          <p:cNvCxnSpPr>
            <a:cxnSpLocks/>
            <a:stCxn id="155" idx="3"/>
            <a:endCxn id="151" idx="1"/>
          </p:cNvCxnSpPr>
          <p:nvPr/>
        </p:nvCxnSpPr>
        <p:spPr>
          <a:xfrm>
            <a:off x="1785998" y="1540438"/>
            <a:ext cx="160601" cy="4453"/>
          </a:xfrm>
          <a:prstGeom prst="line">
            <a:avLst/>
          </a:prstGeom>
          <a:noFill/>
          <a:ln w="76200" cap="flat" cmpd="sng" algn="ctr">
            <a:solidFill>
              <a:schemeClr val="tx2"/>
            </a:solidFill>
            <a:prstDash val="solid"/>
          </a:ln>
          <a:effectLst/>
        </p:spPr>
      </p:cxnSp>
      <p:sp>
        <p:nvSpPr>
          <p:cNvPr id="238" name="Round Same Side Corner Rectangle 24">
            <a:extLst>
              <a:ext uri="{FF2B5EF4-FFF2-40B4-BE49-F238E27FC236}">
                <a16:creationId xmlns:a16="http://schemas.microsoft.com/office/drawing/2014/main" id="{1C3FD96F-930D-4DCE-98F3-A5213983C662}"/>
              </a:ext>
            </a:extLst>
          </p:cNvPr>
          <p:cNvSpPr>
            <a:spLocks/>
          </p:cNvSpPr>
          <p:nvPr/>
        </p:nvSpPr>
        <p:spPr bwMode="gray">
          <a:xfrm>
            <a:off x="616650" y="3173045"/>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Ease of implementation </a:t>
            </a:r>
          </a:p>
        </p:txBody>
      </p:sp>
      <p:sp>
        <p:nvSpPr>
          <p:cNvPr id="240" name="Rectangle 239">
            <a:extLst>
              <a:ext uri="{FF2B5EF4-FFF2-40B4-BE49-F238E27FC236}">
                <a16:creationId xmlns:a16="http://schemas.microsoft.com/office/drawing/2014/main" id="{AE145C0D-923D-4C8A-9CA3-EF5A2C698466}"/>
              </a:ext>
            </a:extLst>
          </p:cNvPr>
          <p:cNvSpPr>
            <a:spLocks/>
          </p:cNvSpPr>
          <p:nvPr/>
        </p:nvSpPr>
        <p:spPr bwMode="gray">
          <a:xfrm>
            <a:off x="656197" y="4428833"/>
            <a:ext cx="5220488" cy="2004776"/>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542"/>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p:txBody>
      </p:sp>
      <p:sp>
        <p:nvSpPr>
          <p:cNvPr id="241" name="Round Same Side Corner Rectangle 24">
            <a:extLst>
              <a:ext uri="{FF2B5EF4-FFF2-40B4-BE49-F238E27FC236}">
                <a16:creationId xmlns:a16="http://schemas.microsoft.com/office/drawing/2014/main" id="{906A34BC-A5AE-470C-BF2D-BE35E81C422A}"/>
              </a:ext>
            </a:extLst>
          </p:cNvPr>
          <p:cNvSpPr>
            <a:spLocks/>
          </p:cNvSpPr>
          <p:nvPr/>
        </p:nvSpPr>
        <p:spPr bwMode="gray">
          <a:xfrm>
            <a:off x="628095" y="4308532"/>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Use case heatmap</a:t>
            </a:r>
          </a:p>
        </p:txBody>
      </p:sp>
      <p:grpSp>
        <p:nvGrpSpPr>
          <p:cNvPr id="3" name="Group 2">
            <a:extLst>
              <a:ext uri="{FF2B5EF4-FFF2-40B4-BE49-F238E27FC236}">
                <a16:creationId xmlns:a16="http://schemas.microsoft.com/office/drawing/2014/main" id="{53110A58-D7FD-4FD8-993E-A02B19DD39D5}"/>
              </a:ext>
            </a:extLst>
          </p:cNvPr>
          <p:cNvGrpSpPr/>
          <p:nvPr/>
        </p:nvGrpSpPr>
        <p:grpSpPr>
          <a:xfrm>
            <a:off x="1866766" y="4635407"/>
            <a:ext cx="2549874" cy="1938566"/>
            <a:chOff x="12687534" y="4543604"/>
            <a:chExt cx="2549874" cy="1938566"/>
          </a:xfrm>
        </p:grpSpPr>
        <p:sp>
          <p:nvSpPr>
            <p:cNvPr id="154" name="Rectangle 153">
              <a:extLst>
                <a:ext uri="{FF2B5EF4-FFF2-40B4-BE49-F238E27FC236}">
                  <a16:creationId xmlns:a16="http://schemas.microsoft.com/office/drawing/2014/main" id="{0C24D6FD-B372-4158-A1DC-BA85B62FF792}"/>
                </a:ext>
              </a:extLst>
            </p:cNvPr>
            <p:cNvSpPr>
              <a:spLocks/>
            </p:cNvSpPr>
            <p:nvPr/>
          </p:nvSpPr>
          <p:spPr bwMode="gray">
            <a:xfrm>
              <a:off x="12687534" y="4543604"/>
              <a:ext cx="2549874" cy="1938566"/>
            </a:xfrm>
            <a:prstGeom prst="rect">
              <a:avLst/>
            </a:prstGeom>
            <a:solidFill>
              <a:srgbClr val="FFFFFF"/>
            </a:solidFill>
            <a:ln w="19050">
              <a:solidFill>
                <a:schemeClr val="bg1"/>
              </a:solidFill>
            </a:ln>
          </p:spPr>
          <p:txBody>
            <a:bodyPr wrap="square" lIns="65054" tIns="65054" rIns="65054" bIns="65054">
              <a:noAutofit/>
            </a:bodyPr>
            <a:lstStyle/>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p:txBody>
        </p:sp>
        <p:cxnSp>
          <p:nvCxnSpPr>
            <p:cNvPr id="181" name="Straight Connector 180">
              <a:extLst>
                <a:ext uri="{FF2B5EF4-FFF2-40B4-BE49-F238E27FC236}">
                  <a16:creationId xmlns:a16="http://schemas.microsoft.com/office/drawing/2014/main" id="{C0592825-A5A1-476C-9573-4FFDF74C524A}"/>
                </a:ext>
              </a:extLst>
            </p:cNvPr>
            <p:cNvCxnSpPr>
              <a:cxnSpLocks/>
            </p:cNvCxnSpPr>
            <p:nvPr/>
          </p:nvCxnSpPr>
          <p:spPr>
            <a:xfrm flipV="1">
              <a:off x="13328368" y="5080542"/>
              <a:ext cx="1621280" cy="1"/>
            </a:xfrm>
            <a:prstGeom prst="line">
              <a:avLst/>
            </a:prstGeom>
            <a:noFill/>
            <a:ln w="3175" cap="flat" cmpd="sng" algn="ctr">
              <a:solidFill>
                <a:schemeClr val="bg1">
                  <a:lumMod val="85000"/>
                </a:schemeClr>
              </a:solidFill>
              <a:prstDash val="dash"/>
              <a:tailEnd type="none"/>
            </a:ln>
            <a:effectLst/>
          </p:spPr>
        </p:cxnSp>
        <p:cxnSp>
          <p:nvCxnSpPr>
            <p:cNvPr id="182" name="Straight Connector 181">
              <a:extLst>
                <a:ext uri="{FF2B5EF4-FFF2-40B4-BE49-F238E27FC236}">
                  <a16:creationId xmlns:a16="http://schemas.microsoft.com/office/drawing/2014/main" id="{1A8390A6-9ED5-4BD4-BD44-06CDC90FC296}"/>
                </a:ext>
              </a:extLst>
            </p:cNvPr>
            <p:cNvCxnSpPr>
              <a:cxnSpLocks/>
            </p:cNvCxnSpPr>
            <p:nvPr/>
          </p:nvCxnSpPr>
          <p:spPr>
            <a:xfrm flipV="1">
              <a:off x="13879871" y="4673063"/>
              <a:ext cx="0" cy="1214603"/>
            </a:xfrm>
            <a:prstGeom prst="line">
              <a:avLst/>
            </a:prstGeom>
            <a:noFill/>
            <a:ln w="3175" cap="flat" cmpd="sng" algn="ctr">
              <a:solidFill>
                <a:schemeClr val="bg1">
                  <a:lumMod val="85000"/>
                </a:schemeClr>
              </a:solidFill>
              <a:prstDash val="dash"/>
              <a:tailEnd type="none"/>
            </a:ln>
            <a:effectLst/>
          </p:spPr>
        </p:cxnSp>
        <p:cxnSp>
          <p:nvCxnSpPr>
            <p:cNvPr id="183" name="Straight Connector 182">
              <a:extLst>
                <a:ext uri="{FF2B5EF4-FFF2-40B4-BE49-F238E27FC236}">
                  <a16:creationId xmlns:a16="http://schemas.microsoft.com/office/drawing/2014/main" id="{38722D98-9BC5-41A1-8A2B-4E286C4D967E}"/>
                </a:ext>
              </a:extLst>
            </p:cNvPr>
            <p:cNvCxnSpPr>
              <a:cxnSpLocks/>
            </p:cNvCxnSpPr>
            <p:nvPr/>
          </p:nvCxnSpPr>
          <p:spPr>
            <a:xfrm flipV="1">
              <a:off x="14436281" y="4673062"/>
              <a:ext cx="0" cy="1214603"/>
            </a:xfrm>
            <a:prstGeom prst="line">
              <a:avLst/>
            </a:prstGeom>
            <a:noFill/>
            <a:ln w="3175" cap="flat" cmpd="sng" algn="ctr">
              <a:solidFill>
                <a:schemeClr val="bg1">
                  <a:lumMod val="85000"/>
                </a:schemeClr>
              </a:solidFill>
              <a:prstDash val="dash"/>
              <a:tailEnd type="none"/>
            </a:ln>
            <a:effectLst/>
          </p:spPr>
        </p:cxnSp>
        <p:cxnSp>
          <p:nvCxnSpPr>
            <p:cNvPr id="184" name="Straight Connector 183">
              <a:extLst>
                <a:ext uri="{FF2B5EF4-FFF2-40B4-BE49-F238E27FC236}">
                  <a16:creationId xmlns:a16="http://schemas.microsoft.com/office/drawing/2014/main" id="{3BECF907-3CF4-4B25-AA94-9A9A2F3961AA}"/>
                </a:ext>
              </a:extLst>
            </p:cNvPr>
            <p:cNvCxnSpPr>
              <a:cxnSpLocks/>
            </p:cNvCxnSpPr>
            <p:nvPr/>
          </p:nvCxnSpPr>
          <p:spPr>
            <a:xfrm flipV="1">
              <a:off x="13352428" y="5483833"/>
              <a:ext cx="1621280" cy="1"/>
            </a:xfrm>
            <a:prstGeom prst="line">
              <a:avLst/>
            </a:prstGeom>
            <a:noFill/>
            <a:ln w="3175" cap="flat" cmpd="sng" algn="ctr">
              <a:solidFill>
                <a:schemeClr val="bg1">
                  <a:lumMod val="85000"/>
                </a:schemeClr>
              </a:solidFill>
              <a:prstDash val="dash"/>
              <a:tailEnd type="none"/>
            </a:ln>
            <a:effectLst/>
          </p:spPr>
        </p:cxnSp>
        <p:cxnSp>
          <p:nvCxnSpPr>
            <p:cNvPr id="192" name="Straight Arrow Connector 191">
              <a:extLst>
                <a:ext uri="{FF2B5EF4-FFF2-40B4-BE49-F238E27FC236}">
                  <a16:creationId xmlns:a16="http://schemas.microsoft.com/office/drawing/2014/main" id="{3CDBB80C-E57A-478C-9984-0B2E7373A007}"/>
                </a:ext>
              </a:extLst>
            </p:cNvPr>
            <p:cNvCxnSpPr>
              <a:cxnSpLocks/>
            </p:cNvCxnSpPr>
            <p:nvPr/>
          </p:nvCxnSpPr>
          <p:spPr>
            <a:xfrm flipV="1">
              <a:off x="13328368" y="4590630"/>
              <a:ext cx="0" cy="1301082"/>
            </a:xfrm>
            <a:prstGeom prst="straightConnector1">
              <a:avLst/>
            </a:prstGeom>
            <a:noFill/>
            <a:ln w="15875" cap="flat" cmpd="sng" algn="ctr">
              <a:solidFill>
                <a:srgbClr val="000000"/>
              </a:solidFill>
              <a:prstDash val="solid"/>
              <a:tailEnd type="triangle"/>
            </a:ln>
            <a:effectLst/>
          </p:spPr>
        </p:cxnSp>
        <p:cxnSp>
          <p:nvCxnSpPr>
            <p:cNvPr id="193" name="Straight Arrow Connector 192">
              <a:extLst>
                <a:ext uri="{FF2B5EF4-FFF2-40B4-BE49-F238E27FC236}">
                  <a16:creationId xmlns:a16="http://schemas.microsoft.com/office/drawing/2014/main" id="{8DC67D23-1B3E-4B6B-A47F-7E7561357191}"/>
                </a:ext>
              </a:extLst>
            </p:cNvPr>
            <p:cNvCxnSpPr>
              <a:cxnSpLocks/>
            </p:cNvCxnSpPr>
            <p:nvPr/>
          </p:nvCxnSpPr>
          <p:spPr>
            <a:xfrm>
              <a:off x="13328368" y="5888245"/>
              <a:ext cx="1724766" cy="0"/>
            </a:xfrm>
            <a:prstGeom prst="straightConnector1">
              <a:avLst/>
            </a:prstGeom>
            <a:noFill/>
            <a:ln w="15875" cap="flat" cmpd="sng" algn="ctr">
              <a:solidFill>
                <a:srgbClr val="000000"/>
              </a:solidFill>
              <a:prstDash val="solid"/>
              <a:tailEnd type="triangle"/>
            </a:ln>
            <a:effectLst/>
          </p:spPr>
        </p:cxnSp>
        <p:sp>
          <p:nvSpPr>
            <p:cNvPr id="194" name="TextBox 193">
              <a:extLst>
                <a:ext uri="{FF2B5EF4-FFF2-40B4-BE49-F238E27FC236}">
                  <a16:creationId xmlns:a16="http://schemas.microsoft.com/office/drawing/2014/main" id="{D8875C31-66A0-47E4-B473-05E693070C92}"/>
                </a:ext>
              </a:extLst>
            </p:cNvPr>
            <p:cNvSpPr txBox="1"/>
            <p:nvPr/>
          </p:nvSpPr>
          <p:spPr>
            <a:xfrm>
              <a:off x="13270056" y="6054218"/>
              <a:ext cx="1798714"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Ease of implementation</a:t>
              </a:r>
            </a:p>
          </p:txBody>
        </p:sp>
        <p:sp>
          <p:nvSpPr>
            <p:cNvPr id="195" name="TextBox 194">
              <a:extLst>
                <a:ext uri="{FF2B5EF4-FFF2-40B4-BE49-F238E27FC236}">
                  <a16:creationId xmlns:a16="http://schemas.microsoft.com/office/drawing/2014/main" id="{AEF94116-F890-49D5-BFE1-54599BD88AAC}"/>
                </a:ext>
              </a:extLst>
            </p:cNvPr>
            <p:cNvSpPr txBox="1"/>
            <p:nvPr/>
          </p:nvSpPr>
          <p:spPr>
            <a:xfrm rot="16200000">
              <a:off x="12288481" y="5133476"/>
              <a:ext cx="1333177"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Impact</a:t>
              </a:r>
            </a:p>
          </p:txBody>
        </p:sp>
        <p:sp>
          <p:nvSpPr>
            <p:cNvPr id="199" name="TextBox 198">
              <a:extLst>
                <a:ext uri="{FF2B5EF4-FFF2-40B4-BE49-F238E27FC236}">
                  <a16:creationId xmlns:a16="http://schemas.microsoft.com/office/drawing/2014/main" id="{5D4D4C80-D48D-416A-B78C-31599B92E7CF}"/>
                </a:ext>
              </a:extLst>
            </p:cNvPr>
            <p:cNvSpPr txBox="1"/>
            <p:nvPr/>
          </p:nvSpPr>
          <p:spPr>
            <a:xfrm>
              <a:off x="13070774" y="556977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200" name="TextBox 199">
              <a:extLst>
                <a:ext uri="{FF2B5EF4-FFF2-40B4-BE49-F238E27FC236}">
                  <a16:creationId xmlns:a16="http://schemas.microsoft.com/office/drawing/2014/main" id="{F4B86CB4-C16E-4952-9061-EC934214EBA9}"/>
                </a:ext>
              </a:extLst>
            </p:cNvPr>
            <p:cNvSpPr txBox="1"/>
            <p:nvPr/>
          </p:nvSpPr>
          <p:spPr>
            <a:xfrm>
              <a:off x="13070774" y="5118658"/>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201" name="TextBox 200">
              <a:extLst>
                <a:ext uri="{FF2B5EF4-FFF2-40B4-BE49-F238E27FC236}">
                  <a16:creationId xmlns:a16="http://schemas.microsoft.com/office/drawing/2014/main" id="{FC25420A-B36E-43FE-9144-7A14BD2C97A6}"/>
                </a:ext>
              </a:extLst>
            </p:cNvPr>
            <p:cNvSpPr txBox="1"/>
            <p:nvPr/>
          </p:nvSpPr>
          <p:spPr>
            <a:xfrm>
              <a:off x="13070774" y="468419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sp>
          <p:nvSpPr>
            <p:cNvPr id="205" name="TextBox 204">
              <a:extLst>
                <a:ext uri="{FF2B5EF4-FFF2-40B4-BE49-F238E27FC236}">
                  <a16:creationId xmlns:a16="http://schemas.microsoft.com/office/drawing/2014/main" id="{63964CAF-A6BC-4CB5-AEFE-4CDA1983588F}"/>
                </a:ext>
              </a:extLst>
            </p:cNvPr>
            <p:cNvSpPr txBox="1"/>
            <p:nvPr/>
          </p:nvSpPr>
          <p:spPr>
            <a:xfrm>
              <a:off x="13430519"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206" name="TextBox 205">
              <a:extLst>
                <a:ext uri="{FF2B5EF4-FFF2-40B4-BE49-F238E27FC236}">
                  <a16:creationId xmlns:a16="http://schemas.microsoft.com/office/drawing/2014/main" id="{5E87349D-9373-4DEB-AD8D-29C1E2035CF6}"/>
                </a:ext>
              </a:extLst>
            </p:cNvPr>
            <p:cNvSpPr txBox="1"/>
            <p:nvPr/>
          </p:nvSpPr>
          <p:spPr>
            <a:xfrm>
              <a:off x="14007050"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207" name="TextBox 206">
              <a:extLst>
                <a:ext uri="{FF2B5EF4-FFF2-40B4-BE49-F238E27FC236}">
                  <a16:creationId xmlns:a16="http://schemas.microsoft.com/office/drawing/2014/main" id="{92520F1A-555B-4E6A-9FE9-5FEC4F2B25E4}"/>
                </a:ext>
              </a:extLst>
            </p:cNvPr>
            <p:cNvSpPr txBox="1"/>
            <p:nvPr/>
          </p:nvSpPr>
          <p:spPr>
            <a:xfrm>
              <a:off x="14583578"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grpSp>
      <p:sp>
        <p:nvSpPr>
          <p:cNvPr id="94" name="Rectangle 93">
            <a:extLst>
              <a:ext uri="{FF2B5EF4-FFF2-40B4-BE49-F238E27FC236}">
                <a16:creationId xmlns:a16="http://schemas.microsoft.com/office/drawing/2014/main" id="{4468A3D8-52AF-465D-B6D3-F79ECB5FF525}"/>
              </a:ext>
            </a:extLst>
          </p:cNvPr>
          <p:cNvSpPr>
            <a:spLocks/>
          </p:cNvSpPr>
          <p:nvPr/>
        </p:nvSpPr>
        <p:spPr bwMode="gray">
          <a:xfrm>
            <a:off x="6245533" y="4441345"/>
            <a:ext cx="5220488" cy="2004776"/>
          </a:xfrm>
          <a:prstGeom prst="rect">
            <a:avLst/>
          </a:prstGeom>
          <a:no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542"/>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p:txBody>
      </p:sp>
      <p:sp>
        <p:nvSpPr>
          <p:cNvPr id="95" name="Round Same Side Corner Rectangle 24">
            <a:extLst>
              <a:ext uri="{FF2B5EF4-FFF2-40B4-BE49-F238E27FC236}">
                <a16:creationId xmlns:a16="http://schemas.microsoft.com/office/drawing/2014/main" id="{A94FDBBF-F202-4FBD-B852-DACB6771B663}"/>
              </a:ext>
            </a:extLst>
          </p:cNvPr>
          <p:cNvSpPr>
            <a:spLocks/>
          </p:cNvSpPr>
          <p:nvPr/>
        </p:nvSpPr>
        <p:spPr bwMode="gray">
          <a:xfrm>
            <a:off x="6245532" y="4308532"/>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Use case heatmap</a:t>
            </a:r>
          </a:p>
        </p:txBody>
      </p:sp>
      <p:grpSp>
        <p:nvGrpSpPr>
          <p:cNvPr id="7" name="Group 6">
            <a:extLst>
              <a:ext uri="{FF2B5EF4-FFF2-40B4-BE49-F238E27FC236}">
                <a16:creationId xmlns:a16="http://schemas.microsoft.com/office/drawing/2014/main" id="{F7B622D3-1C0D-4604-9E7D-C0FDAABF00FB}"/>
              </a:ext>
            </a:extLst>
          </p:cNvPr>
          <p:cNvGrpSpPr/>
          <p:nvPr/>
        </p:nvGrpSpPr>
        <p:grpSpPr>
          <a:xfrm>
            <a:off x="1946600" y="1999192"/>
            <a:ext cx="3890552" cy="1044280"/>
            <a:chOff x="622344" y="1751542"/>
            <a:chExt cx="5212877" cy="1044280"/>
          </a:xfrm>
        </p:grpSpPr>
        <p:sp>
          <p:nvSpPr>
            <p:cNvPr id="159" name="Rectangle 158">
              <a:extLst>
                <a:ext uri="{FF2B5EF4-FFF2-40B4-BE49-F238E27FC236}">
                  <a16:creationId xmlns:a16="http://schemas.microsoft.com/office/drawing/2014/main" id="{8F5EB3F3-E9C0-4715-BF38-3580849B375D}"/>
                </a:ext>
              </a:extLst>
            </p:cNvPr>
            <p:cNvSpPr>
              <a:spLocks/>
            </p:cNvSpPr>
            <p:nvPr/>
          </p:nvSpPr>
          <p:spPr bwMode="gray">
            <a:xfrm>
              <a:off x="622345" y="2036755"/>
              <a:ext cx="5212876"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60" name="Round Same Side Corner Rectangle 24">
              <a:extLst>
                <a:ext uri="{FF2B5EF4-FFF2-40B4-BE49-F238E27FC236}">
                  <a16:creationId xmlns:a16="http://schemas.microsoft.com/office/drawing/2014/main" id="{0EBC60FF-D14D-4913-91BE-B0527D010B0E}"/>
                </a:ext>
              </a:extLst>
            </p:cNvPr>
            <p:cNvSpPr>
              <a:spLocks/>
            </p:cNvSpPr>
            <p:nvPr/>
          </p:nvSpPr>
          <p:spPr bwMode="gray">
            <a:xfrm>
              <a:off x="622344" y="1751542"/>
              <a:ext cx="5212876"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Impact</a:t>
              </a:r>
            </a:p>
          </p:txBody>
        </p:sp>
        <p:sp>
          <p:nvSpPr>
            <p:cNvPr id="5" name="TextBox 4">
              <a:extLst>
                <a:ext uri="{FF2B5EF4-FFF2-40B4-BE49-F238E27FC236}">
                  <a16:creationId xmlns:a16="http://schemas.microsoft.com/office/drawing/2014/main" id="{5E6CEF4C-B839-4D27-937A-19706289E313}"/>
                </a:ext>
              </a:extLst>
            </p:cNvPr>
            <p:cNvSpPr txBox="1"/>
            <p:nvPr/>
          </p:nvSpPr>
          <p:spPr>
            <a:xfrm>
              <a:off x="650687" y="2030251"/>
              <a:ext cx="2895653" cy="701731"/>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All Areas and BUs impacted</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Minimizing data risks and possible fines by aligning regulatory data requirements from different angles</a:t>
              </a:r>
            </a:p>
          </p:txBody>
        </p:sp>
        <p:sp>
          <p:nvSpPr>
            <p:cNvPr id="130" name="TextBox 129">
              <a:extLst>
                <a:ext uri="{FF2B5EF4-FFF2-40B4-BE49-F238E27FC236}">
                  <a16:creationId xmlns:a16="http://schemas.microsoft.com/office/drawing/2014/main" id="{26DA1BAD-7B43-4991-ABCC-2D06DDFE899D}"/>
                </a:ext>
              </a:extLst>
            </p:cNvPr>
            <p:cNvSpPr txBox="1"/>
            <p:nvPr/>
          </p:nvSpPr>
          <p:spPr>
            <a:xfrm>
              <a:off x="3376311" y="2030251"/>
              <a:ext cx="2321064" cy="549381"/>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Large improvements in compliance, security and privacy</a:t>
              </a:r>
            </a:p>
          </p:txBody>
        </p:sp>
      </p:grpSp>
      <p:sp>
        <p:nvSpPr>
          <p:cNvPr id="135" name="TextBox 134">
            <a:extLst>
              <a:ext uri="{FF2B5EF4-FFF2-40B4-BE49-F238E27FC236}">
                <a16:creationId xmlns:a16="http://schemas.microsoft.com/office/drawing/2014/main" id="{9146C970-D1EE-4045-8E28-6E7CB87E663E}"/>
              </a:ext>
            </a:extLst>
          </p:cNvPr>
          <p:cNvSpPr txBox="1"/>
          <p:nvPr/>
        </p:nvSpPr>
        <p:spPr>
          <a:xfrm>
            <a:off x="650685" y="3462582"/>
            <a:ext cx="2697523" cy="854080"/>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dirty="0">
                <a:ln>
                  <a:noFill/>
                </a:ln>
                <a:solidFill>
                  <a:srgbClr val="2E2E38"/>
                </a:solidFill>
                <a:effectLst/>
                <a:uLnTx/>
                <a:uFillTx/>
                <a:latin typeface="Calibri" panose="020F0502020204030204"/>
                <a:ea typeface="+mn-ea"/>
                <a:cs typeface="+mn-cs"/>
              </a:rPr>
              <a:t>Build collaboration between supporting/ controlling data functions with team lead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dirty="0">
                <a:ln>
                  <a:noFill/>
                </a:ln>
                <a:solidFill>
                  <a:srgbClr val="2E2E38"/>
                </a:solidFill>
                <a:effectLst/>
                <a:uLnTx/>
                <a:uFillTx/>
                <a:latin typeface="Calibri" panose="020F0502020204030204"/>
                <a:ea typeface="+mn-ea"/>
                <a:cs typeface="+mn-cs"/>
              </a:rPr>
              <a:t>Embed defined data management artifacts into the other processe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dirty="0">
                <a:ln>
                  <a:noFill/>
                </a:ln>
                <a:solidFill>
                  <a:srgbClr val="2E2E38"/>
                </a:solidFill>
                <a:effectLst/>
                <a:uLnTx/>
                <a:uFillTx/>
                <a:latin typeface="Calibri" panose="020F0502020204030204"/>
                <a:ea typeface="+mn-ea"/>
                <a:cs typeface="+mn-cs"/>
              </a:rPr>
              <a:t>Organize ongoing alignment between functions</a:t>
            </a:r>
          </a:p>
        </p:txBody>
      </p:sp>
      <p:sp>
        <p:nvSpPr>
          <p:cNvPr id="136" name="TextBox 135">
            <a:extLst>
              <a:ext uri="{FF2B5EF4-FFF2-40B4-BE49-F238E27FC236}">
                <a16:creationId xmlns:a16="http://schemas.microsoft.com/office/drawing/2014/main" id="{937EF19C-CD2E-43F7-AADA-C1D846ABF673}"/>
              </a:ext>
            </a:extLst>
          </p:cNvPr>
          <p:cNvSpPr txBox="1"/>
          <p:nvPr/>
        </p:nvSpPr>
        <p:spPr>
          <a:xfrm>
            <a:off x="3376311" y="3462582"/>
            <a:ext cx="2321064" cy="701731"/>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Alignment between team leads needs limited resources </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Required number of resources for implementation </a:t>
            </a:r>
            <a:r>
              <a:rPr kumimoji="0" lang="en-US" sz="990" b="0" i="0" u="none" strike="noStrike" kern="1200" cap="none" spc="0" normalizeH="0" baseline="0" noProof="0" dirty="0" err="1">
                <a:ln>
                  <a:noFill/>
                </a:ln>
                <a:solidFill>
                  <a:prstClr val="black"/>
                </a:solidFill>
                <a:effectLst/>
                <a:uLnTx/>
                <a:uFillTx/>
                <a:latin typeface="Calibri" panose="020F0502020204030204"/>
                <a:ea typeface="+mn-ea"/>
                <a:cs typeface="+mn-cs"/>
              </a:rPr>
              <a:t>tbd</a:t>
            </a:r>
            <a:endPar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07A47E1E-FBDC-4685-A3A0-DB71DBED56CD}"/>
              </a:ext>
            </a:extLst>
          </p:cNvPr>
          <p:cNvSpPr/>
          <p:nvPr/>
        </p:nvSpPr>
        <p:spPr>
          <a:xfrm>
            <a:off x="2544976" y="4726768"/>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C975F1BB-5460-4AC5-8B50-A125A8E01CF9}"/>
              </a:ext>
            </a:extLst>
          </p:cNvPr>
          <p:cNvSpPr/>
          <p:nvPr/>
        </p:nvSpPr>
        <p:spPr>
          <a:xfrm>
            <a:off x="3092434" y="4728250"/>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13660265-D0E1-4849-A01C-FB9E845F9E5C}"/>
              </a:ext>
            </a:extLst>
          </p:cNvPr>
          <p:cNvSpPr/>
          <p:nvPr/>
        </p:nvSpPr>
        <p:spPr>
          <a:xfrm>
            <a:off x="3644329" y="4729727"/>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4" name="Rectangle 73">
            <a:extLst>
              <a:ext uri="{FF2B5EF4-FFF2-40B4-BE49-F238E27FC236}">
                <a16:creationId xmlns:a16="http://schemas.microsoft.com/office/drawing/2014/main" id="{147A0E2E-B9EF-416F-8E01-B6B6A2BE56C8}"/>
              </a:ext>
            </a:extLst>
          </p:cNvPr>
          <p:cNvSpPr/>
          <p:nvPr/>
        </p:nvSpPr>
        <p:spPr>
          <a:xfrm>
            <a:off x="2544976" y="5160293"/>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5" name="Rectangle 74">
            <a:extLst>
              <a:ext uri="{FF2B5EF4-FFF2-40B4-BE49-F238E27FC236}">
                <a16:creationId xmlns:a16="http://schemas.microsoft.com/office/drawing/2014/main" id="{B90A583F-8D96-4A22-A61B-1B0182C5B7E5}"/>
              </a:ext>
            </a:extLst>
          </p:cNvPr>
          <p:cNvSpPr/>
          <p:nvPr/>
        </p:nvSpPr>
        <p:spPr>
          <a:xfrm>
            <a:off x="3092434" y="5160293"/>
            <a:ext cx="499337" cy="388101"/>
          </a:xfrm>
          <a:prstGeom prst="rect">
            <a:avLst/>
          </a:prstGeom>
          <a:solidFill>
            <a:schemeClr val="accent2"/>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A60BDD15-A837-42F3-95C7-29F09DE6D9B0}"/>
              </a:ext>
            </a:extLst>
          </p:cNvPr>
          <p:cNvSpPr/>
          <p:nvPr/>
        </p:nvSpPr>
        <p:spPr>
          <a:xfrm>
            <a:off x="3644329" y="5160293"/>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A7D1D6CA-FA9D-40FC-AAD3-B96C51B32D7D}"/>
              </a:ext>
            </a:extLst>
          </p:cNvPr>
          <p:cNvSpPr/>
          <p:nvPr/>
        </p:nvSpPr>
        <p:spPr>
          <a:xfrm>
            <a:off x="2544976" y="5570147"/>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8" name="Rectangle 77">
            <a:extLst>
              <a:ext uri="{FF2B5EF4-FFF2-40B4-BE49-F238E27FC236}">
                <a16:creationId xmlns:a16="http://schemas.microsoft.com/office/drawing/2014/main" id="{AA68CEC8-69D7-465E-B6AB-77C7C8105782}"/>
              </a:ext>
            </a:extLst>
          </p:cNvPr>
          <p:cNvSpPr/>
          <p:nvPr/>
        </p:nvSpPr>
        <p:spPr>
          <a:xfrm>
            <a:off x="3092434" y="5570147"/>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9" name="Rectangle 78">
            <a:extLst>
              <a:ext uri="{FF2B5EF4-FFF2-40B4-BE49-F238E27FC236}">
                <a16:creationId xmlns:a16="http://schemas.microsoft.com/office/drawing/2014/main" id="{D06F1782-1563-4F79-BA5C-D84134A9020B}"/>
              </a:ext>
            </a:extLst>
          </p:cNvPr>
          <p:cNvSpPr/>
          <p:nvPr/>
        </p:nvSpPr>
        <p:spPr>
          <a:xfrm>
            <a:off x="3644329" y="5570147"/>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99" name="Title 5">
            <a:extLst>
              <a:ext uri="{FF2B5EF4-FFF2-40B4-BE49-F238E27FC236}">
                <a16:creationId xmlns:a16="http://schemas.microsoft.com/office/drawing/2014/main" id="{D4BD80A2-2B39-4D6F-A68C-4E63F7CDD251}"/>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69B4"/>
                </a:solidFill>
                <a:effectLst/>
                <a:uLnTx/>
                <a:uFillTx/>
                <a:latin typeface="Calibri Light" panose="020F0302020204030204"/>
                <a:ea typeface="+mj-ea"/>
                <a:cs typeface="+mj-cs"/>
              </a:rPr>
              <a:t>Use Cases for Data Objective 1 (3/4) </a:t>
            </a:r>
          </a:p>
        </p:txBody>
      </p:sp>
      <p:grpSp>
        <p:nvGrpSpPr>
          <p:cNvPr id="100" name="Group 99">
            <a:extLst>
              <a:ext uri="{FF2B5EF4-FFF2-40B4-BE49-F238E27FC236}">
                <a16:creationId xmlns:a16="http://schemas.microsoft.com/office/drawing/2014/main" id="{41F40199-CFC5-49C7-9251-0989C9772F7F}"/>
              </a:ext>
            </a:extLst>
          </p:cNvPr>
          <p:cNvGrpSpPr/>
          <p:nvPr/>
        </p:nvGrpSpPr>
        <p:grpSpPr>
          <a:xfrm>
            <a:off x="7423096" y="4638545"/>
            <a:ext cx="2549874" cy="1938566"/>
            <a:chOff x="12687534" y="4543604"/>
            <a:chExt cx="2549874" cy="1938566"/>
          </a:xfrm>
        </p:grpSpPr>
        <p:sp>
          <p:nvSpPr>
            <p:cNvPr id="103" name="Rectangle 102">
              <a:extLst>
                <a:ext uri="{FF2B5EF4-FFF2-40B4-BE49-F238E27FC236}">
                  <a16:creationId xmlns:a16="http://schemas.microsoft.com/office/drawing/2014/main" id="{06C7632F-F35F-4919-8409-62C8D784AB9A}"/>
                </a:ext>
              </a:extLst>
            </p:cNvPr>
            <p:cNvSpPr>
              <a:spLocks/>
            </p:cNvSpPr>
            <p:nvPr/>
          </p:nvSpPr>
          <p:spPr bwMode="gray">
            <a:xfrm>
              <a:off x="12687534" y="4543604"/>
              <a:ext cx="2549874" cy="1938566"/>
            </a:xfrm>
            <a:prstGeom prst="rect">
              <a:avLst/>
            </a:prstGeom>
            <a:solidFill>
              <a:srgbClr val="FFFFFF"/>
            </a:solidFill>
            <a:ln w="19050">
              <a:solidFill>
                <a:schemeClr val="bg1"/>
              </a:solidFill>
            </a:ln>
          </p:spPr>
          <p:txBody>
            <a:bodyPr wrap="square" lIns="65054" tIns="65054" rIns="65054" bIns="65054">
              <a:noAutofit/>
            </a:bodyPr>
            <a:lstStyle/>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p:txBody>
        </p:sp>
        <p:cxnSp>
          <p:nvCxnSpPr>
            <p:cNvPr id="104" name="Straight Connector 103">
              <a:extLst>
                <a:ext uri="{FF2B5EF4-FFF2-40B4-BE49-F238E27FC236}">
                  <a16:creationId xmlns:a16="http://schemas.microsoft.com/office/drawing/2014/main" id="{E667AF1C-FF61-4B5A-9FD7-13F0775D0D4D}"/>
                </a:ext>
              </a:extLst>
            </p:cNvPr>
            <p:cNvCxnSpPr>
              <a:cxnSpLocks/>
            </p:cNvCxnSpPr>
            <p:nvPr/>
          </p:nvCxnSpPr>
          <p:spPr>
            <a:xfrm flipV="1">
              <a:off x="13328368" y="5080542"/>
              <a:ext cx="1621280" cy="1"/>
            </a:xfrm>
            <a:prstGeom prst="line">
              <a:avLst/>
            </a:prstGeom>
            <a:noFill/>
            <a:ln w="3175" cap="flat" cmpd="sng" algn="ctr">
              <a:solidFill>
                <a:schemeClr val="bg1">
                  <a:lumMod val="85000"/>
                </a:schemeClr>
              </a:solidFill>
              <a:prstDash val="dash"/>
              <a:tailEnd type="none"/>
            </a:ln>
            <a:effectLst/>
          </p:spPr>
        </p:cxnSp>
        <p:cxnSp>
          <p:nvCxnSpPr>
            <p:cNvPr id="105" name="Straight Connector 104">
              <a:extLst>
                <a:ext uri="{FF2B5EF4-FFF2-40B4-BE49-F238E27FC236}">
                  <a16:creationId xmlns:a16="http://schemas.microsoft.com/office/drawing/2014/main" id="{5705939A-76CE-4C5E-9AD5-E367651A4E8E}"/>
                </a:ext>
              </a:extLst>
            </p:cNvPr>
            <p:cNvCxnSpPr>
              <a:cxnSpLocks/>
            </p:cNvCxnSpPr>
            <p:nvPr/>
          </p:nvCxnSpPr>
          <p:spPr>
            <a:xfrm flipV="1">
              <a:off x="13879871" y="4673063"/>
              <a:ext cx="0" cy="1214603"/>
            </a:xfrm>
            <a:prstGeom prst="line">
              <a:avLst/>
            </a:prstGeom>
            <a:noFill/>
            <a:ln w="3175" cap="flat" cmpd="sng" algn="ctr">
              <a:solidFill>
                <a:schemeClr val="bg1">
                  <a:lumMod val="85000"/>
                </a:schemeClr>
              </a:solidFill>
              <a:prstDash val="dash"/>
              <a:tailEnd type="none"/>
            </a:ln>
            <a:effectLst/>
          </p:spPr>
        </p:cxnSp>
        <p:cxnSp>
          <p:nvCxnSpPr>
            <p:cNvPr id="106" name="Straight Connector 105">
              <a:extLst>
                <a:ext uri="{FF2B5EF4-FFF2-40B4-BE49-F238E27FC236}">
                  <a16:creationId xmlns:a16="http://schemas.microsoft.com/office/drawing/2014/main" id="{34C4E1FB-9835-4007-AFA1-36CAD90BE309}"/>
                </a:ext>
              </a:extLst>
            </p:cNvPr>
            <p:cNvCxnSpPr>
              <a:cxnSpLocks/>
            </p:cNvCxnSpPr>
            <p:nvPr/>
          </p:nvCxnSpPr>
          <p:spPr>
            <a:xfrm flipV="1">
              <a:off x="14436281" y="4673062"/>
              <a:ext cx="0" cy="1214603"/>
            </a:xfrm>
            <a:prstGeom prst="line">
              <a:avLst/>
            </a:prstGeom>
            <a:noFill/>
            <a:ln w="3175" cap="flat" cmpd="sng" algn="ctr">
              <a:solidFill>
                <a:schemeClr val="bg1">
                  <a:lumMod val="85000"/>
                </a:schemeClr>
              </a:solidFill>
              <a:prstDash val="dash"/>
              <a:tailEnd type="none"/>
            </a:ln>
            <a:effectLst/>
          </p:spPr>
        </p:cxnSp>
        <p:cxnSp>
          <p:nvCxnSpPr>
            <p:cNvPr id="107" name="Straight Connector 106">
              <a:extLst>
                <a:ext uri="{FF2B5EF4-FFF2-40B4-BE49-F238E27FC236}">
                  <a16:creationId xmlns:a16="http://schemas.microsoft.com/office/drawing/2014/main" id="{7098696C-574E-4FC7-8D74-D1297812B1FA}"/>
                </a:ext>
              </a:extLst>
            </p:cNvPr>
            <p:cNvCxnSpPr>
              <a:cxnSpLocks/>
            </p:cNvCxnSpPr>
            <p:nvPr/>
          </p:nvCxnSpPr>
          <p:spPr>
            <a:xfrm flipV="1">
              <a:off x="13352428" y="5483833"/>
              <a:ext cx="1621280" cy="1"/>
            </a:xfrm>
            <a:prstGeom prst="line">
              <a:avLst/>
            </a:prstGeom>
            <a:noFill/>
            <a:ln w="3175" cap="flat" cmpd="sng" algn="ctr">
              <a:solidFill>
                <a:schemeClr val="bg1">
                  <a:lumMod val="85000"/>
                </a:schemeClr>
              </a:solidFill>
              <a:prstDash val="dash"/>
              <a:tailEnd type="none"/>
            </a:ln>
            <a:effectLst/>
          </p:spPr>
        </p:cxnSp>
        <p:cxnSp>
          <p:nvCxnSpPr>
            <p:cNvPr id="108" name="Straight Arrow Connector 107">
              <a:extLst>
                <a:ext uri="{FF2B5EF4-FFF2-40B4-BE49-F238E27FC236}">
                  <a16:creationId xmlns:a16="http://schemas.microsoft.com/office/drawing/2014/main" id="{BC0CAC76-5B02-451A-B11D-625E85D7BD18}"/>
                </a:ext>
              </a:extLst>
            </p:cNvPr>
            <p:cNvCxnSpPr>
              <a:cxnSpLocks/>
            </p:cNvCxnSpPr>
            <p:nvPr/>
          </p:nvCxnSpPr>
          <p:spPr>
            <a:xfrm flipV="1">
              <a:off x="13328368" y="4590630"/>
              <a:ext cx="0" cy="1301082"/>
            </a:xfrm>
            <a:prstGeom prst="straightConnector1">
              <a:avLst/>
            </a:prstGeom>
            <a:noFill/>
            <a:ln w="15875" cap="flat" cmpd="sng" algn="ctr">
              <a:solidFill>
                <a:srgbClr val="000000"/>
              </a:solidFill>
              <a:prstDash val="solid"/>
              <a:tailEnd type="triangle"/>
            </a:ln>
            <a:effectLst/>
          </p:spPr>
        </p:cxnSp>
        <p:cxnSp>
          <p:nvCxnSpPr>
            <p:cNvPr id="109" name="Straight Arrow Connector 108">
              <a:extLst>
                <a:ext uri="{FF2B5EF4-FFF2-40B4-BE49-F238E27FC236}">
                  <a16:creationId xmlns:a16="http://schemas.microsoft.com/office/drawing/2014/main" id="{FAFF1AEF-55A2-4F06-A5BD-A1A9ABFAE678}"/>
                </a:ext>
              </a:extLst>
            </p:cNvPr>
            <p:cNvCxnSpPr>
              <a:cxnSpLocks/>
            </p:cNvCxnSpPr>
            <p:nvPr/>
          </p:nvCxnSpPr>
          <p:spPr>
            <a:xfrm>
              <a:off x="13328368" y="5888245"/>
              <a:ext cx="1724766" cy="0"/>
            </a:xfrm>
            <a:prstGeom prst="straightConnector1">
              <a:avLst/>
            </a:prstGeom>
            <a:noFill/>
            <a:ln w="15875" cap="flat" cmpd="sng" algn="ctr">
              <a:solidFill>
                <a:srgbClr val="000000"/>
              </a:solidFill>
              <a:prstDash val="solid"/>
              <a:tailEnd type="triangle"/>
            </a:ln>
            <a:effectLst/>
          </p:spPr>
        </p:cxnSp>
        <p:sp>
          <p:nvSpPr>
            <p:cNvPr id="110" name="TextBox 109">
              <a:extLst>
                <a:ext uri="{FF2B5EF4-FFF2-40B4-BE49-F238E27FC236}">
                  <a16:creationId xmlns:a16="http://schemas.microsoft.com/office/drawing/2014/main" id="{E11355B9-E41F-4BE5-B155-5C0BE477A02F}"/>
                </a:ext>
              </a:extLst>
            </p:cNvPr>
            <p:cNvSpPr txBox="1"/>
            <p:nvPr/>
          </p:nvSpPr>
          <p:spPr>
            <a:xfrm>
              <a:off x="13270056" y="6054218"/>
              <a:ext cx="1798714"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Ease of implementation</a:t>
              </a:r>
            </a:p>
          </p:txBody>
        </p:sp>
        <p:sp>
          <p:nvSpPr>
            <p:cNvPr id="111" name="TextBox 110">
              <a:extLst>
                <a:ext uri="{FF2B5EF4-FFF2-40B4-BE49-F238E27FC236}">
                  <a16:creationId xmlns:a16="http://schemas.microsoft.com/office/drawing/2014/main" id="{81C9371D-17A4-404B-BE7D-47006311B43D}"/>
                </a:ext>
              </a:extLst>
            </p:cNvPr>
            <p:cNvSpPr txBox="1"/>
            <p:nvPr/>
          </p:nvSpPr>
          <p:spPr>
            <a:xfrm rot="16200000">
              <a:off x="12288481" y="5133476"/>
              <a:ext cx="1333177"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Impact</a:t>
              </a:r>
            </a:p>
          </p:txBody>
        </p:sp>
        <p:sp>
          <p:nvSpPr>
            <p:cNvPr id="112" name="TextBox 111">
              <a:extLst>
                <a:ext uri="{FF2B5EF4-FFF2-40B4-BE49-F238E27FC236}">
                  <a16:creationId xmlns:a16="http://schemas.microsoft.com/office/drawing/2014/main" id="{93E6892B-432A-42CA-A3F7-9A50D8DB185A}"/>
                </a:ext>
              </a:extLst>
            </p:cNvPr>
            <p:cNvSpPr txBox="1"/>
            <p:nvPr/>
          </p:nvSpPr>
          <p:spPr>
            <a:xfrm>
              <a:off x="13070774" y="556977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13" name="TextBox 112">
              <a:extLst>
                <a:ext uri="{FF2B5EF4-FFF2-40B4-BE49-F238E27FC236}">
                  <a16:creationId xmlns:a16="http://schemas.microsoft.com/office/drawing/2014/main" id="{FFF64B40-3380-40B2-982B-9DCF68CDBBA5}"/>
                </a:ext>
              </a:extLst>
            </p:cNvPr>
            <p:cNvSpPr txBox="1"/>
            <p:nvPr/>
          </p:nvSpPr>
          <p:spPr>
            <a:xfrm>
              <a:off x="13070774" y="5118658"/>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114" name="TextBox 113">
              <a:extLst>
                <a:ext uri="{FF2B5EF4-FFF2-40B4-BE49-F238E27FC236}">
                  <a16:creationId xmlns:a16="http://schemas.microsoft.com/office/drawing/2014/main" id="{E7761BFD-1E21-4BCE-BB16-D2CB759B1EE6}"/>
                </a:ext>
              </a:extLst>
            </p:cNvPr>
            <p:cNvSpPr txBox="1"/>
            <p:nvPr/>
          </p:nvSpPr>
          <p:spPr>
            <a:xfrm>
              <a:off x="13070774" y="468419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sp>
          <p:nvSpPr>
            <p:cNvPr id="116" name="TextBox 115">
              <a:extLst>
                <a:ext uri="{FF2B5EF4-FFF2-40B4-BE49-F238E27FC236}">
                  <a16:creationId xmlns:a16="http://schemas.microsoft.com/office/drawing/2014/main" id="{2AB08CF4-B21E-4265-B7A4-0D086E37B046}"/>
                </a:ext>
              </a:extLst>
            </p:cNvPr>
            <p:cNvSpPr txBox="1"/>
            <p:nvPr/>
          </p:nvSpPr>
          <p:spPr>
            <a:xfrm>
              <a:off x="13430519"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117" name="TextBox 116">
              <a:extLst>
                <a:ext uri="{FF2B5EF4-FFF2-40B4-BE49-F238E27FC236}">
                  <a16:creationId xmlns:a16="http://schemas.microsoft.com/office/drawing/2014/main" id="{5B43CBBD-4B91-4463-A7A6-FE44B78D0F12}"/>
                </a:ext>
              </a:extLst>
            </p:cNvPr>
            <p:cNvSpPr txBox="1"/>
            <p:nvPr/>
          </p:nvSpPr>
          <p:spPr>
            <a:xfrm>
              <a:off x="14007050"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118" name="TextBox 117">
              <a:extLst>
                <a:ext uri="{FF2B5EF4-FFF2-40B4-BE49-F238E27FC236}">
                  <a16:creationId xmlns:a16="http://schemas.microsoft.com/office/drawing/2014/main" id="{D4430AB8-4CA9-4F35-8D10-BE5EAFFDCD9E}"/>
                </a:ext>
              </a:extLst>
            </p:cNvPr>
            <p:cNvSpPr txBox="1"/>
            <p:nvPr/>
          </p:nvSpPr>
          <p:spPr>
            <a:xfrm>
              <a:off x="14583578"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grpSp>
      <p:sp>
        <p:nvSpPr>
          <p:cNvPr id="119" name="Rectangle 118">
            <a:extLst>
              <a:ext uri="{FF2B5EF4-FFF2-40B4-BE49-F238E27FC236}">
                <a16:creationId xmlns:a16="http://schemas.microsoft.com/office/drawing/2014/main" id="{D1AEE21B-8568-4BE9-9133-738668773E9F}"/>
              </a:ext>
            </a:extLst>
          </p:cNvPr>
          <p:cNvSpPr/>
          <p:nvPr/>
        </p:nvSpPr>
        <p:spPr>
          <a:xfrm>
            <a:off x="8101306" y="4729906"/>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0" name="Rectangle 119">
            <a:extLst>
              <a:ext uri="{FF2B5EF4-FFF2-40B4-BE49-F238E27FC236}">
                <a16:creationId xmlns:a16="http://schemas.microsoft.com/office/drawing/2014/main" id="{7A11B515-62CA-473A-987B-9BF00054D05A}"/>
              </a:ext>
            </a:extLst>
          </p:cNvPr>
          <p:cNvSpPr/>
          <p:nvPr/>
        </p:nvSpPr>
        <p:spPr>
          <a:xfrm>
            <a:off x="8648764" y="4731388"/>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1" name="Rectangle 120">
            <a:extLst>
              <a:ext uri="{FF2B5EF4-FFF2-40B4-BE49-F238E27FC236}">
                <a16:creationId xmlns:a16="http://schemas.microsoft.com/office/drawing/2014/main" id="{CE6CE4F1-AB32-445E-AEE9-143314182C17}"/>
              </a:ext>
            </a:extLst>
          </p:cNvPr>
          <p:cNvSpPr/>
          <p:nvPr/>
        </p:nvSpPr>
        <p:spPr>
          <a:xfrm>
            <a:off x="9200659" y="4732865"/>
            <a:ext cx="499337" cy="388101"/>
          </a:xfrm>
          <a:prstGeom prst="rect">
            <a:avLst/>
          </a:prstGeom>
          <a:solidFill>
            <a:schemeClr val="accent2"/>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2" name="Rectangle 121">
            <a:extLst>
              <a:ext uri="{FF2B5EF4-FFF2-40B4-BE49-F238E27FC236}">
                <a16:creationId xmlns:a16="http://schemas.microsoft.com/office/drawing/2014/main" id="{59BB4040-D008-424B-A2C3-B59027B41ACF}"/>
              </a:ext>
            </a:extLst>
          </p:cNvPr>
          <p:cNvSpPr/>
          <p:nvPr/>
        </p:nvSpPr>
        <p:spPr>
          <a:xfrm>
            <a:off x="8101306" y="5163431"/>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3" name="Rectangle 122">
            <a:extLst>
              <a:ext uri="{FF2B5EF4-FFF2-40B4-BE49-F238E27FC236}">
                <a16:creationId xmlns:a16="http://schemas.microsoft.com/office/drawing/2014/main" id="{A230A1BA-6277-40AA-926D-FB44DDB2FD12}"/>
              </a:ext>
            </a:extLst>
          </p:cNvPr>
          <p:cNvSpPr/>
          <p:nvPr/>
        </p:nvSpPr>
        <p:spPr>
          <a:xfrm>
            <a:off x="8648764" y="5163431"/>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4" name="Rectangle 123">
            <a:extLst>
              <a:ext uri="{FF2B5EF4-FFF2-40B4-BE49-F238E27FC236}">
                <a16:creationId xmlns:a16="http://schemas.microsoft.com/office/drawing/2014/main" id="{AD03806B-F5E8-432A-AB0F-631DC4098582}"/>
              </a:ext>
            </a:extLst>
          </p:cNvPr>
          <p:cNvSpPr/>
          <p:nvPr/>
        </p:nvSpPr>
        <p:spPr>
          <a:xfrm>
            <a:off x="9200659" y="5163431"/>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5E9601EC-4AC6-4C5C-97D7-A6AC17289D22}"/>
              </a:ext>
            </a:extLst>
          </p:cNvPr>
          <p:cNvSpPr/>
          <p:nvPr/>
        </p:nvSpPr>
        <p:spPr>
          <a:xfrm>
            <a:off x="8101306" y="5573285"/>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26" name="Rectangle 125">
            <a:extLst>
              <a:ext uri="{FF2B5EF4-FFF2-40B4-BE49-F238E27FC236}">
                <a16:creationId xmlns:a16="http://schemas.microsoft.com/office/drawing/2014/main" id="{79D1D21C-7D0E-437C-959F-25A7B3D15102}"/>
              </a:ext>
            </a:extLst>
          </p:cNvPr>
          <p:cNvSpPr/>
          <p:nvPr/>
        </p:nvSpPr>
        <p:spPr>
          <a:xfrm>
            <a:off x="8648764" y="5573285"/>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131" name="Rectangle 130">
            <a:extLst>
              <a:ext uri="{FF2B5EF4-FFF2-40B4-BE49-F238E27FC236}">
                <a16:creationId xmlns:a16="http://schemas.microsoft.com/office/drawing/2014/main" id="{228C8806-9085-44BC-B40A-09B57308B044}"/>
              </a:ext>
            </a:extLst>
          </p:cNvPr>
          <p:cNvSpPr/>
          <p:nvPr/>
        </p:nvSpPr>
        <p:spPr>
          <a:xfrm>
            <a:off x="9200659" y="5573285"/>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2" name="Rounded Rectangle 150">
            <a:extLst>
              <a:ext uri="{FF2B5EF4-FFF2-40B4-BE49-F238E27FC236}">
                <a16:creationId xmlns:a16="http://schemas.microsoft.com/office/drawing/2014/main" id="{5E20010F-F8CB-4BCB-88B0-11DB74814F4A}"/>
              </a:ext>
            </a:extLst>
          </p:cNvPr>
          <p:cNvSpPr/>
          <p:nvPr/>
        </p:nvSpPr>
        <p:spPr>
          <a:xfrm>
            <a:off x="7575481" y="1270438"/>
            <a:ext cx="3888621" cy="540000"/>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994" b="0" i="0" u="none" strike="noStrike" kern="0" cap="none" spc="0" normalizeH="0" baseline="0" noProof="0">
                <a:ln>
                  <a:noFill/>
                </a:ln>
                <a:solidFill>
                  <a:srgbClr val="2E2E38"/>
                </a:solidFill>
                <a:effectLst/>
                <a:uLnTx/>
                <a:uFillTx/>
                <a:latin typeface="Calibri" panose="020F0502020204030204"/>
                <a:ea typeface="+mn-ea"/>
                <a:cs typeface="+mn-cs"/>
              </a:rPr>
              <a:t>Re-launch data governance throughout the global organization based on revisited documents (focus on partnering with business)</a:t>
            </a:r>
          </a:p>
        </p:txBody>
      </p:sp>
      <p:sp>
        <p:nvSpPr>
          <p:cNvPr id="133" name="Rectangle 132">
            <a:extLst>
              <a:ext uri="{FF2B5EF4-FFF2-40B4-BE49-F238E27FC236}">
                <a16:creationId xmlns:a16="http://schemas.microsoft.com/office/drawing/2014/main" id="{B055745D-C08C-44B9-A08F-7637F1AF919F}"/>
              </a:ext>
            </a:extLst>
          </p:cNvPr>
          <p:cNvSpPr/>
          <p:nvPr/>
        </p:nvSpPr>
        <p:spPr>
          <a:xfrm>
            <a:off x="6237316" y="1270438"/>
            <a:ext cx="1177564" cy="540000"/>
          </a:xfrm>
          <a:prstGeom prst="rect">
            <a:avLst/>
          </a:prstGeom>
          <a:solidFill>
            <a:schemeClr val="tx2"/>
          </a:solidFill>
          <a:ln w="9525" cap="flat" cmpd="sng" algn="ctr">
            <a:solidFill>
              <a:schemeClr val="accent1"/>
            </a:solidFill>
            <a:prstDash val="solid"/>
          </a:ln>
          <a:effectLst/>
        </p:spPr>
        <p:txBody>
          <a:bodyPr lIns="65054" tIns="65054" rIns="65054" bIns="65054" rtlCol="0" anchor="ctr" anchorCtr="0"/>
          <a:lstStyle/>
          <a:p>
            <a:pPr marL="0" marR="0" lvl="0" indent="0" algn="ctr" defTabSz="913845" rtl="0" eaLnBrk="1" fontAlgn="auto" latinLnBrk="0" hangingPunct="1">
              <a:lnSpc>
                <a:spcPct val="100000"/>
              </a:lnSpc>
              <a:spcBef>
                <a:spcPts val="0"/>
              </a:spcBef>
              <a:spcAft>
                <a:spcPts val="0"/>
              </a:spcAft>
              <a:buClrTx/>
              <a:buSzTx/>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Relaunch data governance</a:t>
            </a:r>
          </a:p>
        </p:txBody>
      </p:sp>
      <p:cxnSp>
        <p:nvCxnSpPr>
          <p:cNvPr id="134" name="Straight Connector 133">
            <a:extLst>
              <a:ext uri="{FF2B5EF4-FFF2-40B4-BE49-F238E27FC236}">
                <a16:creationId xmlns:a16="http://schemas.microsoft.com/office/drawing/2014/main" id="{ABC4AB6D-A8C8-42E5-80DF-A84C1A7374DD}"/>
              </a:ext>
            </a:extLst>
          </p:cNvPr>
          <p:cNvCxnSpPr>
            <a:cxnSpLocks/>
            <a:stCxn id="133" idx="3"/>
            <a:endCxn id="132" idx="1"/>
          </p:cNvCxnSpPr>
          <p:nvPr/>
        </p:nvCxnSpPr>
        <p:spPr>
          <a:xfrm>
            <a:off x="7414880" y="1540438"/>
            <a:ext cx="160601" cy="0"/>
          </a:xfrm>
          <a:prstGeom prst="line">
            <a:avLst/>
          </a:prstGeom>
          <a:noFill/>
          <a:ln w="76200" cap="flat" cmpd="sng" algn="ctr">
            <a:solidFill>
              <a:schemeClr val="tx2"/>
            </a:solidFill>
            <a:prstDash val="solid"/>
          </a:ln>
          <a:effectLst/>
        </p:spPr>
      </p:cxnSp>
      <p:sp>
        <p:nvSpPr>
          <p:cNvPr id="169" name="Rectangle 168">
            <a:extLst>
              <a:ext uri="{FF2B5EF4-FFF2-40B4-BE49-F238E27FC236}">
                <a16:creationId xmlns:a16="http://schemas.microsoft.com/office/drawing/2014/main" id="{D01D072C-1925-43A9-A994-227A013DB5D9}"/>
              </a:ext>
            </a:extLst>
          </p:cNvPr>
          <p:cNvSpPr>
            <a:spLocks/>
          </p:cNvSpPr>
          <p:nvPr/>
        </p:nvSpPr>
        <p:spPr bwMode="gray">
          <a:xfrm>
            <a:off x="6245533" y="3453805"/>
            <a:ext cx="5220488"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70" name="Round Same Side Corner Rectangle 24">
            <a:extLst>
              <a:ext uri="{FF2B5EF4-FFF2-40B4-BE49-F238E27FC236}">
                <a16:creationId xmlns:a16="http://schemas.microsoft.com/office/drawing/2014/main" id="{624D0F59-ABF0-4263-B3ED-7AC39478125C}"/>
              </a:ext>
            </a:extLst>
          </p:cNvPr>
          <p:cNvSpPr>
            <a:spLocks/>
          </p:cNvSpPr>
          <p:nvPr/>
        </p:nvSpPr>
        <p:spPr bwMode="gray">
          <a:xfrm>
            <a:off x="6245532" y="3168592"/>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Ease of implementation</a:t>
            </a:r>
          </a:p>
        </p:txBody>
      </p:sp>
      <p:sp>
        <p:nvSpPr>
          <p:cNvPr id="174" name="TextBox 173">
            <a:extLst>
              <a:ext uri="{FF2B5EF4-FFF2-40B4-BE49-F238E27FC236}">
                <a16:creationId xmlns:a16="http://schemas.microsoft.com/office/drawing/2014/main" id="{F0AF8E4D-9F24-4A01-AD28-0056FE9D4B83}"/>
              </a:ext>
            </a:extLst>
          </p:cNvPr>
          <p:cNvSpPr txBox="1"/>
          <p:nvPr/>
        </p:nvSpPr>
        <p:spPr>
          <a:xfrm>
            <a:off x="9005192" y="3462582"/>
            <a:ext cx="2453229" cy="397032"/>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Required number of resources to be added when plan is specified</a:t>
            </a:r>
          </a:p>
        </p:txBody>
      </p:sp>
      <p:grpSp>
        <p:nvGrpSpPr>
          <p:cNvPr id="88" name="Group 87">
            <a:extLst>
              <a:ext uri="{FF2B5EF4-FFF2-40B4-BE49-F238E27FC236}">
                <a16:creationId xmlns:a16="http://schemas.microsoft.com/office/drawing/2014/main" id="{FECD8A08-BCE9-4DDF-90B5-496CCDEA328D}"/>
              </a:ext>
            </a:extLst>
          </p:cNvPr>
          <p:cNvGrpSpPr/>
          <p:nvPr/>
        </p:nvGrpSpPr>
        <p:grpSpPr>
          <a:xfrm>
            <a:off x="7567871" y="1999192"/>
            <a:ext cx="3890552" cy="1044280"/>
            <a:chOff x="622344" y="1751542"/>
            <a:chExt cx="5212877" cy="1044280"/>
          </a:xfrm>
        </p:grpSpPr>
        <p:sp>
          <p:nvSpPr>
            <p:cNvPr id="90" name="Rectangle 89">
              <a:extLst>
                <a:ext uri="{FF2B5EF4-FFF2-40B4-BE49-F238E27FC236}">
                  <a16:creationId xmlns:a16="http://schemas.microsoft.com/office/drawing/2014/main" id="{5D4CDE3A-A3B2-48C6-B6E0-FDD1B7755760}"/>
                </a:ext>
              </a:extLst>
            </p:cNvPr>
            <p:cNvSpPr>
              <a:spLocks/>
            </p:cNvSpPr>
            <p:nvPr/>
          </p:nvSpPr>
          <p:spPr bwMode="gray">
            <a:xfrm>
              <a:off x="622345" y="2036755"/>
              <a:ext cx="5212876"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91" name="Round Same Side Corner Rectangle 24">
              <a:extLst>
                <a:ext uri="{FF2B5EF4-FFF2-40B4-BE49-F238E27FC236}">
                  <a16:creationId xmlns:a16="http://schemas.microsoft.com/office/drawing/2014/main" id="{EB5FA4AE-6558-429E-93FF-7A8E6DE1CE05}"/>
                </a:ext>
              </a:extLst>
            </p:cNvPr>
            <p:cNvSpPr>
              <a:spLocks/>
            </p:cNvSpPr>
            <p:nvPr/>
          </p:nvSpPr>
          <p:spPr bwMode="gray">
            <a:xfrm>
              <a:off x="622344" y="1751542"/>
              <a:ext cx="5212876"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Impact</a:t>
              </a:r>
            </a:p>
          </p:txBody>
        </p:sp>
        <p:sp>
          <p:nvSpPr>
            <p:cNvPr id="92" name="TextBox 91">
              <a:extLst>
                <a:ext uri="{FF2B5EF4-FFF2-40B4-BE49-F238E27FC236}">
                  <a16:creationId xmlns:a16="http://schemas.microsoft.com/office/drawing/2014/main" id="{5DE11C81-E027-40D2-AC10-D4249F7F1C42}"/>
                </a:ext>
              </a:extLst>
            </p:cNvPr>
            <p:cNvSpPr txBox="1"/>
            <p:nvPr/>
          </p:nvSpPr>
          <p:spPr>
            <a:xfrm>
              <a:off x="700281" y="2001676"/>
              <a:ext cx="2682509" cy="397032"/>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All Areas and BUs impacted</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1" name="Rounded Rectangle 150">
            <a:extLst>
              <a:ext uri="{FF2B5EF4-FFF2-40B4-BE49-F238E27FC236}">
                <a16:creationId xmlns:a16="http://schemas.microsoft.com/office/drawing/2014/main" id="{F501161F-EA6C-490D-8AE5-375EAC5E5C95}"/>
              </a:ext>
            </a:extLst>
          </p:cNvPr>
          <p:cNvSpPr/>
          <p:nvPr/>
        </p:nvSpPr>
        <p:spPr>
          <a:xfrm>
            <a:off x="616650" y="1998227"/>
            <a:ext cx="1169348" cy="504061"/>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E2E38"/>
                </a:solidFill>
                <a:effectLst/>
                <a:uLnTx/>
                <a:uFillTx/>
                <a:latin typeface="Calibri" panose="020F0502020204030204"/>
                <a:ea typeface="+mn-ea"/>
                <a:cs typeface="+mn-cs"/>
              </a:rPr>
              <a:t>Defensive</a:t>
            </a:r>
          </a:p>
        </p:txBody>
      </p:sp>
      <p:sp>
        <p:nvSpPr>
          <p:cNvPr id="115" name="Rounded Rectangle 150">
            <a:extLst>
              <a:ext uri="{FF2B5EF4-FFF2-40B4-BE49-F238E27FC236}">
                <a16:creationId xmlns:a16="http://schemas.microsoft.com/office/drawing/2014/main" id="{E4AB4B7B-C2F7-4907-8C8D-02DC60EA292F}"/>
              </a:ext>
            </a:extLst>
          </p:cNvPr>
          <p:cNvSpPr/>
          <p:nvPr/>
        </p:nvSpPr>
        <p:spPr>
          <a:xfrm>
            <a:off x="6237316" y="1998227"/>
            <a:ext cx="1169348" cy="504061"/>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E2E38"/>
                </a:solidFill>
                <a:effectLst/>
                <a:uLnTx/>
                <a:uFillTx/>
                <a:latin typeface="Calibri" panose="020F0502020204030204"/>
                <a:ea typeface="+mn-ea"/>
                <a:cs typeface="+mn-cs"/>
              </a:rPr>
              <a:t>Defensive</a:t>
            </a:r>
          </a:p>
        </p:txBody>
      </p:sp>
      <p:sp>
        <p:nvSpPr>
          <p:cNvPr id="96" name="TextBox 95">
            <a:extLst>
              <a:ext uri="{FF2B5EF4-FFF2-40B4-BE49-F238E27FC236}">
                <a16:creationId xmlns:a16="http://schemas.microsoft.com/office/drawing/2014/main" id="{C08978EB-9041-4366-A446-66448AD39ADE}"/>
              </a:ext>
            </a:extLst>
          </p:cNvPr>
          <p:cNvSpPr txBox="1"/>
          <p:nvPr/>
        </p:nvSpPr>
        <p:spPr>
          <a:xfrm>
            <a:off x="9552676" y="2249963"/>
            <a:ext cx="1913344" cy="854080"/>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Large improvement in data ownership</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a:ln>
                  <a:noFill/>
                </a:ln>
                <a:solidFill>
                  <a:prstClr val="black"/>
                </a:solidFill>
                <a:effectLst/>
                <a:uLnTx/>
                <a:uFillTx/>
                <a:latin typeface="Calibri" panose="020F0502020204030204"/>
                <a:ea typeface="+mn-ea"/>
                <a:cs typeface="+mn-cs"/>
              </a:rPr>
              <a:t>Large improvement in trust to data</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TextBox 86">
            <a:extLst>
              <a:ext uri="{FF2B5EF4-FFF2-40B4-BE49-F238E27FC236}">
                <a16:creationId xmlns:a16="http://schemas.microsoft.com/office/drawing/2014/main" id="{0D1ED4F6-0043-484B-BBED-145062DBD72C}"/>
              </a:ext>
            </a:extLst>
          </p:cNvPr>
          <p:cNvSpPr txBox="1"/>
          <p:nvPr/>
        </p:nvSpPr>
        <p:spPr>
          <a:xfrm>
            <a:off x="6275733" y="3444037"/>
            <a:ext cx="2697522" cy="854080"/>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a:ln>
                  <a:noFill/>
                </a:ln>
                <a:solidFill>
                  <a:srgbClr val="2E2E38"/>
                </a:solidFill>
                <a:effectLst/>
                <a:uLnTx/>
                <a:uFillTx/>
                <a:latin typeface="Calibri" panose="020F0502020204030204"/>
                <a:ea typeface="+mn-ea"/>
                <a:cs typeface="+mn-cs"/>
              </a:rPr>
              <a:t>A global data governance program including the milestones, deliverables and the project management team is required based on use case nr. 1 and 2</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93" name="Rectangle 92">
            <a:extLst>
              <a:ext uri="{FF2B5EF4-FFF2-40B4-BE49-F238E27FC236}">
                <a16:creationId xmlns:a16="http://schemas.microsoft.com/office/drawing/2014/main" id="{B43723EA-D50B-4860-9C25-BEC0258380C2}"/>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97" name="Picture 96">
            <a:extLst>
              <a:ext uri="{FF2B5EF4-FFF2-40B4-BE49-F238E27FC236}">
                <a16:creationId xmlns:a16="http://schemas.microsoft.com/office/drawing/2014/main" id="{FF56CDC5-2759-479C-B0A1-E00664B92D37}"/>
              </a:ext>
            </a:extLst>
          </p:cNvPr>
          <p:cNvPicPr>
            <a:picLocks noChangeAspect="1"/>
          </p:cNvPicPr>
          <p:nvPr/>
        </p:nvPicPr>
        <p:blipFill>
          <a:blip r:embed="rId7"/>
          <a:stretch>
            <a:fillRect/>
          </a:stretch>
        </p:blipFill>
        <p:spPr>
          <a:xfrm>
            <a:off x="10853730" y="89660"/>
            <a:ext cx="1183415" cy="552969"/>
          </a:xfrm>
          <a:prstGeom prst="rect">
            <a:avLst/>
          </a:prstGeom>
        </p:spPr>
      </p:pic>
      <p:sp>
        <p:nvSpPr>
          <p:cNvPr id="89" name="Rectangle 88">
            <a:extLst>
              <a:ext uri="{FF2B5EF4-FFF2-40B4-BE49-F238E27FC236}">
                <a16:creationId xmlns:a16="http://schemas.microsoft.com/office/drawing/2014/main" id="{9A13B155-5C81-4A16-AFBF-FAE6DD4FC07A}"/>
              </a:ext>
            </a:extLst>
          </p:cNvPr>
          <p:cNvSpPr/>
          <p:nvPr/>
        </p:nvSpPr>
        <p:spPr>
          <a:xfrm>
            <a:off x="2600325" y="900140"/>
            <a:ext cx="8839008"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Improving Data Governance and integrating Data Management into our business for ensuring regulatory compliance and easy/timely access to data</a:t>
            </a:r>
            <a:endParaRPr kumimoji="0" lang="en-US" sz="1400" b="0"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cxnSp>
        <p:nvCxnSpPr>
          <p:cNvPr id="98" name="Straight Connector 97">
            <a:extLst>
              <a:ext uri="{FF2B5EF4-FFF2-40B4-BE49-F238E27FC236}">
                <a16:creationId xmlns:a16="http://schemas.microsoft.com/office/drawing/2014/main" id="{F93D2295-1BC8-456F-9B5F-86B71A8D774C}"/>
              </a:ext>
            </a:extLst>
          </p:cNvPr>
          <p:cNvCxnSpPr>
            <a:cxnSpLocks/>
          </p:cNvCxnSpPr>
          <p:nvPr/>
        </p:nvCxnSpPr>
        <p:spPr>
          <a:xfrm>
            <a:off x="615105" y="1200204"/>
            <a:ext cx="10824228"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2" name="Flowchart: Manual Input 101">
            <a:extLst>
              <a:ext uri="{FF2B5EF4-FFF2-40B4-BE49-F238E27FC236}">
                <a16:creationId xmlns:a16="http://schemas.microsoft.com/office/drawing/2014/main" id="{CE2F7FDB-1BB0-4FF1-A3AF-04C2948B9ABD}"/>
              </a:ext>
            </a:extLst>
          </p:cNvPr>
          <p:cNvSpPr/>
          <p:nvPr/>
        </p:nvSpPr>
        <p:spPr>
          <a:xfrm>
            <a:off x="615106" y="880900"/>
            <a:ext cx="1985220"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1</a:t>
            </a:r>
          </a:p>
        </p:txBody>
      </p:sp>
    </p:spTree>
    <p:extLst>
      <p:ext uri="{BB962C8B-B14F-4D97-AF65-F5344CB8AC3E}">
        <p14:creationId xmlns:p14="http://schemas.microsoft.com/office/powerpoint/2010/main" val="42332856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62E6B3-D94B-41EE-A870-4B7BA971A73C}"/>
              </a:ext>
            </a:extLst>
          </p:cNvPr>
          <p:cNvGraphicFramePr>
            <a:graphicFrameLocks noChangeAspect="1"/>
          </p:cNvGraphicFramePr>
          <p:nvPr>
            <p:custDataLst>
              <p:tags r:id="rId1"/>
            </p:custDataLst>
          </p:nvPr>
        </p:nvGraphicFramePr>
        <p:xfrm>
          <a:off x="1435" y="1614"/>
          <a:ext cx="1435" cy="1435"/>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1E62E6B3-D94B-41EE-A870-4B7BA971A73C}"/>
                          </a:ext>
                        </a:extLst>
                      </p:cNvPr>
                      <p:cNvPicPr/>
                      <p:nvPr/>
                    </p:nvPicPr>
                    <p:blipFill>
                      <a:blip r:embed="rId6"/>
                      <a:stretch>
                        <a:fillRect/>
                      </a:stretch>
                    </p:blipFill>
                    <p:spPr>
                      <a:xfrm>
                        <a:off x="1435" y="1614"/>
                        <a:ext cx="1435" cy="143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B0B550-D3E7-4BED-A278-0427ABEB385F}"/>
              </a:ext>
            </a:extLst>
          </p:cNvPr>
          <p:cNvSpPr/>
          <p:nvPr>
            <p:custDataLst>
              <p:tags r:id="rId2"/>
            </p:custDataLst>
          </p:nvPr>
        </p:nvSpPr>
        <p:spPr bwMode="auto">
          <a:xfrm>
            <a:off x="0" y="179"/>
            <a:ext cx="143435" cy="143435"/>
          </a:xfrm>
          <a:prstGeom prst="rect">
            <a:avLst/>
          </a:prstGeom>
          <a:no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20825" rtl="0" eaLnBrk="1" fontAlgn="base" latinLnBrk="0" hangingPunct="1">
              <a:lnSpc>
                <a:spcPct val="100000"/>
              </a:lnSpc>
              <a:spcBef>
                <a:spcPct val="0"/>
              </a:spcBef>
              <a:spcAft>
                <a:spcPct val="0"/>
              </a:spcAft>
              <a:buClrTx/>
              <a:buSzTx/>
              <a:buFontTx/>
              <a:buNone/>
              <a:tabLst/>
              <a:defRPr/>
            </a:pPr>
            <a:endParaRPr kumimoji="0" lang="en-US" sz="1625" b="0" i="0" u="none" strike="noStrike" kern="1200" cap="none" spc="0" normalizeH="0" baseline="0" noProof="0">
              <a:ln>
                <a:noFill/>
              </a:ln>
              <a:solidFill>
                <a:srgbClr val="2E2E38"/>
              </a:solidFill>
              <a:effectLst/>
              <a:uLnTx/>
              <a:uFillTx/>
              <a:latin typeface="Corbel" panose="020B0503020204020204" pitchFamily="34" charset="0"/>
              <a:ea typeface="+mn-ea"/>
              <a:cs typeface="+mn-cs"/>
              <a:sym typeface="EYInterstate Light" panose="02000506000000020004" pitchFamily="2" charset="0"/>
            </a:endParaRPr>
          </a:p>
        </p:txBody>
      </p:sp>
      <p:sp>
        <p:nvSpPr>
          <p:cNvPr id="151" name="Rounded Rectangle 150">
            <a:extLst>
              <a:ext uri="{FF2B5EF4-FFF2-40B4-BE49-F238E27FC236}">
                <a16:creationId xmlns:a16="http://schemas.microsoft.com/office/drawing/2014/main" id="{E17DA885-D864-41B9-9A66-9C1A25408257}"/>
              </a:ext>
            </a:extLst>
          </p:cNvPr>
          <p:cNvSpPr/>
          <p:nvPr/>
        </p:nvSpPr>
        <p:spPr>
          <a:xfrm>
            <a:off x="1946599" y="1265366"/>
            <a:ext cx="3888621" cy="540000"/>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994" b="0" i="0" u="none" strike="noStrike" kern="0" cap="none" spc="0" normalizeH="0" baseline="0" noProof="0" dirty="0">
                <a:ln>
                  <a:noFill/>
                </a:ln>
                <a:solidFill>
                  <a:srgbClr val="2E2E38"/>
                </a:solidFill>
                <a:effectLst/>
                <a:uLnTx/>
                <a:uFillTx/>
                <a:latin typeface="Calibri" panose="020F0502020204030204"/>
                <a:ea typeface="+mn-ea"/>
                <a:cs typeface="+mn-cs"/>
              </a:rPr>
              <a:t>Assess implementation of data management capabilities for compliance (e.g. SFDR, Solvency II and GDPR), implement and leverage on improved data management capabilities</a:t>
            </a:r>
          </a:p>
        </p:txBody>
      </p:sp>
      <p:sp>
        <p:nvSpPr>
          <p:cNvPr id="155" name="Rectangle 154">
            <a:extLst>
              <a:ext uri="{FF2B5EF4-FFF2-40B4-BE49-F238E27FC236}">
                <a16:creationId xmlns:a16="http://schemas.microsoft.com/office/drawing/2014/main" id="{99A622E7-7953-4F9A-BDBA-83764677A3CA}"/>
              </a:ext>
            </a:extLst>
          </p:cNvPr>
          <p:cNvSpPr/>
          <p:nvPr/>
        </p:nvSpPr>
        <p:spPr>
          <a:xfrm>
            <a:off x="608434" y="1260913"/>
            <a:ext cx="1177564" cy="540000"/>
          </a:xfrm>
          <a:prstGeom prst="rect">
            <a:avLst/>
          </a:prstGeom>
          <a:solidFill>
            <a:schemeClr val="tx2"/>
          </a:solidFill>
          <a:ln w="9525" cap="flat" cmpd="sng" algn="ctr">
            <a:solidFill>
              <a:schemeClr val="accent1"/>
            </a:solidFill>
            <a:prstDash val="solid"/>
          </a:ln>
          <a:effectLst/>
        </p:spPr>
        <p:txBody>
          <a:bodyPr lIns="65054" tIns="65054" rIns="65054" bIns="65054" rtlCol="0" anchor="ctr" anchorCtr="0"/>
          <a:lstStyle/>
          <a:p>
            <a:pPr marL="0" marR="0" lvl="0" indent="0" algn="ctr" defTabSz="913845" rtl="0" eaLnBrk="1" fontAlgn="auto" latinLnBrk="0" hangingPunct="1">
              <a:lnSpc>
                <a:spcPct val="100000"/>
              </a:lnSpc>
              <a:spcBef>
                <a:spcPts val="0"/>
              </a:spcBef>
              <a:spcAft>
                <a:spcPts val="0"/>
              </a:spcAft>
              <a:buClrTx/>
              <a:buSzTx/>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Improving data management for compliance</a:t>
            </a:r>
          </a:p>
        </p:txBody>
      </p:sp>
      <p:cxnSp>
        <p:nvCxnSpPr>
          <p:cNvPr id="156" name="Straight Connector 155">
            <a:extLst>
              <a:ext uri="{FF2B5EF4-FFF2-40B4-BE49-F238E27FC236}">
                <a16:creationId xmlns:a16="http://schemas.microsoft.com/office/drawing/2014/main" id="{089F8C67-8227-42C1-9C7A-016071E3FB03}"/>
              </a:ext>
            </a:extLst>
          </p:cNvPr>
          <p:cNvCxnSpPr>
            <a:cxnSpLocks/>
            <a:stCxn id="155" idx="3"/>
            <a:endCxn id="151" idx="1"/>
          </p:cNvCxnSpPr>
          <p:nvPr/>
        </p:nvCxnSpPr>
        <p:spPr>
          <a:xfrm>
            <a:off x="1785998" y="1530913"/>
            <a:ext cx="160601" cy="4453"/>
          </a:xfrm>
          <a:prstGeom prst="line">
            <a:avLst/>
          </a:prstGeom>
          <a:noFill/>
          <a:ln w="76200" cap="flat" cmpd="sng" algn="ctr">
            <a:solidFill>
              <a:schemeClr val="tx2"/>
            </a:solidFill>
            <a:prstDash val="solid"/>
          </a:ln>
          <a:effectLst/>
        </p:spPr>
      </p:cxnSp>
      <p:sp>
        <p:nvSpPr>
          <p:cNvPr id="237" name="Rectangle 236">
            <a:extLst>
              <a:ext uri="{FF2B5EF4-FFF2-40B4-BE49-F238E27FC236}">
                <a16:creationId xmlns:a16="http://schemas.microsoft.com/office/drawing/2014/main" id="{C46689C9-6D51-48B3-96FA-65457418D838}"/>
              </a:ext>
            </a:extLst>
          </p:cNvPr>
          <p:cNvSpPr>
            <a:spLocks/>
          </p:cNvSpPr>
          <p:nvPr/>
        </p:nvSpPr>
        <p:spPr bwMode="gray">
          <a:xfrm>
            <a:off x="616651" y="3448733"/>
            <a:ext cx="5220488"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238" name="Round Same Side Corner Rectangle 24">
            <a:extLst>
              <a:ext uri="{FF2B5EF4-FFF2-40B4-BE49-F238E27FC236}">
                <a16:creationId xmlns:a16="http://schemas.microsoft.com/office/drawing/2014/main" id="{1C3FD96F-930D-4DCE-98F3-A5213983C662}"/>
              </a:ext>
            </a:extLst>
          </p:cNvPr>
          <p:cNvSpPr>
            <a:spLocks/>
          </p:cNvSpPr>
          <p:nvPr/>
        </p:nvSpPr>
        <p:spPr bwMode="gray">
          <a:xfrm>
            <a:off x="616650" y="3163520"/>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Ease of implementation </a:t>
            </a:r>
          </a:p>
        </p:txBody>
      </p:sp>
      <p:sp>
        <p:nvSpPr>
          <p:cNvPr id="240" name="Rectangle 239">
            <a:extLst>
              <a:ext uri="{FF2B5EF4-FFF2-40B4-BE49-F238E27FC236}">
                <a16:creationId xmlns:a16="http://schemas.microsoft.com/office/drawing/2014/main" id="{AE145C0D-923D-4C8A-9CA3-EF5A2C698466}"/>
              </a:ext>
            </a:extLst>
          </p:cNvPr>
          <p:cNvSpPr>
            <a:spLocks/>
          </p:cNvSpPr>
          <p:nvPr/>
        </p:nvSpPr>
        <p:spPr bwMode="gray">
          <a:xfrm>
            <a:off x="656197" y="4571708"/>
            <a:ext cx="5220488" cy="2004776"/>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542"/>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813" b="0" i="0" u="none" strike="noStrike" kern="0" cap="none" spc="0" normalizeH="0" baseline="0" noProof="0">
              <a:ln>
                <a:noFill/>
              </a:ln>
              <a:solidFill>
                <a:srgbClr val="2E2E38"/>
              </a:solidFill>
              <a:effectLst/>
              <a:uLnTx/>
              <a:uFillTx/>
              <a:latin typeface="Corbel"/>
              <a:ea typeface="+mn-ea"/>
              <a:cs typeface="+mn-cs"/>
            </a:endParaRPr>
          </a:p>
        </p:txBody>
      </p:sp>
      <p:sp>
        <p:nvSpPr>
          <p:cNvPr id="241" name="Round Same Side Corner Rectangle 24">
            <a:extLst>
              <a:ext uri="{FF2B5EF4-FFF2-40B4-BE49-F238E27FC236}">
                <a16:creationId xmlns:a16="http://schemas.microsoft.com/office/drawing/2014/main" id="{906A34BC-A5AE-470C-BF2D-BE35E81C422A}"/>
              </a:ext>
            </a:extLst>
          </p:cNvPr>
          <p:cNvSpPr>
            <a:spLocks/>
          </p:cNvSpPr>
          <p:nvPr/>
        </p:nvSpPr>
        <p:spPr bwMode="gray">
          <a:xfrm>
            <a:off x="628095" y="4299007"/>
            <a:ext cx="5220488"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Use case heatmap</a:t>
            </a:r>
          </a:p>
        </p:txBody>
      </p:sp>
      <p:grpSp>
        <p:nvGrpSpPr>
          <p:cNvPr id="3" name="Group 2">
            <a:extLst>
              <a:ext uri="{FF2B5EF4-FFF2-40B4-BE49-F238E27FC236}">
                <a16:creationId xmlns:a16="http://schemas.microsoft.com/office/drawing/2014/main" id="{53110A58-D7FD-4FD8-993E-A02B19DD39D5}"/>
              </a:ext>
            </a:extLst>
          </p:cNvPr>
          <p:cNvGrpSpPr/>
          <p:nvPr/>
        </p:nvGrpSpPr>
        <p:grpSpPr>
          <a:xfrm>
            <a:off x="1866766" y="4625882"/>
            <a:ext cx="2549874" cy="1938566"/>
            <a:chOff x="12687534" y="4543604"/>
            <a:chExt cx="2549874" cy="1938566"/>
          </a:xfrm>
        </p:grpSpPr>
        <p:sp>
          <p:nvSpPr>
            <p:cNvPr id="154" name="Rectangle 153">
              <a:extLst>
                <a:ext uri="{FF2B5EF4-FFF2-40B4-BE49-F238E27FC236}">
                  <a16:creationId xmlns:a16="http://schemas.microsoft.com/office/drawing/2014/main" id="{0C24D6FD-B372-4158-A1DC-BA85B62FF792}"/>
                </a:ext>
              </a:extLst>
            </p:cNvPr>
            <p:cNvSpPr>
              <a:spLocks/>
            </p:cNvSpPr>
            <p:nvPr/>
          </p:nvSpPr>
          <p:spPr bwMode="gray">
            <a:xfrm>
              <a:off x="12687534" y="4543604"/>
              <a:ext cx="2549874" cy="1938566"/>
            </a:xfrm>
            <a:prstGeom prst="rect">
              <a:avLst/>
            </a:prstGeom>
            <a:solidFill>
              <a:srgbClr val="FFFFFF"/>
            </a:solidFill>
            <a:ln w="19050">
              <a:solidFill>
                <a:schemeClr val="bg1"/>
              </a:solidFill>
            </a:ln>
          </p:spPr>
          <p:txBody>
            <a:bodyPr wrap="square" lIns="65054" tIns="65054" rIns="65054" bIns="65054">
              <a:noAutofit/>
            </a:bodyPr>
            <a:lstStyle/>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a:p>
              <a:pPr marL="206540" marR="0" lvl="0" indent="-206540" algn="l" defTabSz="826160" rtl="0" eaLnBrk="1" fontAlgn="auto" latinLnBrk="0" hangingPunct="1">
                <a:lnSpc>
                  <a:spcPct val="85000"/>
                </a:lnSpc>
                <a:spcBef>
                  <a:spcPts val="0"/>
                </a:spcBef>
                <a:spcAft>
                  <a:spcPts val="181"/>
                </a:spcAft>
                <a:buClr>
                  <a:srgbClr val="FFE600"/>
                </a:buClr>
                <a:buSzPct val="100000"/>
                <a:buFont typeface="+mj-lt"/>
                <a:buAutoNum type="arabicPeriod"/>
                <a:tabLst/>
                <a:defRPr/>
              </a:pPr>
              <a:endParaRPr kumimoji="0" lang="en-US" sz="949" b="0" i="0" u="none" strike="noStrike" kern="0" cap="none" spc="0" normalizeH="0" baseline="0" noProof="0">
                <a:ln>
                  <a:noFill/>
                </a:ln>
                <a:solidFill>
                  <a:srgbClr val="2E2E38"/>
                </a:solidFill>
                <a:effectLst/>
                <a:uLnTx/>
                <a:uFillTx/>
                <a:latin typeface="Calibri" panose="020F0502020204030204"/>
                <a:ea typeface="+mn-ea"/>
                <a:cs typeface="+mn-cs"/>
              </a:endParaRPr>
            </a:p>
          </p:txBody>
        </p:sp>
        <p:cxnSp>
          <p:nvCxnSpPr>
            <p:cNvPr id="181" name="Straight Connector 180">
              <a:extLst>
                <a:ext uri="{FF2B5EF4-FFF2-40B4-BE49-F238E27FC236}">
                  <a16:creationId xmlns:a16="http://schemas.microsoft.com/office/drawing/2014/main" id="{C0592825-A5A1-476C-9573-4FFDF74C524A}"/>
                </a:ext>
              </a:extLst>
            </p:cNvPr>
            <p:cNvCxnSpPr>
              <a:cxnSpLocks/>
            </p:cNvCxnSpPr>
            <p:nvPr/>
          </p:nvCxnSpPr>
          <p:spPr>
            <a:xfrm flipV="1">
              <a:off x="13328368" y="5080542"/>
              <a:ext cx="1621280" cy="1"/>
            </a:xfrm>
            <a:prstGeom prst="line">
              <a:avLst/>
            </a:prstGeom>
            <a:noFill/>
            <a:ln w="3175" cap="flat" cmpd="sng" algn="ctr">
              <a:solidFill>
                <a:schemeClr val="bg1">
                  <a:lumMod val="85000"/>
                </a:schemeClr>
              </a:solidFill>
              <a:prstDash val="dash"/>
              <a:tailEnd type="none"/>
            </a:ln>
            <a:effectLst/>
          </p:spPr>
        </p:cxnSp>
        <p:cxnSp>
          <p:nvCxnSpPr>
            <p:cNvPr id="182" name="Straight Connector 181">
              <a:extLst>
                <a:ext uri="{FF2B5EF4-FFF2-40B4-BE49-F238E27FC236}">
                  <a16:creationId xmlns:a16="http://schemas.microsoft.com/office/drawing/2014/main" id="{1A8390A6-9ED5-4BD4-BD44-06CDC90FC296}"/>
                </a:ext>
              </a:extLst>
            </p:cNvPr>
            <p:cNvCxnSpPr>
              <a:cxnSpLocks/>
            </p:cNvCxnSpPr>
            <p:nvPr/>
          </p:nvCxnSpPr>
          <p:spPr>
            <a:xfrm flipV="1">
              <a:off x="13879871" y="4673063"/>
              <a:ext cx="0" cy="1214603"/>
            </a:xfrm>
            <a:prstGeom prst="line">
              <a:avLst/>
            </a:prstGeom>
            <a:noFill/>
            <a:ln w="3175" cap="flat" cmpd="sng" algn="ctr">
              <a:solidFill>
                <a:schemeClr val="bg1">
                  <a:lumMod val="85000"/>
                </a:schemeClr>
              </a:solidFill>
              <a:prstDash val="dash"/>
              <a:tailEnd type="none"/>
            </a:ln>
            <a:effectLst/>
          </p:spPr>
        </p:cxnSp>
        <p:cxnSp>
          <p:nvCxnSpPr>
            <p:cNvPr id="183" name="Straight Connector 182">
              <a:extLst>
                <a:ext uri="{FF2B5EF4-FFF2-40B4-BE49-F238E27FC236}">
                  <a16:creationId xmlns:a16="http://schemas.microsoft.com/office/drawing/2014/main" id="{38722D98-9BC5-41A1-8A2B-4E286C4D967E}"/>
                </a:ext>
              </a:extLst>
            </p:cNvPr>
            <p:cNvCxnSpPr>
              <a:cxnSpLocks/>
            </p:cNvCxnSpPr>
            <p:nvPr/>
          </p:nvCxnSpPr>
          <p:spPr>
            <a:xfrm flipV="1">
              <a:off x="14436281" y="4673062"/>
              <a:ext cx="0" cy="1214603"/>
            </a:xfrm>
            <a:prstGeom prst="line">
              <a:avLst/>
            </a:prstGeom>
            <a:noFill/>
            <a:ln w="3175" cap="flat" cmpd="sng" algn="ctr">
              <a:solidFill>
                <a:schemeClr val="bg1">
                  <a:lumMod val="85000"/>
                </a:schemeClr>
              </a:solidFill>
              <a:prstDash val="dash"/>
              <a:tailEnd type="none"/>
            </a:ln>
            <a:effectLst/>
          </p:spPr>
        </p:cxnSp>
        <p:cxnSp>
          <p:nvCxnSpPr>
            <p:cNvPr id="184" name="Straight Connector 183">
              <a:extLst>
                <a:ext uri="{FF2B5EF4-FFF2-40B4-BE49-F238E27FC236}">
                  <a16:creationId xmlns:a16="http://schemas.microsoft.com/office/drawing/2014/main" id="{3BECF907-3CF4-4B25-AA94-9A9A2F3961AA}"/>
                </a:ext>
              </a:extLst>
            </p:cNvPr>
            <p:cNvCxnSpPr>
              <a:cxnSpLocks/>
            </p:cNvCxnSpPr>
            <p:nvPr/>
          </p:nvCxnSpPr>
          <p:spPr>
            <a:xfrm flipV="1">
              <a:off x="13352428" y="5483833"/>
              <a:ext cx="1621280" cy="1"/>
            </a:xfrm>
            <a:prstGeom prst="line">
              <a:avLst/>
            </a:prstGeom>
            <a:noFill/>
            <a:ln w="3175" cap="flat" cmpd="sng" algn="ctr">
              <a:solidFill>
                <a:schemeClr val="bg1">
                  <a:lumMod val="85000"/>
                </a:schemeClr>
              </a:solidFill>
              <a:prstDash val="dash"/>
              <a:tailEnd type="none"/>
            </a:ln>
            <a:effectLst/>
          </p:spPr>
        </p:cxnSp>
        <p:cxnSp>
          <p:nvCxnSpPr>
            <p:cNvPr id="192" name="Straight Arrow Connector 191">
              <a:extLst>
                <a:ext uri="{FF2B5EF4-FFF2-40B4-BE49-F238E27FC236}">
                  <a16:creationId xmlns:a16="http://schemas.microsoft.com/office/drawing/2014/main" id="{3CDBB80C-E57A-478C-9984-0B2E7373A007}"/>
                </a:ext>
              </a:extLst>
            </p:cNvPr>
            <p:cNvCxnSpPr>
              <a:cxnSpLocks/>
            </p:cNvCxnSpPr>
            <p:nvPr/>
          </p:nvCxnSpPr>
          <p:spPr>
            <a:xfrm flipV="1">
              <a:off x="13328368" y="4590630"/>
              <a:ext cx="0" cy="1301082"/>
            </a:xfrm>
            <a:prstGeom prst="straightConnector1">
              <a:avLst/>
            </a:prstGeom>
            <a:noFill/>
            <a:ln w="15875" cap="flat" cmpd="sng" algn="ctr">
              <a:solidFill>
                <a:srgbClr val="000000"/>
              </a:solidFill>
              <a:prstDash val="solid"/>
              <a:tailEnd type="triangle"/>
            </a:ln>
            <a:effectLst/>
          </p:spPr>
        </p:cxnSp>
        <p:cxnSp>
          <p:nvCxnSpPr>
            <p:cNvPr id="193" name="Straight Arrow Connector 192">
              <a:extLst>
                <a:ext uri="{FF2B5EF4-FFF2-40B4-BE49-F238E27FC236}">
                  <a16:creationId xmlns:a16="http://schemas.microsoft.com/office/drawing/2014/main" id="{8DC67D23-1B3E-4B6B-A47F-7E7561357191}"/>
                </a:ext>
              </a:extLst>
            </p:cNvPr>
            <p:cNvCxnSpPr>
              <a:cxnSpLocks/>
            </p:cNvCxnSpPr>
            <p:nvPr/>
          </p:nvCxnSpPr>
          <p:spPr>
            <a:xfrm>
              <a:off x="13328368" y="5888245"/>
              <a:ext cx="1724766" cy="0"/>
            </a:xfrm>
            <a:prstGeom prst="straightConnector1">
              <a:avLst/>
            </a:prstGeom>
            <a:noFill/>
            <a:ln w="15875" cap="flat" cmpd="sng" algn="ctr">
              <a:solidFill>
                <a:srgbClr val="000000"/>
              </a:solidFill>
              <a:prstDash val="solid"/>
              <a:tailEnd type="triangle"/>
            </a:ln>
            <a:effectLst/>
          </p:spPr>
        </p:cxnSp>
        <p:sp>
          <p:nvSpPr>
            <p:cNvPr id="194" name="TextBox 193">
              <a:extLst>
                <a:ext uri="{FF2B5EF4-FFF2-40B4-BE49-F238E27FC236}">
                  <a16:creationId xmlns:a16="http://schemas.microsoft.com/office/drawing/2014/main" id="{D8875C31-66A0-47E4-B473-05E693070C92}"/>
                </a:ext>
              </a:extLst>
            </p:cNvPr>
            <p:cNvSpPr txBox="1"/>
            <p:nvPr/>
          </p:nvSpPr>
          <p:spPr>
            <a:xfrm>
              <a:off x="13270056" y="6054218"/>
              <a:ext cx="1798714"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Ease of implementation</a:t>
              </a:r>
            </a:p>
          </p:txBody>
        </p:sp>
        <p:sp>
          <p:nvSpPr>
            <p:cNvPr id="195" name="TextBox 194">
              <a:extLst>
                <a:ext uri="{FF2B5EF4-FFF2-40B4-BE49-F238E27FC236}">
                  <a16:creationId xmlns:a16="http://schemas.microsoft.com/office/drawing/2014/main" id="{AEF94116-F890-49D5-BFE1-54599BD88AAC}"/>
                </a:ext>
              </a:extLst>
            </p:cNvPr>
            <p:cNvSpPr txBox="1"/>
            <p:nvPr/>
          </p:nvSpPr>
          <p:spPr>
            <a:xfrm rot="16200000">
              <a:off x="12288481" y="5133476"/>
              <a:ext cx="1333177"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1" i="0" u="none" strike="noStrike" kern="1200" cap="none" spc="0" normalizeH="0" baseline="0" noProof="0">
                  <a:ln>
                    <a:noFill/>
                  </a:ln>
                  <a:solidFill>
                    <a:srgbClr val="2E2E38"/>
                  </a:solidFill>
                  <a:effectLst/>
                  <a:uLnTx/>
                  <a:uFillTx/>
                  <a:latin typeface="Calibri" panose="020F0502020204030204"/>
                  <a:ea typeface="+mn-ea"/>
                  <a:cs typeface="+mn-cs"/>
                </a:rPr>
                <a:t>Impact</a:t>
              </a:r>
            </a:p>
          </p:txBody>
        </p:sp>
        <p:sp>
          <p:nvSpPr>
            <p:cNvPr id="199" name="TextBox 198">
              <a:extLst>
                <a:ext uri="{FF2B5EF4-FFF2-40B4-BE49-F238E27FC236}">
                  <a16:creationId xmlns:a16="http://schemas.microsoft.com/office/drawing/2014/main" id="{5D4D4C80-D48D-416A-B78C-31599B92E7CF}"/>
                </a:ext>
              </a:extLst>
            </p:cNvPr>
            <p:cNvSpPr txBox="1"/>
            <p:nvPr/>
          </p:nvSpPr>
          <p:spPr>
            <a:xfrm>
              <a:off x="13070774" y="556977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200" name="TextBox 199">
              <a:extLst>
                <a:ext uri="{FF2B5EF4-FFF2-40B4-BE49-F238E27FC236}">
                  <a16:creationId xmlns:a16="http://schemas.microsoft.com/office/drawing/2014/main" id="{F4B86CB4-C16E-4952-9061-EC934214EBA9}"/>
                </a:ext>
              </a:extLst>
            </p:cNvPr>
            <p:cNvSpPr txBox="1"/>
            <p:nvPr/>
          </p:nvSpPr>
          <p:spPr>
            <a:xfrm>
              <a:off x="13070774" y="5118658"/>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201" name="TextBox 200">
              <a:extLst>
                <a:ext uri="{FF2B5EF4-FFF2-40B4-BE49-F238E27FC236}">
                  <a16:creationId xmlns:a16="http://schemas.microsoft.com/office/drawing/2014/main" id="{FC25420A-B36E-43FE-9144-7A14BD2C97A6}"/>
                </a:ext>
              </a:extLst>
            </p:cNvPr>
            <p:cNvSpPr txBox="1"/>
            <p:nvPr/>
          </p:nvSpPr>
          <p:spPr>
            <a:xfrm>
              <a:off x="13070774" y="4684190"/>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sp>
          <p:nvSpPr>
            <p:cNvPr id="205" name="TextBox 204">
              <a:extLst>
                <a:ext uri="{FF2B5EF4-FFF2-40B4-BE49-F238E27FC236}">
                  <a16:creationId xmlns:a16="http://schemas.microsoft.com/office/drawing/2014/main" id="{63964CAF-A6BC-4CB5-AEFE-4CDA1983588F}"/>
                </a:ext>
              </a:extLst>
            </p:cNvPr>
            <p:cNvSpPr txBox="1"/>
            <p:nvPr/>
          </p:nvSpPr>
          <p:spPr>
            <a:xfrm>
              <a:off x="13430519"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L</a:t>
              </a:r>
            </a:p>
          </p:txBody>
        </p:sp>
        <p:sp>
          <p:nvSpPr>
            <p:cNvPr id="206" name="TextBox 205">
              <a:extLst>
                <a:ext uri="{FF2B5EF4-FFF2-40B4-BE49-F238E27FC236}">
                  <a16:creationId xmlns:a16="http://schemas.microsoft.com/office/drawing/2014/main" id="{5E87349D-9373-4DEB-AD8D-29C1E2035CF6}"/>
                </a:ext>
              </a:extLst>
            </p:cNvPr>
            <p:cNvSpPr txBox="1"/>
            <p:nvPr/>
          </p:nvSpPr>
          <p:spPr>
            <a:xfrm>
              <a:off x="14007050"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M</a:t>
              </a:r>
            </a:p>
          </p:txBody>
        </p:sp>
        <p:sp>
          <p:nvSpPr>
            <p:cNvPr id="207" name="TextBox 206">
              <a:extLst>
                <a:ext uri="{FF2B5EF4-FFF2-40B4-BE49-F238E27FC236}">
                  <a16:creationId xmlns:a16="http://schemas.microsoft.com/office/drawing/2014/main" id="{92520F1A-555B-4E6A-9FE9-5FEC4F2B25E4}"/>
                </a:ext>
              </a:extLst>
            </p:cNvPr>
            <p:cNvSpPr txBox="1"/>
            <p:nvPr/>
          </p:nvSpPr>
          <p:spPr>
            <a:xfrm>
              <a:off x="14583578" y="5891712"/>
              <a:ext cx="233536" cy="175203"/>
            </a:xfrm>
            <a:prstGeom prst="rect">
              <a:avLst/>
            </a:prstGeom>
            <a:noFill/>
          </p:spPr>
          <p:txBody>
            <a:bodyPr wrap="square" lIns="0" tIns="33047" rIns="0" bIns="0" rtlCol="0">
              <a:spAutoFit/>
            </a:bodyPr>
            <a:lstStyle/>
            <a:p>
              <a:pPr marL="0" marR="0" lvl="0" indent="0" algn="ctr" defTabSz="826160" rtl="0" eaLnBrk="1" fontAlgn="auto" latinLnBrk="0" hangingPunct="1">
                <a:lnSpc>
                  <a:spcPct val="85000"/>
                </a:lnSpc>
                <a:spcBef>
                  <a:spcPts val="0"/>
                </a:spcBef>
                <a:spcAft>
                  <a:spcPts val="542"/>
                </a:spcAft>
                <a:buClr>
                  <a:srgbClr val="27ACAA"/>
                </a:buClr>
                <a:buSzPct val="70000"/>
                <a:buFontTx/>
                <a:buNone/>
                <a:tabLst/>
                <a:defRPr/>
              </a:pPr>
              <a:r>
                <a:rPr kumimoji="0" lang="en-US" sz="1084" b="0" i="0" u="none" strike="noStrike" kern="1200" cap="none" spc="0" normalizeH="0" baseline="0" noProof="0">
                  <a:ln>
                    <a:noFill/>
                  </a:ln>
                  <a:solidFill>
                    <a:srgbClr val="2E2E38"/>
                  </a:solidFill>
                  <a:effectLst/>
                  <a:uLnTx/>
                  <a:uFillTx/>
                  <a:latin typeface="Calibri" panose="020F0502020204030204"/>
                  <a:ea typeface="+mn-ea"/>
                  <a:cs typeface="+mn-cs"/>
                </a:rPr>
                <a:t>H</a:t>
              </a:r>
            </a:p>
          </p:txBody>
        </p:sp>
      </p:grpSp>
      <p:grpSp>
        <p:nvGrpSpPr>
          <p:cNvPr id="7" name="Group 6">
            <a:extLst>
              <a:ext uri="{FF2B5EF4-FFF2-40B4-BE49-F238E27FC236}">
                <a16:creationId xmlns:a16="http://schemas.microsoft.com/office/drawing/2014/main" id="{F7B622D3-1C0D-4604-9E7D-C0FDAABF00FB}"/>
              </a:ext>
            </a:extLst>
          </p:cNvPr>
          <p:cNvGrpSpPr/>
          <p:nvPr/>
        </p:nvGrpSpPr>
        <p:grpSpPr>
          <a:xfrm>
            <a:off x="1946600" y="1989667"/>
            <a:ext cx="3890552" cy="1132789"/>
            <a:chOff x="622344" y="1751542"/>
            <a:chExt cx="5212877" cy="1132789"/>
          </a:xfrm>
        </p:grpSpPr>
        <p:sp>
          <p:nvSpPr>
            <p:cNvPr id="159" name="Rectangle 158">
              <a:extLst>
                <a:ext uri="{FF2B5EF4-FFF2-40B4-BE49-F238E27FC236}">
                  <a16:creationId xmlns:a16="http://schemas.microsoft.com/office/drawing/2014/main" id="{8F5EB3F3-E9C0-4715-BF38-3580849B375D}"/>
                </a:ext>
              </a:extLst>
            </p:cNvPr>
            <p:cNvSpPr>
              <a:spLocks/>
            </p:cNvSpPr>
            <p:nvPr/>
          </p:nvSpPr>
          <p:spPr bwMode="gray">
            <a:xfrm>
              <a:off x="622345" y="2036755"/>
              <a:ext cx="5212876" cy="759067"/>
            </a:xfrm>
            <a:prstGeom prst="rect">
              <a:avLst/>
            </a:prstGeom>
            <a:solidFill>
              <a:srgbClr val="FFFFFF"/>
            </a:solidFill>
            <a:ln w="3175">
              <a:noFill/>
            </a:ln>
          </p:spPr>
          <p:txBody>
            <a:bodyPr wrap="square" lIns="65054" tIns="65054" rIns="65054" bIns="65054">
              <a:noAutofit/>
            </a:bodyPr>
            <a:lstStyle/>
            <a:p>
              <a:pPr marL="0" marR="0" lvl="0" indent="0" algn="l" defTabSz="826160" rtl="0" eaLnBrk="1" fontAlgn="auto" latinLnBrk="0" hangingPunct="1">
                <a:lnSpc>
                  <a:spcPct val="85000"/>
                </a:lnSpc>
                <a:spcBef>
                  <a:spcPts val="0"/>
                </a:spcBef>
                <a:spcAft>
                  <a:spcPts val="181"/>
                </a:spcAft>
                <a:buClr>
                  <a:srgbClr val="FFE600"/>
                </a:buClr>
                <a:buSzPct val="100000"/>
                <a:buFontTx/>
                <a:buNone/>
                <a:tabLst/>
                <a:defRPr/>
              </a:pPr>
              <a:endParaRPr kumimoji="0" lang="en-US" sz="813"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60" name="Round Same Side Corner Rectangle 24">
              <a:extLst>
                <a:ext uri="{FF2B5EF4-FFF2-40B4-BE49-F238E27FC236}">
                  <a16:creationId xmlns:a16="http://schemas.microsoft.com/office/drawing/2014/main" id="{0EBC60FF-D14D-4913-91BE-B0527D010B0E}"/>
                </a:ext>
              </a:extLst>
            </p:cNvPr>
            <p:cNvSpPr>
              <a:spLocks/>
            </p:cNvSpPr>
            <p:nvPr/>
          </p:nvSpPr>
          <p:spPr bwMode="gray">
            <a:xfrm>
              <a:off x="622344" y="1751542"/>
              <a:ext cx="5212876" cy="279854"/>
            </a:xfrm>
            <a:prstGeom prst="round2SameRect">
              <a:avLst/>
            </a:prstGeom>
            <a:solidFill>
              <a:schemeClr val="tx2"/>
            </a:solidFill>
            <a:ln w="19050" cap="flat" cmpd="sng" algn="ctr">
              <a:solidFill>
                <a:schemeClr val="tx2"/>
              </a:solidFill>
              <a:prstDash val="solid"/>
            </a:ln>
            <a:effectLst/>
          </p:spPr>
          <p:txBody>
            <a:bodyPr lIns="65054" tIns="32527" rIns="32527" bIns="32527" rtlCol="0" anchor="t">
              <a:noAutofit/>
            </a:bodyPr>
            <a:lstStyle/>
            <a:p>
              <a:pPr marL="0" marR="0" lvl="1" indent="0" algn="l" defTabSz="897762" rtl="0" eaLnBrk="1" fontAlgn="auto" latinLnBrk="0" hangingPunct="1">
                <a:lnSpc>
                  <a:spcPct val="100000"/>
                </a:lnSpc>
                <a:spcBef>
                  <a:spcPts val="0"/>
                </a:spcBef>
                <a:spcAft>
                  <a:spcPts val="90"/>
                </a:spcAft>
                <a:buClrTx/>
                <a:buSzPct val="70000"/>
                <a:buFontTx/>
                <a:buNone/>
                <a:tabLst/>
                <a:defRPr/>
              </a:pPr>
              <a:r>
                <a:rPr kumimoji="0" lang="en-US" sz="1084" b="1" i="0" u="none" strike="noStrike" kern="0" cap="none" spc="0" normalizeH="0" baseline="0" noProof="0">
                  <a:ln>
                    <a:noFill/>
                  </a:ln>
                  <a:solidFill>
                    <a:prstClr val="white"/>
                  </a:solidFill>
                  <a:effectLst/>
                  <a:uLnTx/>
                  <a:uFillTx/>
                  <a:latin typeface="Calibri" panose="020F0502020204030204"/>
                  <a:ea typeface="+mn-ea"/>
                  <a:cs typeface="+mn-cs"/>
                </a:rPr>
                <a:t>Impact</a:t>
              </a:r>
            </a:p>
          </p:txBody>
        </p:sp>
        <p:sp>
          <p:nvSpPr>
            <p:cNvPr id="5" name="TextBox 4">
              <a:extLst>
                <a:ext uri="{FF2B5EF4-FFF2-40B4-BE49-F238E27FC236}">
                  <a16:creationId xmlns:a16="http://schemas.microsoft.com/office/drawing/2014/main" id="{5E6CEF4C-B839-4D27-937A-19706289E313}"/>
                </a:ext>
              </a:extLst>
            </p:cNvPr>
            <p:cNvSpPr txBox="1"/>
            <p:nvPr/>
          </p:nvSpPr>
          <p:spPr>
            <a:xfrm>
              <a:off x="650687" y="2030251"/>
              <a:ext cx="2582660" cy="854080"/>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All areas and Bu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Strengthening defensive capabilities to ensure there are no regulatory issues and AAM conforms to Group policies</a:t>
              </a:r>
            </a:p>
          </p:txBody>
        </p:sp>
        <p:sp>
          <p:nvSpPr>
            <p:cNvPr id="130" name="TextBox 129">
              <a:extLst>
                <a:ext uri="{FF2B5EF4-FFF2-40B4-BE49-F238E27FC236}">
                  <a16:creationId xmlns:a16="http://schemas.microsoft.com/office/drawing/2014/main" id="{26DA1BAD-7B43-4991-ABCC-2D06DDFE899D}"/>
                </a:ext>
              </a:extLst>
            </p:cNvPr>
            <p:cNvSpPr txBox="1"/>
            <p:nvPr/>
          </p:nvSpPr>
          <p:spPr>
            <a:xfrm>
              <a:off x="3145257" y="2030251"/>
              <a:ext cx="2687375" cy="701731"/>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Large improvement of the firm-wide implementation of data management capabilities to ensure compliance</a:t>
              </a:r>
            </a:p>
          </p:txBody>
        </p:sp>
      </p:grpSp>
      <p:sp>
        <p:nvSpPr>
          <p:cNvPr id="135" name="TextBox 134">
            <a:extLst>
              <a:ext uri="{FF2B5EF4-FFF2-40B4-BE49-F238E27FC236}">
                <a16:creationId xmlns:a16="http://schemas.microsoft.com/office/drawing/2014/main" id="{9146C970-D1EE-4045-8E28-6E7CB87E663E}"/>
              </a:ext>
            </a:extLst>
          </p:cNvPr>
          <p:cNvSpPr txBox="1"/>
          <p:nvPr/>
        </p:nvSpPr>
        <p:spPr>
          <a:xfrm>
            <a:off x="650685" y="3453057"/>
            <a:ext cx="2592699" cy="854080"/>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dirty="0">
                <a:ln>
                  <a:noFill/>
                </a:ln>
                <a:solidFill>
                  <a:srgbClr val="2E2E38"/>
                </a:solidFill>
                <a:effectLst/>
                <a:uLnTx/>
                <a:uFillTx/>
                <a:latin typeface="Calibri" panose="020F0502020204030204"/>
                <a:ea typeface="+mn-ea"/>
                <a:cs typeface="+mn-cs"/>
              </a:rPr>
              <a:t>Understanding the different compliance data requirements</a:t>
            </a:r>
          </a:p>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0" cap="none" spc="0" normalizeH="0" baseline="0" noProof="0" dirty="0">
                <a:ln>
                  <a:noFill/>
                </a:ln>
                <a:solidFill>
                  <a:srgbClr val="2E2E38"/>
                </a:solidFill>
                <a:effectLst/>
                <a:uLnTx/>
                <a:uFillTx/>
                <a:latin typeface="Calibri" panose="020F0502020204030204"/>
                <a:ea typeface="+mn-ea"/>
                <a:cs typeface="+mn-cs"/>
              </a:rPr>
              <a:t>Understand the current way of managing regulatory data and the gap to the requirements</a:t>
            </a:r>
          </a:p>
        </p:txBody>
      </p:sp>
      <p:sp>
        <p:nvSpPr>
          <p:cNvPr id="136" name="TextBox 135">
            <a:extLst>
              <a:ext uri="{FF2B5EF4-FFF2-40B4-BE49-F238E27FC236}">
                <a16:creationId xmlns:a16="http://schemas.microsoft.com/office/drawing/2014/main" id="{937EF19C-CD2E-43F7-AADA-C1D846ABF673}"/>
              </a:ext>
            </a:extLst>
          </p:cNvPr>
          <p:cNvSpPr txBox="1"/>
          <p:nvPr/>
        </p:nvSpPr>
        <p:spPr>
          <a:xfrm>
            <a:off x="3376310" y="3453057"/>
            <a:ext cx="2458909" cy="701731"/>
          </a:xfrm>
          <a:prstGeom prst="rect">
            <a:avLst/>
          </a:prstGeom>
          <a:noFill/>
        </p:spPr>
        <p:txBody>
          <a:bodyPr wrap="square" lIns="0" rIns="0" rtlCol="0" anchor="t" anchorCtr="0">
            <a:spAutoFit/>
          </a:bodyPr>
          <a:lstStyle/>
          <a:p>
            <a:pPr marL="171450" marR="0" lvl="0" indent="-171450" algn="l" defTabSz="45699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90" b="0" i="0" u="none" strike="noStrike" kern="1200" cap="none" spc="0" normalizeH="0" baseline="0" noProof="0" dirty="0">
                <a:ln>
                  <a:noFill/>
                </a:ln>
                <a:solidFill>
                  <a:prstClr val="black"/>
                </a:solidFill>
                <a:effectLst/>
                <a:uLnTx/>
                <a:uFillTx/>
                <a:latin typeface="Calibri" panose="020F0502020204030204"/>
                <a:ea typeface="+mn-ea"/>
                <a:cs typeface="+mn-cs"/>
              </a:rPr>
              <a:t>Need medium involvement of a combination of data office, Risk, Compliance, data governance community and a number of SME’s</a:t>
            </a:r>
          </a:p>
        </p:txBody>
      </p:sp>
      <p:sp>
        <p:nvSpPr>
          <p:cNvPr id="6" name="Rectangle 5">
            <a:extLst>
              <a:ext uri="{FF2B5EF4-FFF2-40B4-BE49-F238E27FC236}">
                <a16:creationId xmlns:a16="http://schemas.microsoft.com/office/drawing/2014/main" id="{07A47E1E-FBDC-4685-A3A0-DB71DBED56CD}"/>
              </a:ext>
            </a:extLst>
          </p:cNvPr>
          <p:cNvSpPr/>
          <p:nvPr/>
        </p:nvSpPr>
        <p:spPr>
          <a:xfrm>
            <a:off x="2544976" y="4717243"/>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C975F1BB-5460-4AC5-8B50-A125A8E01CF9}"/>
              </a:ext>
            </a:extLst>
          </p:cNvPr>
          <p:cNvSpPr/>
          <p:nvPr/>
        </p:nvSpPr>
        <p:spPr>
          <a:xfrm>
            <a:off x="3092434" y="4718725"/>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13660265-D0E1-4849-A01C-FB9E845F9E5C}"/>
              </a:ext>
            </a:extLst>
          </p:cNvPr>
          <p:cNvSpPr/>
          <p:nvPr/>
        </p:nvSpPr>
        <p:spPr>
          <a:xfrm>
            <a:off x="3644329" y="4720202"/>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147A0E2E-B9EF-416F-8E01-B6B6A2BE56C8}"/>
              </a:ext>
            </a:extLst>
          </p:cNvPr>
          <p:cNvSpPr/>
          <p:nvPr/>
        </p:nvSpPr>
        <p:spPr>
          <a:xfrm>
            <a:off x="2544976" y="5150768"/>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5" name="Rectangle 74">
            <a:extLst>
              <a:ext uri="{FF2B5EF4-FFF2-40B4-BE49-F238E27FC236}">
                <a16:creationId xmlns:a16="http://schemas.microsoft.com/office/drawing/2014/main" id="{B90A583F-8D96-4A22-A61B-1B0182C5B7E5}"/>
              </a:ext>
            </a:extLst>
          </p:cNvPr>
          <p:cNvSpPr/>
          <p:nvPr/>
        </p:nvSpPr>
        <p:spPr>
          <a:xfrm>
            <a:off x="3092434" y="5150768"/>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6" name="Rectangle 75">
            <a:extLst>
              <a:ext uri="{FF2B5EF4-FFF2-40B4-BE49-F238E27FC236}">
                <a16:creationId xmlns:a16="http://schemas.microsoft.com/office/drawing/2014/main" id="{A60BDD15-A837-42F3-95C7-29F09DE6D9B0}"/>
              </a:ext>
            </a:extLst>
          </p:cNvPr>
          <p:cNvSpPr/>
          <p:nvPr/>
        </p:nvSpPr>
        <p:spPr>
          <a:xfrm>
            <a:off x="3644329" y="5150768"/>
            <a:ext cx="499337" cy="388101"/>
          </a:xfrm>
          <a:prstGeom prst="rect">
            <a:avLst/>
          </a:prstGeom>
          <a:solidFill>
            <a:schemeClr val="accent2"/>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A7D1D6CA-FA9D-40FC-AAD3-B96C51B32D7D}"/>
              </a:ext>
            </a:extLst>
          </p:cNvPr>
          <p:cNvSpPr/>
          <p:nvPr/>
        </p:nvSpPr>
        <p:spPr>
          <a:xfrm>
            <a:off x="2544976" y="5560622"/>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8" name="Rectangle 77">
            <a:extLst>
              <a:ext uri="{FF2B5EF4-FFF2-40B4-BE49-F238E27FC236}">
                <a16:creationId xmlns:a16="http://schemas.microsoft.com/office/drawing/2014/main" id="{AA68CEC8-69D7-465E-B6AB-77C7C8105782}"/>
              </a:ext>
            </a:extLst>
          </p:cNvPr>
          <p:cNvSpPr/>
          <p:nvPr/>
        </p:nvSpPr>
        <p:spPr>
          <a:xfrm>
            <a:off x="3092434" y="5560622"/>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79" name="Rectangle 78">
            <a:extLst>
              <a:ext uri="{FF2B5EF4-FFF2-40B4-BE49-F238E27FC236}">
                <a16:creationId xmlns:a16="http://schemas.microsoft.com/office/drawing/2014/main" id="{D06F1782-1563-4F79-BA5C-D84134A9020B}"/>
              </a:ext>
            </a:extLst>
          </p:cNvPr>
          <p:cNvSpPr/>
          <p:nvPr/>
        </p:nvSpPr>
        <p:spPr>
          <a:xfrm>
            <a:off x="3644329" y="5560622"/>
            <a:ext cx="499337" cy="388101"/>
          </a:xfrm>
          <a:prstGeom prst="rect">
            <a:avLst/>
          </a:prstGeom>
          <a:solidFill>
            <a:schemeClr val="accent1">
              <a:lumMod val="20000"/>
              <a:lumOff val="80000"/>
            </a:schemeClr>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yriad Pro"/>
            </a:endParaRPr>
          </a:p>
        </p:txBody>
      </p:sp>
      <p:sp>
        <p:nvSpPr>
          <p:cNvPr id="99" name="Title 5">
            <a:extLst>
              <a:ext uri="{FF2B5EF4-FFF2-40B4-BE49-F238E27FC236}">
                <a16:creationId xmlns:a16="http://schemas.microsoft.com/office/drawing/2014/main" id="{D4BD80A2-2B39-4D6F-A68C-4E63F7CDD251}"/>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69B4"/>
                </a:solidFill>
                <a:effectLst/>
                <a:uLnTx/>
                <a:uFillTx/>
                <a:latin typeface="Calibri Light" panose="020F0302020204030204"/>
                <a:ea typeface="+mj-ea"/>
                <a:cs typeface="+mj-cs"/>
              </a:rPr>
              <a:t>Use Cases for Data Objective 1 (4/4) </a:t>
            </a:r>
          </a:p>
        </p:txBody>
      </p:sp>
      <p:sp>
        <p:nvSpPr>
          <p:cNvPr id="101" name="Rounded Rectangle 150">
            <a:extLst>
              <a:ext uri="{FF2B5EF4-FFF2-40B4-BE49-F238E27FC236}">
                <a16:creationId xmlns:a16="http://schemas.microsoft.com/office/drawing/2014/main" id="{F501161F-EA6C-490D-8AE5-375EAC5E5C95}"/>
              </a:ext>
            </a:extLst>
          </p:cNvPr>
          <p:cNvSpPr/>
          <p:nvPr/>
        </p:nvSpPr>
        <p:spPr>
          <a:xfrm>
            <a:off x="616650" y="1988702"/>
            <a:ext cx="1169348" cy="504061"/>
          </a:xfrm>
          <a:prstGeom prst="roundRect">
            <a:avLst/>
          </a:prstGeom>
          <a:solidFill>
            <a:schemeClr val="bg1"/>
          </a:solidFill>
          <a:ln w="19050" cap="flat" cmpd="sng" algn="ctr">
            <a:solidFill>
              <a:schemeClr val="tx2"/>
            </a:solidFill>
            <a:prstDash val="solid"/>
          </a:ln>
          <a:effectLst/>
        </p:spPr>
        <p:txBody>
          <a:bodyPr rtlCol="0" anchor="ctr" anchorCtr="0"/>
          <a:lstStyle/>
          <a:p>
            <a:pPr marL="0" marR="0" lvl="0" indent="0" algn="l" defTabSz="8261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2E2E38"/>
                </a:solidFill>
                <a:effectLst/>
                <a:uLnTx/>
                <a:uFillTx/>
                <a:latin typeface="Calibri" panose="020F0502020204030204"/>
                <a:ea typeface="+mn-ea"/>
                <a:cs typeface="+mn-cs"/>
              </a:rPr>
              <a:t>Defensive</a:t>
            </a:r>
          </a:p>
        </p:txBody>
      </p:sp>
      <p:sp>
        <p:nvSpPr>
          <p:cNvPr id="93" name="Rectangle 92">
            <a:extLst>
              <a:ext uri="{FF2B5EF4-FFF2-40B4-BE49-F238E27FC236}">
                <a16:creationId xmlns:a16="http://schemas.microsoft.com/office/drawing/2014/main" id="{2AD35D49-E83C-4D08-901A-54CB839720FC}"/>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97" name="Picture 96">
            <a:extLst>
              <a:ext uri="{FF2B5EF4-FFF2-40B4-BE49-F238E27FC236}">
                <a16:creationId xmlns:a16="http://schemas.microsoft.com/office/drawing/2014/main" id="{88418B47-6A3A-46DD-AD26-960A739F0698}"/>
              </a:ext>
            </a:extLst>
          </p:cNvPr>
          <p:cNvPicPr>
            <a:picLocks noChangeAspect="1"/>
          </p:cNvPicPr>
          <p:nvPr/>
        </p:nvPicPr>
        <p:blipFill>
          <a:blip r:embed="rId7"/>
          <a:stretch>
            <a:fillRect/>
          </a:stretch>
        </p:blipFill>
        <p:spPr>
          <a:xfrm>
            <a:off x="10853730" y="89660"/>
            <a:ext cx="1183415" cy="552969"/>
          </a:xfrm>
          <a:prstGeom prst="rect">
            <a:avLst/>
          </a:prstGeom>
        </p:spPr>
      </p:pic>
      <p:sp>
        <p:nvSpPr>
          <p:cNvPr id="47" name="Rectangle 46">
            <a:extLst>
              <a:ext uri="{FF2B5EF4-FFF2-40B4-BE49-F238E27FC236}">
                <a16:creationId xmlns:a16="http://schemas.microsoft.com/office/drawing/2014/main" id="{52C706E3-B0FD-4776-812A-03E919A0A77D}"/>
              </a:ext>
            </a:extLst>
          </p:cNvPr>
          <p:cNvSpPr/>
          <p:nvPr/>
        </p:nvSpPr>
        <p:spPr>
          <a:xfrm>
            <a:off x="2600325" y="900140"/>
            <a:ext cx="8839008" cy="284688"/>
          </a:xfrm>
          <a:prstGeom prst="rect">
            <a:avLst/>
          </a:prstGeom>
          <a:no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lvl="0" indent="0" algn="l" defTabSz="914400" rtl="0" eaLnBrk="1" fontAlgn="auto" latinLnBrk="0" hangingPunct="0">
              <a:lnSpc>
                <a:spcPts val="1350"/>
              </a:lnSpc>
              <a:spcBef>
                <a:spcPts val="0"/>
              </a:spcBef>
              <a:spcAft>
                <a:spcPts val="0"/>
              </a:spcAft>
              <a:buClrTx/>
              <a:buSzPts val="950"/>
              <a:buFontTx/>
              <a:buNone/>
              <a:tabLst/>
              <a:defRPr/>
            </a:pPr>
            <a:r>
              <a:rPr kumimoji="0" lang="en-US" sz="1400" b="1"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Improving Data Governance and integrating Data Management into our business for ensuring regulatory compliance and easy/timely access to data</a:t>
            </a:r>
            <a:endParaRPr kumimoji="0" lang="en-US" sz="1400" b="0" i="0" u="none" strike="noStrike" kern="1200" cap="none" spc="2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cxnSp>
        <p:nvCxnSpPr>
          <p:cNvPr id="48" name="Straight Connector 47">
            <a:extLst>
              <a:ext uri="{FF2B5EF4-FFF2-40B4-BE49-F238E27FC236}">
                <a16:creationId xmlns:a16="http://schemas.microsoft.com/office/drawing/2014/main" id="{6952F275-E0CC-4072-BD46-837662CDDA84}"/>
              </a:ext>
            </a:extLst>
          </p:cNvPr>
          <p:cNvCxnSpPr>
            <a:cxnSpLocks/>
          </p:cNvCxnSpPr>
          <p:nvPr/>
        </p:nvCxnSpPr>
        <p:spPr>
          <a:xfrm>
            <a:off x="615105" y="1200204"/>
            <a:ext cx="10824228"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9" name="Flowchart: Manual Input 48">
            <a:extLst>
              <a:ext uri="{FF2B5EF4-FFF2-40B4-BE49-F238E27FC236}">
                <a16:creationId xmlns:a16="http://schemas.microsoft.com/office/drawing/2014/main" id="{EFA86BCB-EB3A-428C-80C4-52EC60FF63FA}"/>
              </a:ext>
            </a:extLst>
          </p:cNvPr>
          <p:cNvSpPr/>
          <p:nvPr/>
        </p:nvSpPr>
        <p:spPr>
          <a:xfrm>
            <a:off x="615106" y="880900"/>
            <a:ext cx="1985220" cy="324832"/>
          </a:xfrm>
          <a:prstGeom prst="flowChartManualInput">
            <a:avLst/>
          </a:prstGeom>
          <a:solidFill>
            <a:schemeClr val="tx1">
              <a:lumMod val="50000"/>
              <a:lumOff val="50000"/>
            </a:schemeClr>
          </a:solidFill>
          <a:ln w="9525" cap="flat" cmpd="sng" algn="ctr">
            <a:noFill/>
            <a:prstDash val="solid"/>
          </a:ln>
          <a:effectLst/>
        </p:spPr>
        <p:txBody>
          <a:bodyPr rot="0" spcFirstLastPara="0" vertOverflow="overflow" horzOverflow="overflow" vert="horz" wrap="square" lIns="91287" tIns="45643" rIns="91287" bIns="45643" numCol="1" spcCol="0" rtlCol="0" fromWordArt="0" anchor="ctr" anchorCtr="0" forceAA="0" compatLnSpc="1">
            <a:prstTxWarp prst="textNoShape">
              <a:avLst/>
            </a:prstTxWarp>
            <a:noAutofit/>
          </a:bodyPr>
          <a:lstStyle/>
          <a:p>
            <a:pPr marL="0" marR="0" lvl="0" indent="0" algn="ctr" defTabSz="91292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Strategic data objective 1</a:t>
            </a:r>
          </a:p>
        </p:txBody>
      </p:sp>
    </p:spTree>
    <p:extLst>
      <p:ext uri="{BB962C8B-B14F-4D97-AF65-F5344CB8AC3E}">
        <p14:creationId xmlns:p14="http://schemas.microsoft.com/office/powerpoint/2010/main" val="11623381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DE0C2512-7E53-414B-BF9D-7EE75B209616}"/>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l="19068" r="19068"/>
          <a:stretch>
            <a:fillRect/>
          </a:stretch>
        </p:blipFill>
        <p:spPr/>
      </p:pic>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a:lstStyle/>
          <a:p>
            <a:r>
              <a:rPr lang="en-US"/>
              <a:t>Next Steps</a:t>
            </a:r>
            <a:endParaRPr lang="nl-NL"/>
          </a:p>
        </p:txBody>
      </p:sp>
      <p:sp>
        <p:nvSpPr>
          <p:cNvPr id="4" name="Text Placeholder 3">
            <a:extLst>
              <a:ext uri="{FF2B5EF4-FFF2-40B4-BE49-F238E27FC236}">
                <a16:creationId xmlns:a16="http://schemas.microsoft.com/office/drawing/2014/main" id="{4465BC45-AA7C-4490-BFD0-C33888A744F3}"/>
              </a:ext>
            </a:extLst>
          </p:cNvPr>
          <p:cNvSpPr>
            <a:spLocks noGrp="1"/>
          </p:cNvSpPr>
          <p:nvPr>
            <p:ph type="body" sz="quarter" idx="13"/>
          </p:nvPr>
        </p:nvSpPr>
        <p:spPr/>
        <p:txBody>
          <a:bodyPr/>
          <a:lstStyle/>
          <a:p>
            <a:endParaRPr lang="nl-NL"/>
          </a:p>
        </p:txBody>
      </p:sp>
    </p:spTree>
    <p:extLst>
      <p:ext uri="{BB962C8B-B14F-4D97-AF65-F5344CB8AC3E}">
        <p14:creationId xmlns:p14="http://schemas.microsoft.com/office/powerpoint/2010/main" val="25403864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F98D70DD-9DB6-4AFF-AE65-E4D6A372BC4F}"/>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srgbClr val="0069B4"/>
                </a:solidFill>
                <a:effectLst/>
                <a:uLnTx/>
                <a:uFillTx/>
                <a:latin typeface="Calibri Light" panose="020F0302020204030204"/>
                <a:ea typeface="+mj-ea"/>
                <a:cs typeface="+mj-cs"/>
              </a:rPr>
              <a:t>Next steps</a:t>
            </a:r>
          </a:p>
        </p:txBody>
      </p:sp>
      <p:grpSp>
        <p:nvGrpSpPr>
          <p:cNvPr id="7" name="Group 6">
            <a:extLst>
              <a:ext uri="{FF2B5EF4-FFF2-40B4-BE49-F238E27FC236}">
                <a16:creationId xmlns:a16="http://schemas.microsoft.com/office/drawing/2014/main" id="{32276CF6-BB56-40C2-BF36-ABA66234175D}"/>
              </a:ext>
            </a:extLst>
          </p:cNvPr>
          <p:cNvGrpSpPr/>
          <p:nvPr/>
        </p:nvGrpSpPr>
        <p:grpSpPr>
          <a:xfrm>
            <a:off x="6743250" y="3364638"/>
            <a:ext cx="2799946" cy="2520000"/>
            <a:chOff x="776245" y="1192328"/>
            <a:chExt cx="2799946" cy="2520000"/>
          </a:xfrm>
        </p:grpSpPr>
        <p:sp>
          <p:nvSpPr>
            <p:cNvPr id="3" name="Oval 2">
              <a:extLst>
                <a:ext uri="{FF2B5EF4-FFF2-40B4-BE49-F238E27FC236}">
                  <a16:creationId xmlns:a16="http://schemas.microsoft.com/office/drawing/2014/main" id="{BA853AA8-B54C-487F-B7D5-260F14B1699C}"/>
                </a:ext>
              </a:extLst>
            </p:cNvPr>
            <p:cNvSpPr/>
            <p:nvPr/>
          </p:nvSpPr>
          <p:spPr>
            <a:xfrm>
              <a:off x="1056191" y="1192328"/>
              <a:ext cx="2520000" cy="2520000"/>
            </a:xfrm>
            <a:prstGeom prst="ellipse">
              <a:avLst/>
            </a:prstGeom>
            <a:solidFill>
              <a:srgbClr val="F0F0F0"/>
            </a:solidFill>
            <a:ln w="952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Arial"/>
                <a:ea typeface="+mn-ea"/>
                <a:cs typeface="+mn-cs"/>
              </a:endParaRPr>
            </a:p>
          </p:txBody>
        </p:sp>
        <p:sp>
          <p:nvSpPr>
            <p:cNvPr id="4" name="Rechteck 24">
              <a:extLst>
                <a:ext uri="{FF2B5EF4-FFF2-40B4-BE49-F238E27FC236}">
                  <a16:creationId xmlns:a16="http://schemas.microsoft.com/office/drawing/2014/main" id="{7A188DB6-F749-4C36-B441-343E48F00D78}"/>
                </a:ext>
              </a:extLst>
            </p:cNvPr>
            <p:cNvSpPr/>
            <p:nvPr/>
          </p:nvSpPr>
          <p:spPr bwMode="gray">
            <a:xfrm>
              <a:off x="1664919" y="1626624"/>
              <a:ext cx="1712807" cy="1627882"/>
            </a:xfrm>
            <a:prstGeom prst="rect">
              <a:avLst/>
            </a:prstGeom>
            <a:noFill/>
            <a:ln w="25400" cap="flat" cmpd="sng" algn="ctr">
              <a:noFill/>
              <a:prstDash val="solid"/>
            </a:ln>
            <a:effectLst/>
          </p:spPr>
          <p:txBody>
            <a:bodyPr wrap="square">
              <a:spAutoFit/>
            </a:bodyPr>
            <a:lstStyle/>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1600" b="1" i="0" u="none" strike="noStrike" kern="0" cap="none" spc="0" normalizeH="0" baseline="0" noProof="0">
                  <a:ln>
                    <a:noFill/>
                  </a:ln>
                  <a:solidFill>
                    <a:srgbClr val="646464"/>
                  </a:solidFill>
                  <a:effectLst/>
                  <a:uLnTx/>
                  <a:uFillTx/>
                  <a:latin typeface="Arial"/>
                  <a:ea typeface="+mn-ea"/>
                  <a:cs typeface="+mn-cs"/>
                </a:rPr>
                <a:t>Leadership update with Bas</a:t>
              </a:r>
            </a:p>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1600" b="1" i="0" u="none" strike="noStrike" kern="0" cap="none" spc="0" normalizeH="0" baseline="0" noProof="0">
                  <a:ln>
                    <a:noFill/>
                  </a:ln>
                  <a:solidFill>
                    <a:srgbClr val="646464"/>
                  </a:solidFill>
                  <a:effectLst/>
                  <a:uLnTx/>
                  <a:uFillTx/>
                  <a:latin typeface="Arial"/>
                  <a:ea typeface="+mn-ea"/>
                  <a:cs typeface="+mn-cs"/>
                </a:rPr>
                <a:t>15 March</a:t>
              </a:r>
            </a:p>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900" b="0" i="0" u="none" strike="noStrike" kern="0" cap="none" spc="0" normalizeH="0" baseline="0" noProof="0">
                  <a:ln>
                    <a:noFill/>
                  </a:ln>
                  <a:solidFill>
                    <a:srgbClr val="646464"/>
                  </a:solidFill>
                  <a:effectLst/>
                  <a:uLnTx/>
                  <a:uFillTx/>
                  <a:latin typeface="Arial"/>
                  <a:ea typeface="+mn-ea"/>
                  <a:cs typeface="+mn-cs"/>
                </a:rPr>
                <a:t>Provide an overview of the data strategy and trends to Bas</a:t>
              </a:r>
            </a:p>
          </p:txBody>
        </p:sp>
        <p:sp>
          <p:nvSpPr>
            <p:cNvPr id="5" name="Oval 4">
              <a:extLst>
                <a:ext uri="{FF2B5EF4-FFF2-40B4-BE49-F238E27FC236}">
                  <a16:creationId xmlns:a16="http://schemas.microsoft.com/office/drawing/2014/main" id="{47569E4A-A577-45A0-985F-D7774BE90B0F}"/>
                </a:ext>
              </a:extLst>
            </p:cNvPr>
            <p:cNvSpPr/>
            <p:nvPr/>
          </p:nvSpPr>
          <p:spPr>
            <a:xfrm>
              <a:off x="776245" y="1975948"/>
              <a:ext cx="750744" cy="750744"/>
            </a:xfrm>
            <a:prstGeom prst="ellipse">
              <a:avLst/>
            </a:prstGeom>
            <a:solidFill>
              <a:schemeClr val="tx2"/>
            </a:solidFill>
            <a:ln w="57150" cap="flat" cmpd="sng" algn="ctr">
              <a:solidFill>
                <a:srgbClr val="F0F0F0"/>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FFFFFF"/>
                  </a:solidFill>
                  <a:effectLst/>
                  <a:uLnTx/>
                  <a:uFillTx/>
                  <a:latin typeface="Arial"/>
                  <a:ea typeface="+mn-ea"/>
                  <a:cs typeface="+mn-cs"/>
                </a:rPr>
                <a:t>04</a:t>
              </a:r>
              <a:endParaRPr kumimoji="0" lang="en-IN" sz="3200" b="1" i="0" u="none" strike="noStrike" kern="0" cap="none" spc="0" normalizeH="0" baseline="0" noProof="0">
                <a:ln>
                  <a:noFill/>
                </a:ln>
                <a:solidFill>
                  <a:srgbClr val="FFFFFF"/>
                </a:solidFill>
                <a:effectLst/>
                <a:uLnTx/>
                <a:uFillTx/>
                <a:latin typeface="Arial"/>
                <a:ea typeface="+mn-ea"/>
                <a:cs typeface="+mn-cs"/>
              </a:endParaRPr>
            </a:p>
          </p:txBody>
        </p:sp>
        <p:cxnSp>
          <p:nvCxnSpPr>
            <p:cNvPr id="6" name="Straight Connector 5">
              <a:extLst>
                <a:ext uri="{FF2B5EF4-FFF2-40B4-BE49-F238E27FC236}">
                  <a16:creationId xmlns:a16="http://schemas.microsoft.com/office/drawing/2014/main" id="{3F433BDE-CF88-4B0E-B7C8-C4A16B5FB6A4}"/>
                </a:ext>
              </a:extLst>
            </p:cNvPr>
            <p:cNvCxnSpPr/>
            <p:nvPr/>
          </p:nvCxnSpPr>
          <p:spPr>
            <a:xfrm>
              <a:off x="1652845" y="1506654"/>
              <a:ext cx="0" cy="1820416"/>
            </a:xfrm>
            <a:prstGeom prst="line">
              <a:avLst/>
            </a:prstGeom>
            <a:noFill/>
            <a:ln w="19050" cap="flat" cmpd="sng" algn="ctr">
              <a:solidFill>
                <a:srgbClr val="C0C0C0"/>
              </a:solidFill>
              <a:prstDash val="solid"/>
              <a:tailEnd type="none"/>
            </a:ln>
            <a:effectLst/>
          </p:spPr>
        </p:cxnSp>
      </p:grpSp>
      <p:grpSp>
        <p:nvGrpSpPr>
          <p:cNvPr id="10" name="Group 9">
            <a:extLst>
              <a:ext uri="{FF2B5EF4-FFF2-40B4-BE49-F238E27FC236}">
                <a16:creationId xmlns:a16="http://schemas.microsoft.com/office/drawing/2014/main" id="{02D2CA00-FC90-4F4F-839A-B2F64E214392}"/>
              </a:ext>
            </a:extLst>
          </p:cNvPr>
          <p:cNvGrpSpPr/>
          <p:nvPr/>
        </p:nvGrpSpPr>
        <p:grpSpPr>
          <a:xfrm>
            <a:off x="4794711" y="1015230"/>
            <a:ext cx="2799946" cy="2520000"/>
            <a:chOff x="8239609" y="1192328"/>
            <a:chExt cx="2799946" cy="2520000"/>
          </a:xfrm>
        </p:grpSpPr>
        <p:sp>
          <p:nvSpPr>
            <p:cNvPr id="23" name="Oval 22">
              <a:extLst>
                <a:ext uri="{FF2B5EF4-FFF2-40B4-BE49-F238E27FC236}">
                  <a16:creationId xmlns:a16="http://schemas.microsoft.com/office/drawing/2014/main" id="{69AA2F0B-C02A-4DBF-9DD4-FBA6436CC42E}"/>
                </a:ext>
              </a:extLst>
            </p:cNvPr>
            <p:cNvSpPr/>
            <p:nvPr/>
          </p:nvSpPr>
          <p:spPr>
            <a:xfrm>
              <a:off x="8519555" y="1192328"/>
              <a:ext cx="2520000" cy="2520000"/>
            </a:xfrm>
            <a:prstGeom prst="ellipse">
              <a:avLst/>
            </a:prstGeom>
            <a:solidFill>
              <a:srgbClr val="F0F0F0"/>
            </a:solidFill>
            <a:ln w="952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Arial"/>
                <a:ea typeface="+mn-ea"/>
                <a:cs typeface="+mn-cs"/>
              </a:endParaRPr>
            </a:p>
          </p:txBody>
        </p:sp>
        <p:sp>
          <p:nvSpPr>
            <p:cNvPr id="24" name="Oval 23">
              <a:extLst>
                <a:ext uri="{FF2B5EF4-FFF2-40B4-BE49-F238E27FC236}">
                  <a16:creationId xmlns:a16="http://schemas.microsoft.com/office/drawing/2014/main" id="{38360AD4-E853-47E4-B420-3218F14AB096}"/>
                </a:ext>
              </a:extLst>
            </p:cNvPr>
            <p:cNvSpPr/>
            <p:nvPr/>
          </p:nvSpPr>
          <p:spPr>
            <a:xfrm>
              <a:off x="8239609" y="1975948"/>
              <a:ext cx="750744" cy="750744"/>
            </a:xfrm>
            <a:prstGeom prst="ellipse">
              <a:avLst/>
            </a:prstGeom>
            <a:solidFill>
              <a:schemeClr val="tx2"/>
            </a:solidFill>
            <a:ln w="57150" cap="flat" cmpd="sng" algn="ctr">
              <a:solidFill>
                <a:srgbClr val="F0F0F0"/>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FFFFFF"/>
                  </a:solidFill>
                  <a:effectLst/>
                  <a:uLnTx/>
                  <a:uFillTx/>
                  <a:latin typeface="Arial"/>
                  <a:ea typeface="+mn-ea"/>
                  <a:cs typeface="+mn-cs"/>
                </a:rPr>
                <a:t>03</a:t>
              </a:r>
              <a:endParaRPr kumimoji="0" lang="en-IN" sz="3200" b="1" i="0" u="none" strike="noStrike" kern="0" cap="none" spc="0" normalizeH="0" baseline="0" noProof="0">
                <a:ln>
                  <a:noFill/>
                </a:ln>
                <a:solidFill>
                  <a:srgbClr val="FFFFFF"/>
                </a:solidFill>
                <a:effectLst/>
                <a:uLnTx/>
                <a:uFillTx/>
                <a:latin typeface="Arial"/>
                <a:ea typeface="+mn-ea"/>
                <a:cs typeface="+mn-cs"/>
              </a:endParaRPr>
            </a:p>
          </p:txBody>
        </p:sp>
        <p:cxnSp>
          <p:nvCxnSpPr>
            <p:cNvPr id="25" name="Straight Connector 24">
              <a:extLst>
                <a:ext uri="{FF2B5EF4-FFF2-40B4-BE49-F238E27FC236}">
                  <a16:creationId xmlns:a16="http://schemas.microsoft.com/office/drawing/2014/main" id="{6FE9FF4C-A83E-490A-AFB0-7A5055D04412}"/>
                </a:ext>
              </a:extLst>
            </p:cNvPr>
            <p:cNvCxnSpPr/>
            <p:nvPr/>
          </p:nvCxnSpPr>
          <p:spPr>
            <a:xfrm>
              <a:off x="9116209" y="1506654"/>
              <a:ext cx="0" cy="1820416"/>
            </a:xfrm>
            <a:prstGeom prst="line">
              <a:avLst/>
            </a:prstGeom>
            <a:noFill/>
            <a:ln w="19050" cap="flat" cmpd="sng" algn="ctr">
              <a:solidFill>
                <a:srgbClr val="C0C0C0"/>
              </a:solidFill>
              <a:prstDash val="solid"/>
              <a:tailEnd type="none"/>
            </a:ln>
            <a:effectLst/>
          </p:spPr>
        </p:cxnSp>
        <p:sp>
          <p:nvSpPr>
            <p:cNvPr id="26" name="Rechteck 24">
              <a:extLst>
                <a:ext uri="{FF2B5EF4-FFF2-40B4-BE49-F238E27FC236}">
                  <a16:creationId xmlns:a16="http://schemas.microsoft.com/office/drawing/2014/main" id="{45F5240D-3E69-4D79-9C6F-2EF8CC21A1F8}"/>
                </a:ext>
              </a:extLst>
            </p:cNvPr>
            <p:cNvSpPr/>
            <p:nvPr/>
          </p:nvSpPr>
          <p:spPr bwMode="gray">
            <a:xfrm>
              <a:off x="9264399" y="1744800"/>
              <a:ext cx="1626967" cy="1291636"/>
            </a:xfrm>
            <a:prstGeom prst="rect">
              <a:avLst/>
            </a:prstGeom>
            <a:noFill/>
            <a:ln w="25400" cap="flat" cmpd="sng" algn="ctr">
              <a:noFill/>
              <a:prstDash val="solid"/>
            </a:ln>
            <a:effectLst/>
          </p:spPr>
          <p:txBody>
            <a:bodyPr wrap="square">
              <a:spAutoFit/>
            </a:bodyPr>
            <a:lstStyle/>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1600" b="1" i="0" u="none" strike="noStrike" kern="0" cap="none" spc="0" normalizeH="0" baseline="0" noProof="0">
                  <a:ln>
                    <a:noFill/>
                  </a:ln>
                  <a:solidFill>
                    <a:srgbClr val="646464"/>
                  </a:solidFill>
                  <a:effectLst/>
                  <a:uLnTx/>
                  <a:uFillTx/>
                  <a:latin typeface="Arial"/>
                  <a:ea typeface="+mn-ea"/>
                  <a:cs typeface="+mn-cs"/>
                </a:rPr>
                <a:t>SteerCo III</a:t>
              </a:r>
            </a:p>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1600" b="1" i="0" u="none" strike="noStrike" kern="0" cap="none" spc="0" normalizeH="0" baseline="0" noProof="0">
                  <a:ln>
                    <a:noFill/>
                  </a:ln>
                  <a:solidFill>
                    <a:srgbClr val="646464"/>
                  </a:solidFill>
                  <a:effectLst/>
                  <a:uLnTx/>
                  <a:uFillTx/>
                  <a:latin typeface="Arial"/>
                  <a:ea typeface="+mn-ea"/>
                  <a:cs typeface="+mn-cs"/>
                </a:rPr>
                <a:t>10 March</a:t>
              </a:r>
            </a:p>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900" b="0" i="0" u="none" strike="noStrike" kern="0" cap="none" spc="0" normalizeH="0" baseline="0" noProof="0">
                  <a:ln>
                    <a:noFill/>
                  </a:ln>
                  <a:solidFill>
                    <a:srgbClr val="646464"/>
                  </a:solidFill>
                  <a:effectLst/>
                  <a:uLnTx/>
                  <a:uFillTx/>
                  <a:latin typeface="Arial"/>
                  <a:ea typeface="+mn-ea"/>
                  <a:cs typeface="+mn-cs"/>
                </a:rPr>
                <a:t>Final Data strategy will be presented for approval and sign-off incl. </a:t>
              </a:r>
              <a:r>
                <a:rPr lang="en-US" sz="900" kern="0">
                  <a:solidFill>
                    <a:srgbClr val="646464"/>
                  </a:solidFill>
                  <a:latin typeface="Arial"/>
                </a:rPr>
                <a:t>follow up actions</a:t>
              </a:r>
              <a:endParaRPr kumimoji="0" lang="en-US" sz="900" b="0" i="0" u="none" strike="noStrike" kern="0" cap="none" spc="0" normalizeH="0" baseline="0" noProof="0">
                <a:ln>
                  <a:noFill/>
                </a:ln>
                <a:solidFill>
                  <a:srgbClr val="646464"/>
                </a:solidFill>
                <a:effectLst/>
                <a:uLnTx/>
                <a:uFillTx/>
                <a:latin typeface="Arial"/>
                <a:ea typeface="+mn-ea"/>
                <a:cs typeface="+mn-cs"/>
              </a:endParaRPr>
            </a:p>
          </p:txBody>
        </p:sp>
      </p:grpSp>
      <p:grpSp>
        <p:nvGrpSpPr>
          <p:cNvPr id="11" name="Group 10">
            <a:extLst>
              <a:ext uri="{FF2B5EF4-FFF2-40B4-BE49-F238E27FC236}">
                <a16:creationId xmlns:a16="http://schemas.microsoft.com/office/drawing/2014/main" id="{5FE9E5AC-7652-425E-86BE-BFA458F0AC28}"/>
              </a:ext>
            </a:extLst>
          </p:cNvPr>
          <p:cNvGrpSpPr/>
          <p:nvPr/>
        </p:nvGrpSpPr>
        <p:grpSpPr>
          <a:xfrm>
            <a:off x="2898794" y="3355507"/>
            <a:ext cx="2799946" cy="2520000"/>
            <a:chOff x="643421" y="1192328"/>
            <a:chExt cx="2799946" cy="2520000"/>
          </a:xfrm>
        </p:grpSpPr>
        <p:sp>
          <p:nvSpPr>
            <p:cNvPr id="22" name="Oval 21">
              <a:extLst>
                <a:ext uri="{FF2B5EF4-FFF2-40B4-BE49-F238E27FC236}">
                  <a16:creationId xmlns:a16="http://schemas.microsoft.com/office/drawing/2014/main" id="{8DE06B58-0D50-4503-9DB9-A479C583CDFF}"/>
                </a:ext>
              </a:extLst>
            </p:cNvPr>
            <p:cNvSpPr/>
            <p:nvPr/>
          </p:nvSpPr>
          <p:spPr>
            <a:xfrm>
              <a:off x="923367" y="1192328"/>
              <a:ext cx="2520000" cy="2520000"/>
            </a:xfrm>
            <a:prstGeom prst="ellipse">
              <a:avLst/>
            </a:prstGeom>
            <a:solidFill>
              <a:srgbClr val="F0F0F0"/>
            </a:solidFill>
            <a:ln w="952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Arial"/>
                <a:ea typeface="+mn-ea"/>
                <a:cs typeface="+mn-cs"/>
              </a:endParaRPr>
            </a:p>
          </p:txBody>
        </p:sp>
        <p:sp>
          <p:nvSpPr>
            <p:cNvPr id="27" name="Oval 26">
              <a:extLst>
                <a:ext uri="{FF2B5EF4-FFF2-40B4-BE49-F238E27FC236}">
                  <a16:creationId xmlns:a16="http://schemas.microsoft.com/office/drawing/2014/main" id="{3519417E-88AD-4BAF-876A-E00616A0FF99}"/>
                </a:ext>
              </a:extLst>
            </p:cNvPr>
            <p:cNvSpPr/>
            <p:nvPr/>
          </p:nvSpPr>
          <p:spPr>
            <a:xfrm>
              <a:off x="643421" y="1975948"/>
              <a:ext cx="750744" cy="750744"/>
            </a:xfrm>
            <a:prstGeom prst="ellipse">
              <a:avLst/>
            </a:prstGeom>
            <a:solidFill>
              <a:schemeClr val="tx2"/>
            </a:solidFill>
            <a:ln w="57150" cap="flat" cmpd="sng" algn="ctr">
              <a:solidFill>
                <a:srgbClr val="F0F0F0"/>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FFFFFF"/>
                  </a:solidFill>
                  <a:effectLst/>
                  <a:uLnTx/>
                  <a:uFillTx/>
                  <a:latin typeface="Arial"/>
                  <a:ea typeface="+mn-ea"/>
                  <a:cs typeface="+mn-cs"/>
                </a:rPr>
                <a:t>02</a:t>
              </a:r>
              <a:endParaRPr kumimoji="0" lang="en-IN" sz="3200" b="1" i="0" u="none" strike="noStrike" kern="0" cap="none" spc="0" normalizeH="0" baseline="0" noProof="0">
                <a:ln>
                  <a:noFill/>
                </a:ln>
                <a:solidFill>
                  <a:srgbClr val="FFFFFF"/>
                </a:solidFill>
                <a:effectLst/>
                <a:uLnTx/>
                <a:uFillTx/>
                <a:latin typeface="Arial"/>
                <a:ea typeface="+mn-ea"/>
                <a:cs typeface="+mn-cs"/>
              </a:endParaRPr>
            </a:p>
          </p:txBody>
        </p:sp>
        <p:cxnSp>
          <p:nvCxnSpPr>
            <p:cNvPr id="28" name="Straight Connector 27">
              <a:extLst>
                <a:ext uri="{FF2B5EF4-FFF2-40B4-BE49-F238E27FC236}">
                  <a16:creationId xmlns:a16="http://schemas.microsoft.com/office/drawing/2014/main" id="{6FCD199D-680F-4C7A-8D99-F6953826DFFF}"/>
                </a:ext>
              </a:extLst>
            </p:cNvPr>
            <p:cNvCxnSpPr/>
            <p:nvPr/>
          </p:nvCxnSpPr>
          <p:spPr>
            <a:xfrm>
              <a:off x="1520021" y="1506654"/>
              <a:ext cx="0" cy="1820416"/>
            </a:xfrm>
            <a:prstGeom prst="line">
              <a:avLst/>
            </a:prstGeom>
            <a:noFill/>
            <a:ln w="19050" cap="flat" cmpd="sng" algn="ctr">
              <a:solidFill>
                <a:srgbClr val="C0C0C0"/>
              </a:solidFill>
              <a:prstDash val="solid"/>
              <a:tailEnd type="none"/>
            </a:ln>
            <a:effectLst/>
          </p:spPr>
        </p:cxnSp>
        <p:sp>
          <p:nvSpPr>
            <p:cNvPr id="29" name="Rechteck 24">
              <a:extLst>
                <a:ext uri="{FF2B5EF4-FFF2-40B4-BE49-F238E27FC236}">
                  <a16:creationId xmlns:a16="http://schemas.microsoft.com/office/drawing/2014/main" id="{E4298929-D266-465D-89D8-63560DC60732}"/>
                </a:ext>
              </a:extLst>
            </p:cNvPr>
            <p:cNvSpPr/>
            <p:nvPr/>
          </p:nvSpPr>
          <p:spPr bwMode="gray">
            <a:xfrm>
              <a:off x="1668211" y="1444010"/>
              <a:ext cx="1626967" cy="1891030"/>
            </a:xfrm>
            <a:prstGeom prst="rect">
              <a:avLst/>
            </a:prstGeom>
            <a:noFill/>
            <a:ln w="25400" cap="flat" cmpd="sng" algn="ctr">
              <a:noFill/>
              <a:prstDash val="solid"/>
            </a:ln>
            <a:effectLst/>
          </p:spPr>
          <p:txBody>
            <a:bodyPr wrap="square">
              <a:spAutoFit/>
            </a:bodyPr>
            <a:lstStyle/>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1600" b="1" i="0" u="none" strike="noStrike" kern="0" cap="none" spc="0" normalizeH="0" baseline="0" noProof="0">
                  <a:ln>
                    <a:noFill/>
                  </a:ln>
                  <a:solidFill>
                    <a:srgbClr val="646464"/>
                  </a:solidFill>
                  <a:effectLst/>
                  <a:uLnTx/>
                  <a:uFillTx/>
                  <a:latin typeface="Arial"/>
                  <a:ea typeface="+mn-ea"/>
                  <a:cs typeface="+mn-cs"/>
                </a:rPr>
                <a:t>Knowledge sharing session</a:t>
              </a:r>
            </a:p>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1600" b="1" i="0" u="none" strike="noStrike" kern="0" cap="none" spc="0" normalizeH="0" baseline="0" noProof="0">
                  <a:ln>
                    <a:noFill/>
                  </a:ln>
                  <a:solidFill>
                    <a:srgbClr val="646464"/>
                  </a:solidFill>
                  <a:effectLst/>
                  <a:uLnTx/>
                  <a:uFillTx/>
                  <a:latin typeface="Arial"/>
                  <a:ea typeface="+mn-ea"/>
                  <a:cs typeface="+mn-cs"/>
                </a:rPr>
                <a:t>7 March</a:t>
              </a:r>
            </a:p>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900" b="0" i="0" u="none" strike="noStrike" kern="0" cap="none" spc="0" normalizeH="0" baseline="0" noProof="0">
                  <a:ln>
                    <a:noFill/>
                  </a:ln>
                  <a:solidFill>
                    <a:srgbClr val="646464"/>
                  </a:solidFill>
                  <a:effectLst/>
                  <a:uLnTx/>
                  <a:uFillTx/>
                  <a:latin typeface="Arial"/>
                  <a:ea typeface="+mn-ea"/>
                  <a:cs typeface="+mn-cs"/>
                </a:rPr>
                <a:t>The objective of the session is to provide external insights on the use of data and priorities in the asset management sector</a:t>
              </a:r>
            </a:p>
          </p:txBody>
        </p:sp>
      </p:grpSp>
      <p:grpSp>
        <p:nvGrpSpPr>
          <p:cNvPr id="30" name="Group 29">
            <a:extLst>
              <a:ext uri="{FF2B5EF4-FFF2-40B4-BE49-F238E27FC236}">
                <a16:creationId xmlns:a16="http://schemas.microsoft.com/office/drawing/2014/main" id="{ACAD5333-CD62-4AA6-A544-D0A427164C70}"/>
              </a:ext>
            </a:extLst>
          </p:cNvPr>
          <p:cNvGrpSpPr/>
          <p:nvPr/>
        </p:nvGrpSpPr>
        <p:grpSpPr>
          <a:xfrm>
            <a:off x="945210" y="1015230"/>
            <a:ext cx="2799946" cy="2520000"/>
            <a:chOff x="643421" y="1192328"/>
            <a:chExt cx="2799946" cy="2520000"/>
          </a:xfrm>
        </p:grpSpPr>
        <p:sp>
          <p:nvSpPr>
            <p:cNvPr id="31" name="Oval 30">
              <a:extLst>
                <a:ext uri="{FF2B5EF4-FFF2-40B4-BE49-F238E27FC236}">
                  <a16:creationId xmlns:a16="http://schemas.microsoft.com/office/drawing/2014/main" id="{7E802FA8-1056-4A2B-AAF2-5526F5D7C092}"/>
                </a:ext>
              </a:extLst>
            </p:cNvPr>
            <p:cNvSpPr/>
            <p:nvPr/>
          </p:nvSpPr>
          <p:spPr>
            <a:xfrm>
              <a:off x="923367" y="1192328"/>
              <a:ext cx="2520000" cy="2520000"/>
            </a:xfrm>
            <a:prstGeom prst="ellipse">
              <a:avLst/>
            </a:prstGeom>
            <a:solidFill>
              <a:srgbClr val="F0F0F0"/>
            </a:solidFill>
            <a:ln w="952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Arial"/>
                <a:ea typeface="+mn-ea"/>
                <a:cs typeface="+mn-cs"/>
              </a:endParaRPr>
            </a:p>
          </p:txBody>
        </p:sp>
        <p:sp>
          <p:nvSpPr>
            <p:cNvPr id="32" name="Oval 31">
              <a:extLst>
                <a:ext uri="{FF2B5EF4-FFF2-40B4-BE49-F238E27FC236}">
                  <a16:creationId xmlns:a16="http://schemas.microsoft.com/office/drawing/2014/main" id="{65AF8CF8-880B-4E49-92E5-EF8C5244F13F}"/>
                </a:ext>
              </a:extLst>
            </p:cNvPr>
            <p:cNvSpPr/>
            <p:nvPr/>
          </p:nvSpPr>
          <p:spPr>
            <a:xfrm>
              <a:off x="643421" y="1975948"/>
              <a:ext cx="750744" cy="750744"/>
            </a:xfrm>
            <a:prstGeom prst="ellipse">
              <a:avLst/>
            </a:prstGeom>
            <a:solidFill>
              <a:schemeClr val="tx2"/>
            </a:solidFill>
            <a:ln w="57150" cap="flat" cmpd="sng" algn="ctr">
              <a:solidFill>
                <a:srgbClr val="F0F0F0"/>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FFFFFF"/>
                  </a:solidFill>
                  <a:effectLst/>
                  <a:uLnTx/>
                  <a:uFillTx/>
                  <a:latin typeface="Arial"/>
                  <a:ea typeface="+mn-ea"/>
                  <a:cs typeface="+mn-cs"/>
                </a:rPr>
                <a:t>01</a:t>
              </a:r>
              <a:endParaRPr kumimoji="0" lang="en-IN" sz="3200" b="1" i="0" u="none" strike="noStrike" kern="0" cap="none" spc="0" normalizeH="0" baseline="0" noProof="0">
                <a:ln>
                  <a:noFill/>
                </a:ln>
                <a:solidFill>
                  <a:srgbClr val="FFFFFF"/>
                </a:solidFill>
                <a:effectLst/>
                <a:uLnTx/>
                <a:uFillTx/>
                <a:latin typeface="Arial"/>
                <a:ea typeface="+mn-ea"/>
                <a:cs typeface="+mn-cs"/>
              </a:endParaRPr>
            </a:p>
          </p:txBody>
        </p:sp>
        <p:cxnSp>
          <p:nvCxnSpPr>
            <p:cNvPr id="33" name="Straight Connector 32">
              <a:extLst>
                <a:ext uri="{FF2B5EF4-FFF2-40B4-BE49-F238E27FC236}">
                  <a16:creationId xmlns:a16="http://schemas.microsoft.com/office/drawing/2014/main" id="{AA9E5E19-AE09-4E02-86D0-861309A61D86}"/>
                </a:ext>
              </a:extLst>
            </p:cNvPr>
            <p:cNvCxnSpPr/>
            <p:nvPr/>
          </p:nvCxnSpPr>
          <p:spPr>
            <a:xfrm>
              <a:off x="1520021" y="1506654"/>
              <a:ext cx="0" cy="1820416"/>
            </a:xfrm>
            <a:prstGeom prst="line">
              <a:avLst/>
            </a:prstGeom>
            <a:noFill/>
            <a:ln w="19050" cap="flat" cmpd="sng" algn="ctr">
              <a:solidFill>
                <a:srgbClr val="C0C0C0"/>
              </a:solidFill>
              <a:prstDash val="solid"/>
              <a:tailEnd type="none"/>
            </a:ln>
            <a:effectLst/>
          </p:spPr>
        </p:cxnSp>
        <p:sp>
          <p:nvSpPr>
            <p:cNvPr id="34" name="Rechteck 24">
              <a:extLst>
                <a:ext uri="{FF2B5EF4-FFF2-40B4-BE49-F238E27FC236}">
                  <a16:creationId xmlns:a16="http://schemas.microsoft.com/office/drawing/2014/main" id="{6619B941-0474-4850-B9DF-6161C35681C1}"/>
                </a:ext>
              </a:extLst>
            </p:cNvPr>
            <p:cNvSpPr/>
            <p:nvPr/>
          </p:nvSpPr>
          <p:spPr bwMode="gray">
            <a:xfrm>
              <a:off x="1668211" y="1444010"/>
              <a:ext cx="1626967" cy="2100062"/>
            </a:xfrm>
            <a:prstGeom prst="rect">
              <a:avLst/>
            </a:prstGeom>
            <a:noFill/>
            <a:ln w="25400" cap="flat" cmpd="sng" algn="ctr">
              <a:noFill/>
              <a:prstDash val="solid"/>
            </a:ln>
            <a:effectLst/>
          </p:spPr>
          <p:txBody>
            <a:bodyPr wrap="square">
              <a:spAutoFit/>
            </a:bodyPr>
            <a:lstStyle/>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1600" b="1" i="0" u="none" strike="noStrike" kern="0" cap="none" spc="0" normalizeH="0" baseline="0" noProof="0">
                  <a:ln>
                    <a:noFill/>
                  </a:ln>
                  <a:solidFill>
                    <a:srgbClr val="646464"/>
                  </a:solidFill>
                  <a:effectLst/>
                  <a:uLnTx/>
                  <a:uFillTx/>
                  <a:latin typeface="Arial"/>
                  <a:ea typeface="+mn-ea"/>
                  <a:cs typeface="+mn-cs"/>
                </a:rPr>
                <a:t>Working sessions to specify Use Cases</a:t>
              </a:r>
              <a:endParaRPr kumimoji="0" lang="en-US" sz="1600" b="1" i="0" u="none" strike="noStrike" kern="0" cap="none" spc="0" normalizeH="0" baseline="0" noProof="0">
                <a:ln>
                  <a:noFill/>
                </a:ln>
                <a:solidFill>
                  <a:srgbClr val="646464"/>
                </a:solidFill>
                <a:effectLst/>
                <a:highlight>
                  <a:srgbClr val="FFFF00"/>
                </a:highlight>
                <a:uLnTx/>
                <a:uFillTx/>
                <a:latin typeface="Arial"/>
                <a:ea typeface="+mn-ea"/>
                <a:cs typeface="+mn-cs"/>
              </a:endParaRPr>
            </a:p>
            <a:p>
              <a:pPr marL="171450" marR="0" lvl="0" indent="-171450" algn="l" defTabSz="914400" rtl="0" eaLnBrk="1" fontAlgn="auto" latinLnBrk="0" hangingPunct="1">
                <a:spcBef>
                  <a:spcPts val="0"/>
                </a:spcBef>
                <a:buClrTx/>
                <a:buSzTx/>
                <a:buFont typeface="Arial" panose="020B0604020202020204" pitchFamily="34" charset="0"/>
                <a:buChar char="•"/>
                <a:tabLst/>
                <a:defRPr/>
              </a:pPr>
              <a:r>
                <a:rPr kumimoji="0" lang="en-US" sz="900" b="0" i="0" u="none" strike="noStrike" kern="0" cap="none" spc="0" normalizeH="0" baseline="0" noProof="0">
                  <a:ln>
                    <a:noFill/>
                  </a:ln>
                  <a:solidFill>
                    <a:srgbClr val="646464"/>
                  </a:solidFill>
                  <a:effectLst/>
                  <a:uLnTx/>
                  <a:uFillTx/>
                  <a:latin typeface="Arial"/>
                  <a:ea typeface="+mn-ea"/>
                  <a:cs typeface="+mn-cs"/>
                </a:rPr>
                <a:t>Data foundation with Carrie Olmstead &amp; Steve Harker (</a:t>
              </a:r>
              <a:r>
                <a:rPr lang="en-US" sz="900" kern="0">
                  <a:solidFill>
                    <a:srgbClr val="646464"/>
                  </a:solidFill>
                  <a:latin typeface="Arial"/>
                </a:rPr>
                <a:t>TBS</a:t>
              </a:r>
              <a:r>
                <a:rPr kumimoji="0" lang="en-US" sz="900" b="0" i="0" u="none" strike="noStrike" kern="0" cap="none" spc="0" normalizeH="0" baseline="0" noProof="0">
                  <a:ln>
                    <a:noFill/>
                  </a:ln>
                  <a:solidFill>
                    <a:srgbClr val="646464"/>
                  </a:solidFill>
                  <a:effectLst/>
                  <a:uLnTx/>
                  <a:uFillTx/>
                  <a:latin typeface="Arial"/>
                  <a:ea typeface="+mn-ea"/>
                  <a:cs typeface="+mn-cs"/>
                </a:rPr>
                <a:t>)</a:t>
              </a:r>
            </a:p>
            <a:p>
              <a:pPr marL="171450" marR="0" lvl="0" indent="-171450" algn="l" defTabSz="914400" rtl="0" eaLnBrk="1" fontAlgn="auto" latinLnBrk="0" hangingPunct="1">
                <a:spcBef>
                  <a:spcPts val="0"/>
                </a:spcBef>
                <a:buClrTx/>
                <a:buSzTx/>
                <a:buFont typeface="Arial" panose="020B0604020202020204" pitchFamily="34" charset="0"/>
                <a:buChar char="•"/>
                <a:tabLst/>
                <a:defRPr/>
              </a:pPr>
              <a:r>
                <a:rPr kumimoji="0" lang="en-US" sz="900" b="0" i="0" u="none" strike="noStrike" kern="0" cap="none" spc="0" normalizeH="0" baseline="0" noProof="0">
                  <a:ln>
                    <a:noFill/>
                  </a:ln>
                  <a:solidFill>
                    <a:srgbClr val="646464"/>
                  </a:solidFill>
                  <a:effectLst/>
                  <a:uLnTx/>
                  <a:uFillTx/>
                  <a:latin typeface="Arial"/>
                  <a:ea typeface="+mn-ea"/>
                  <a:cs typeface="+mn-cs"/>
                </a:rPr>
                <a:t>Analytics with Stuart Donald &amp; team (22/2, 24/2 + 28/2)</a:t>
              </a:r>
            </a:p>
            <a:p>
              <a:pPr marL="171450" marR="0" lvl="0" indent="-171450" algn="l" defTabSz="914400" rtl="0" eaLnBrk="1" fontAlgn="auto" latinLnBrk="0" hangingPunct="1">
                <a:spcBef>
                  <a:spcPts val="0"/>
                </a:spcBef>
                <a:buClrTx/>
                <a:buSzTx/>
                <a:buFont typeface="Arial" panose="020B0604020202020204" pitchFamily="34" charset="0"/>
                <a:buChar char="•"/>
                <a:tabLst/>
                <a:defRPr/>
              </a:pPr>
              <a:r>
                <a:rPr lang="en-US" sz="900" kern="0">
                  <a:solidFill>
                    <a:srgbClr val="646464"/>
                  </a:solidFill>
                  <a:latin typeface="Arial"/>
                </a:rPr>
                <a:t>TBD</a:t>
              </a:r>
              <a:endParaRPr kumimoji="0" lang="en-US" sz="900" b="0" i="0" u="none" strike="noStrike" kern="0" cap="none" spc="0" normalizeH="0" baseline="0" noProof="0">
                <a:ln>
                  <a:noFill/>
                </a:ln>
                <a:solidFill>
                  <a:srgbClr val="646464"/>
                </a:solidFill>
                <a:effectLst/>
                <a:uLnTx/>
                <a:uFillTx/>
                <a:latin typeface="Arial"/>
                <a:ea typeface="+mn-ea"/>
                <a:cs typeface="+mn-cs"/>
              </a:endParaRPr>
            </a:p>
          </p:txBody>
        </p:sp>
      </p:grpSp>
      <p:grpSp>
        <p:nvGrpSpPr>
          <p:cNvPr id="40" name="Group 39">
            <a:extLst>
              <a:ext uri="{FF2B5EF4-FFF2-40B4-BE49-F238E27FC236}">
                <a16:creationId xmlns:a16="http://schemas.microsoft.com/office/drawing/2014/main" id="{B45F398E-CD6B-48D2-B085-D870755C9561}"/>
              </a:ext>
            </a:extLst>
          </p:cNvPr>
          <p:cNvGrpSpPr/>
          <p:nvPr/>
        </p:nvGrpSpPr>
        <p:grpSpPr>
          <a:xfrm>
            <a:off x="8644213" y="1015230"/>
            <a:ext cx="2799946" cy="2520000"/>
            <a:chOff x="776245" y="1192328"/>
            <a:chExt cx="2799946" cy="2520000"/>
          </a:xfrm>
        </p:grpSpPr>
        <p:sp>
          <p:nvSpPr>
            <p:cNvPr id="41" name="Oval 40">
              <a:extLst>
                <a:ext uri="{FF2B5EF4-FFF2-40B4-BE49-F238E27FC236}">
                  <a16:creationId xmlns:a16="http://schemas.microsoft.com/office/drawing/2014/main" id="{9775A36A-02C6-42F1-9912-A613C9179EFD}"/>
                </a:ext>
              </a:extLst>
            </p:cNvPr>
            <p:cNvSpPr/>
            <p:nvPr/>
          </p:nvSpPr>
          <p:spPr>
            <a:xfrm>
              <a:off x="1056191" y="1192328"/>
              <a:ext cx="2520000" cy="2520000"/>
            </a:xfrm>
            <a:prstGeom prst="ellipse">
              <a:avLst/>
            </a:prstGeom>
            <a:solidFill>
              <a:srgbClr val="F0F0F0"/>
            </a:solidFill>
            <a:ln w="952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FFFFFF"/>
                </a:solidFill>
                <a:effectLst/>
                <a:uLnTx/>
                <a:uFillTx/>
                <a:latin typeface="Arial"/>
                <a:ea typeface="+mn-ea"/>
                <a:cs typeface="+mn-cs"/>
              </a:endParaRPr>
            </a:p>
          </p:txBody>
        </p:sp>
        <p:sp>
          <p:nvSpPr>
            <p:cNvPr id="42" name="Rechteck 24">
              <a:extLst>
                <a:ext uri="{FF2B5EF4-FFF2-40B4-BE49-F238E27FC236}">
                  <a16:creationId xmlns:a16="http://schemas.microsoft.com/office/drawing/2014/main" id="{1E000B33-CED1-4D2D-AE99-7D771D2931FC}"/>
                </a:ext>
              </a:extLst>
            </p:cNvPr>
            <p:cNvSpPr/>
            <p:nvPr/>
          </p:nvSpPr>
          <p:spPr bwMode="gray">
            <a:xfrm>
              <a:off x="1664919" y="1626624"/>
              <a:ext cx="1712807" cy="1525289"/>
            </a:xfrm>
            <a:prstGeom prst="rect">
              <a:avLst/>
            </a:prstGeom>
            <a:noFill/>
            <a:ln w="25400" cap="flat" cmpd="sng" algn="ctr">
              <a:noFill/>
              <a:prstDash val="solid"/>
            </a:ln>
            <a:effectLst/>
          </p:spPr>
          <p:txBody>
            <a:bodyPr wrap="square">
              <a:spAutoFit/>
            </a:bodyPr>
            <a:lstStyle/>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1600" b="1" i="0" u="none" strike="noStrike" kern="0" cap="none" spc="0" normalizeH="0" baseline="0" noProof="0">
                  <a:ln>
                    <a:noFill/>
                  </a:ln>
                  <a:solidFill>
                    <a:srgbClr val="646464"/>
                  </a:solidFill>
                  <a:effectLst/>
                  <a:uLnTx/>
                  <a:uFillTx/>
                  <a:latin typeface="Arial"/>
                  <a:ea typeface="+mn-ea"/>
                  <a:cs typeface="+mn-cs"/>
                </a:rPr>
                <a:t>Determine data strategy lead + executive sponsor</a:t>
              </a:r>
              <a:endParaRPr kumimoji="0" lang="en-US" sz="1600" b="1" i="0" u="none" strike="noStrike" kern="0" cap="none" spc="0" normalizeH="0" baseline="0" noProof="0">
                <a:ln>
                  <a:noFill/>
                </a:ln>
                <a:solidFill>
                  <a:srgbClr val="646464"/>
                </a:solidFill>
                <a:effectLst/>
                <a:highlight>
                  <a:srgbClr val="FFFF00"/>
                </a:highlight>
                <a:uLnTx/>
                <a:uFillTx/>
                <a:latin typeface="Arial"/>
                <a:ea typeface="+mn-ea"/>
                <a:cs typeface="+mn-cs"/>
              </a:endParaRPr>
            </a:p>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900" b="0" i="0" u="none" strike="noStrike" kern="0" cap="none" spc="0" normalizeH="0" baseline="0" noProof="0">
                  <a:ln>
                    <a:noFill/>
                  </a:ln>
                  <a:solidFill>
                    <a:srgbClr val="646464"/>
                  </a:solidFill>
                  <a:effectLst/>
                  <a:uLnTx/>
                  <a:uFillTx/>
                  <a:latin typeface="Arial"/>
                  <a:ea typeface="+mn-ea"/>
                  <a:cs typeface="+mn-cs"/>
                </a:rPr>
                <a:t>Define data strategy implementation plan and program set up</a:t>
              </a:r>
            </a:p>
          </p:txBody>
        </p:sp>
        <p:sp>
          <p:nvSpPr>
            <p:cNvPr id="43" name="Oval 42">
              <a:extLst>
                <a:ext uri="{FF2B5EF4-FFF2-40B4-BE49-F238E27FC236}">
                  <a16:creationId xmlns:a16="http://schemas.microsoft.com/office/drawing/2014/main" id="{6CF82C0E-7330-4BA7-A9F7-C0AC4FFC078C}"/>
                </a:ext>
              </a:extLst>
            </p:cNvPr>
            <p:cNvSpPr/>
            <p:nvPr/>
          </p:nvSpPr>
          <p:spPr>
            <a:xfrm>
              <a:off x="776245" y="1975948"/>
              <a:ext cx="750744" cy="750744"/>
            </a:xfrm>
            <a:prstGeom prst="ellipse">
              <a:avLst/>
            </a:prstGeom>
            <a:solidFill>
              <a:srgbClr val="FFC000"/>
            </a:solidFill>
            <a:ln w="57150" cap="flat" cmpd="sng" algn="ctr">
              <a:solidFill>
                <a:srgbClr val="F0F0F0"/>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FFFFFF"/>
                  </a:solidFill>
                  <a:effectLst/>
                  <a:uLnTx/>
                  <a:uFillTx/>
                  <a:latin typeface="Arial"/>
                  <a:ea typeface="+mn-ea"/>
                  <a:cs typeface="+mn-cs"/>
                </a:rPr>
                <a:t>05</a:t>
              </a:r>
              <a:endParaRPr kumimoji="0" lang="en-IN" sz="3200" b="1" i="0" u="none" strike="noStrike" kern="0" cap="none" spc="0" normalizeH="0" baseline="0" noProof="0">
                <a:ln>
                  <a:noFill/>
                </a:ln>
                <a:solidFill>
                  <a:srgbClr val="FFFFFF"/>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ED40DF29-83D7-463A-A66A-5E147A1B9138}"/>
                </a:ext>
              </a:extLst>
            </p:cNvPr>
            <p:cNvCxnSpPr/>
            <p:nvPr/>
          </p:nvCxnSpPr>
          <p:spPr>
            <a:xfrm>
              <a:off x="1652845" y="1506654"/>
              <a:ext cx="0" cy="1820416"/>
            </a:xfrm>
            <a:prstGeom prst="line">
              <a:avLst/>
            </a:prstGeom>
            <a:noFill/>
            <a:ln w="19050" cap="flat" cmpd="sng" algn="ctr">
              <a:solidFill>
                <a:srgbClr val="C0C0C0"/>
              </a:solidFill>
              <a:prstDash val="solid"/>
              <a:tailEnd type="none"/>
            </a:ln>
            <a:effectLst/>
          </p:spPr>
        </p:cxnSp>
      </p:grpSp>
      <p:pic>
        <p:nvPicPr>
          <p:cNvPr id="9" name="Graphic 8" descr="Checkmark with solid fill">
            <a:extLst>
              <a:ext uri="{FF2B5EF4-FFF2-40B4-BE49-F238E27FC236}">
                <a16:creationId xmlns:a16="http://schemas.microsoft.com/office/drawing/2014/main" id="{E95D64F8-D8F5-44BF-B640-AA7250FB60A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23954" y="1266912"/>
            <a:ext cx="720000" cy="720000"/>
          </a:xfrm>
          <a:prstGeom prst="rect">
            <a:avLst/>
          </a:prstGeom>
        </p:spPr>
      </p:pic>
    </p:spTree>
    <p:extLst>
      <p:ext uri="{BB962C8B-B14F-4D97-AF65-F5344CB8AC3E}">
        <p14:creationId xmlns:p14="http://schemas.microsoft.com/office/powerpoint/2010/main" val="3840217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2AD9DFE5-CD45-451A-B639-C8A645413D48}"/>
              </a:ext>
            </a:extLst>
          </p:cNvPr>
          <p:cNvGraphicFramePr>
            <a:graphicFrameLocks noGrp="1"/>
          </p:cNvGraphicFramePr>
          <p:nvPr>
            <p:extLst>
              <p:ext uri="{D42A27DB-BD31-4B8C-83A1-F6EECF244321}">
                <p14:modId xmlns:p14="http://schemas.microsoft.com/office/powerpoint/2010/main" val="3343662847"/>
              </p:ext>
            </p:extLst>
          </p:nvPr>
        </p:nvGraphicFramePr>
        <p:xfrm>
          <a:off x="799227" y="644542"/>
          <a:ext cx="10653809" cy="5708989"/>
        </p:xfrm>
        <a:graphic>
          <a:graphicData uri="http://schemas.openxmlformats.org/drawingml/2006/table">
            <a:tbl>
              <a:tblPr firstRow="1" bandRow="1">
                <a:tableStyleId>{5C22544A-7EE6-4342-B048-85BDC9FD1C3A}</a:tableStyleId>
              </a:tblPr>
              <a:tblGrid>
                <a:gridCol w="3726007">
                  <a:extLst>
                    <a:ext uri="{9D8B030D-6E8A-4147-A177-3AD203B41FA5}">
                      <a16:colId xmlns:a16="http://schemas.microsoft.com/office/drawing/2014/main" val="1648820446"/>
                    </a:ext>
                  </a:extLst>
                </a:gridCol>
                <a:gridCol w="494843">
                  <a:extLst>
                    <a:ext uri="{9D8B030D-6E8A-4147-A177-3AD203B41FA5}">
                      <a16:colId xmlns:a16="http://schemas.microsoft.com/office/drawing/2014/main" val="850454519"/>
                    </a:ext>
                  </a:extLst>
                </a:gridCol>
                <a:gridCol w="494843">
                  <a:extLst>
                    <a:ext uri="{9D8B030D-6E8A-4147-A177-3AD203B41FA5}">
                      <a16:colId xmlns:a16="http://schemas.microsoft.com/office/drawing/2014/main" val="3406338997"/>
                    </a:ext>
                  </a:extLst>
                </a:gridCol>
                <a:gridCol w="494843">
                  <a:extLst>
                    <a:ext uri="{9D8B030D-6E8A-4147-A177-3AD203B41FA5}">
                      <a16:colId xmlns:a16="http://schemas.microsoft.com/office/drawing/2014/main" val="3581590261"/>
                    </a:ext>
                  </a:extLst>
                </a:gridCol>
                <a:gridCol w="494843">
                  <a:extLst>
                    <a:ext uri="{9D8B030D-6E8A-4147-A177-3AD203B41FA5}">
                      <a16:colId xmlns:a16="http://schemas.microsoft.com/office/drawing/2014/main" val="1468393568"/>
                    </a:ext>
                  </a:extLst>
                </a:gridCol>
                <a:gridCol w="494843">
                  <a:extLst>
                    <a:ext uri="{9D8B030D-6E8A-4147-A177-3AD203B41FA5}">
                      <a16:colId xmlns:a16="http://schemas.microsoft.com/office/drawing/2014/main" val="3084616879"/>
                    </a:ext>
                  </a:extLst>
                </a:gridCol>
                <a:gridCol w="494843">
                  <a:extLst>
                    <a:ext uri="{9D8B030D-6E8A-4147-A177-3AD203B41FA5}">
                      <a16:colId xmlns:a16="http://schemas.microsoft.com/office/drawing/2014/main" val="4002918852"/>
                    </a:ext>
                  </a:extLst>
                </a:gridCol>
                <a:gridCol w="494843">
                  <a:extLst>
                    <a:ext uri="{9D8B030D-6E8A-4147-A177-3AD203B41FA5}">
                      <a16:colId xmlns:a16="http://schemas.microsoft.com/office/drawing/2014/main" val="3490210227"/>
                    </a:ext>
                  </a:extLst>
                </a:gridCol>
                <a:gridCol w="494843">
                  <a:extLst>
                    <a:ext uri="{9D8B030D-6E8A-4147-A177-3AD203B41FA5}">
                      <a16:colId xmlns:a16="http://schemas.microsoft.com/office/drawing/2014/main" val="2397761303"/>
                    </a:ext>
                  </a:extLst>
                </a:gridCol>
                <a:gridCol w="494843">
                  <a:extLst>
                    <a:ext uri="{9D8B030D-6E8A-4147-A177-3AD203B41FA5}">
                      <a16:colId xmlns:a16="http://schemas.microsoft.com/office/drawing/2014/main" val="1532130319"/>
                    </a:ext>
                  </a:extLst>
                </a:gridCol>
                <a:gridCol w="494843">
                  <a:extLst>
                    <a:ext uri="{9D8B030D-6E8A-4147-A177-3AD203B41FA5}">
                      <a16:colId xmlns:a16="http://schemas.microsoft.com/office/drawing/2014/main" val="3431231276"/>
                    </a:ext>
                  </a:extLst>
                </a:gridCol>
                <a:gridCol w="494843">
                  <a:extLst>
                    <a:ext uri="{9D8B030D-6E8A-4147-A177-3AD203B41FA5}">
                      <a16:colId xmlns:a16="http://schemas.microsoft.com/office/drawing/2014/main" val="2641460838"/>
                    </a:ext>
                  </a:extLst>
                </a:gridCol>
                <a:gridCol w="494843">
                  <a:extLst>
                    <a:ext uri="{9D8B030D-6E8A-4147-A177-3AD203B41FA5}">
                      <a16:colId xmlns:a16="http://schemas.microsoft.com/office/drawing/2014/main" val="2221832226"/>
                    </a:ext>
                  </a:extLst>
                </a:gridCol>
                <a:gridCol w="494843">
                  <a:extLst>
                    <a:ext uri="{9D8B030D-6E8A-4147-A177-3AD203B41FA5}">
                      <a16:colId xmlns:a16="http://schemas.microsoft.com/office/drawing/2014/main" val="1509234381"/>
                    </a:ext>
                  </a:extLst>
                </a:gridCol>
                <a:gridCol w="494843">
                  <a:extLst>
                    <a:ext uri="{9D8B030D-6E8A-4147-A177-3AD203B41FA5}">
                      <a16:colId xmlns:a16="http://schemas.microsoft.com/office/drawing/2014/main" val="3810792280"/>
                    </a:ext>
                  </a:extLst>
                </a:gridCol>
              </a:tblGrid>
              <a:tr h="152185">
                <a:tc>
                  <a:txBody>
                    <a:bodyPr/>
                    <a:lstStyle/>
                    <a:p>
                      <a:pPr algn="l"/>
                      <a:r>
                        <a:rPr lang="en-US" sz="1200" b="0">
                          <a:solidFill>
                            <a:schemeClr val="accent1">
                              <a:lumMod val="50000"/>
                            </a:schemeClr>
                          </a:solidFill>
                        </a:rPr>
                        <a:t>Activities</a:t>
                      </a:r>
                      <a:endParaRPr lang="nl-NL" sz="1200" b="0">
                        <a:solidFill>
                          <a:schemeClr val="accent1">
                            <a:lumMod val="50000"/>
                          </a:schemeClr>
                        </a:solidFill>
                      </a:endParaRPr>
                    </a:p>
                  </a:txBody>
                  <a:tcPr>
                    <a:lnR w="12700" cap="flat" cmpd="sng" algn="ctr">
                      <a:solidFill>
                        <a:schemeClr val="tx1"/>
                      </a:solidFill>
                      <a:prstDash val="solid"/>
                      <a:round/>
                      <a:headEnd type="none" w="med" len="med"/>
                      <a:tailEnd type="none" w="med" len="med"/>
                    </a:lnR>
                    <a:solidFill>
                      <a:schemeClr val="bg1"/>
                    </a:solidFill>
                  </a:tcPr>
                </a:tc>
                <a:tc gridSpan="4">
                  <a:txBody>
                    <a:bodyPr/>
                    <a:lstStyle/>
                    <a:p>
                      <a:pPr algn="ctr"/>
                      <a:r>
                        <a:rPr lang="nl-NL" sz="1000" b="0"/>
                        <a:t>December 21’</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nl-NL"/>
                    </a:p>
                  </a:txBody>
                  <a:tcPr/>
                </a:tc>
                <a:tc hMerge="1">
                  <a:txBody>
                    <a:bodyPr/>
                    <a:lstStyle/>
                    <a:p>
                      <a:pPr algn="ctr"/>
                      <a:r>
                        <a:rPr lang="en-US" sz="1600" b="0"/>
                        <a:t>Sprint 1</a:t>
                      </a:r>
                      <a:endParaRPr lang="nl-NL" sz="1600" b="0"/>
                    </a:p>
                  </a:txBody>
                  <a:tcPr anchor="ctr"/>
                </a:tc>
                <a:tc hMerge="1">
                  <a:txBody>
                    <a:bodyPr/>
                    <a:lstStyle/>
                    <a:p>
                      <a:endParaRPr lang="nl-NL"/>
                    </a:p>
                  </a:txBody>
                  <a:tcPr/>
                </a:tc>
                <a:tc gridSpan="4">
                  <a:txBody>
                    <a:bodyPr/>
                    <a:lstStyle/>
                    <a:p>
                      <a:pPr algn="ctr"/>
                      <a:r>
                        <a:rPr lang="en-US" sz="1000" b="0"/>
                        <a:t>January 22’</a:t>
                      </a:r>
                      <a:endParaRPr lang="nl-NL" sz="1000" b="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nl-NL"/>
                    </a:p>
                  </a:txBody>
                  <a:tcPr/>
                </a:tc>
                <a:tc hMerge="1">
                  <a:txBody>
                    <a:bodyPr/>
                    <a:lstStyle/>
                    <a:p>
                      <a:pPr algn="ctr"/>
                      <a:endParaRPr lang="nl-NL" sz="1600" b="0"/>
                    </a:p>
                  </a:txBody>
                  <a:tcPr anchor="ctr"/>
                </a:tc>
                <a:tc hMerge="1">
                  <a:txBody>
                    <a:bodyPr/>
                    <a:lstStyle/>
                    <a:p>
                      <a:endParaRPr lang="nl-NL"/>
                    </a:p>
                  </a:txBody>
                  <a:tcPr/>
                </a:tc>
                <a:tc gridSpan="4">
                  <a:txBody>
                    <a:bodyPr/>
                    <a:lstStyle/>
                    <a:p>
                      <a:pPr algn="ctr"/>
                      <a:r>
                        <a:rPr lang="en-US" sz="1000" b="0"/>
                        <a:t>February 22’</a:t>
                      </a:r>
                      <a:endParaRPr lang="nl-NL" sz="1000" b="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nl-NL"/>
                    </a:p>
                  </a:txBody>
                  <a:tcPr/>
                </a:tc>
                <a:tc hMerge="1">
                  <a:txBody>
                    <a:bodyPr/>
                    <a:lstStyle/>
                    <a:p>
                      <a:pPr algn="ctr"/>
                      <a:endParaRPr lang="nl-NL" sz="1600" b="0" i="1"/>
                    </a:p>
                  </a:txBody>
                  <a:tcPr anchor="ctr"/>
                </a:tc>
                <a:tc hMerge="1">
                  <a:txBody>
                    <a:bodyPr/>
                    <a:lstStyle/>
                    <a:p>
                      <a:pPr algn="ctr"/>
                      <a:endParaRPr lang="nl-NL" sz="1600" b="0"/>
                    </a:p>
                  </a:txBody>
                  <a:tcPr anchor="ctr">
                    <a:lnB w="12700" cap="flat" cmpd="sng" algn="ctr">
                      <a:solidFill>
                        <a:srgbClr val="FFFFFF"/>
                      </a:solidFill>
                      <a:prstDash val="solid"/>
                      <a:round/>
                      <a:headEnd type="none" w="med" len="med"/>
                      <a:tailEnd type="none" w="med" len="med"/>
                    </a:lnB>
                  </a:tcPr>
                </a:tc>
                <a:tc gridSpan="2">
                  <a:txBody>
                    <a:bodyPr/>
                    <a:lstStyle/>
                    <a:p>
                      <a:pPr algn="ctr"/>
                      <a:r>
                        <a:rPr lang="nl-NL" sz="1000" b="0"/>
                        <a:t>March 22’</a:t>
                      </a: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nl-NL" sz="1200" b="0"/>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3358485"/>
                  </a:ext>
                </a:extLst>
              </a:tr>
              <a:tr h="306732">
                <a:tc>
                  <a:txBody>
                    <a:bodyPr/>
                    <a:lstStyle/>
                    <a:p>
                      <a:endParaRPr lang="en-US"/>
                    </a:p>
                  </a:txBody>
                  <a:tcPr>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chemeClr val="bg1"/>
                          </a:solidFill>
                          <a:effectLst/>
                          <a:latin typeface="Calibri" panose="020F0502020204030204" pitchFamily="34" charset="0"/>
                        </a:rPr>
                        <a:t>6.12 - 10.12</a:t>
                      </a:r>
                    </a:p>
                  </a:txBody>
                  <a:tcPr marL="7620" marR="7620" marT="7620" marB="0" anchor="ctr">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13.12 - 17.1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20.12 - 24.1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27.12 - 31.1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3.1 - 7.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10.1 - 14.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17.1 - 21.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l" fontAlgn="b"/>
                      <a:r>
                        <a:rPr lang="en-US" sz="800" b="0" i="0" u="none" strike="noStrike">
                          <a:solidFill>
                            <a:schemeClr val="bg1"/>
                          </a:solidFill>
                          <a:effectLst/>
                          <a:latin typeface="Calibri" panose="020F0502020204030204" pitchFamily="34" charset="0"/>
                        </a:rPr>
                        <a:t>24.1 - 28.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31.1 - 4.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7.2 - 11.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14.2 - 18.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21.2 - 25.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28.2 - 4.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tc>
                  <a:txBody>
                    <a:bodyPr/>
                    <a:lstStyle/>
                    <a:p>
                      <a:pPr algn="ctr" fontAlgn="b"/>
                      <a:r>
                        <a:rPr lang="en-US" sz="800" b="0" i="0" u="none" strike="noStrike">
                          <a:solidFill>
                            <a:schemeClr val="bg1"/>
                          </a:solidFill>
                          <a:effectLst/>
                          <a:latin typeface="Calibri" panose="020F0502020204030204" pitchFamily="34" charset="0"/>
                        </a:rPr>
                        <a:t>7.3 - 11.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395762895"/>
                  </a:ext>
                </a:extLst>
              </a:tr>
              <a:tr h="291002">
                <a:tc>
                  <a:txBody>
                    <a:bodyPr/>
                    <a:lstStyle/>
                    <a:p>
                      <a:pPr algn="l" fontAlgn="t"/>
                      <a:r>
                        <a:rPr lang="en-US" sz="900" b="0" i="0" u="none" strike="noStrike">
                          <a:solidFill>
                            <a:schemeClr val="tx1"/>
                          </a:solidFill>
                          <a:effectLst/>
                          <a:latin typeface="+mn-lt"/>
                        </a:rPr>
                        <a:t>1. 1 Send a </a:t>
                      </a:r>
                      <a:r>
                        <a:rPr lang="en-US" sz="900" b="1" i="0" u="none" strike="noStrike">
                          <a:solidFill>
                            <a:schemeClr val="tx1"/>
                          </a:solidFill>
                          <a:effectLst/>
                          <a:latin typeface="+mn-lt"/>
                        </a:rPr>
                        <a:t>kick-off email</a:t>
                      </a:r>
                      <a:r>
                        <a:rPr lang="en-US" sz="900" b="0" i="0" u="none" strike="noStrike">
                          <a:solidFill>
                            <a:schemeClr val="tx1"/>
                          </a:solidFill>
                          <a:effectLst/>
                          <a:latin typeface="+mn-lt"/>
                        </a:rPr>
                        <a:t>, define detailed scope and project plan including governance and request relevant documentation</a:t>
                      </a:r>
                    </a:p>
                  </a:txBody>
                  <a:tcPr marL="7620" marR="7620" marT="762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74203863"/>
                  </a:ext>
                </a:extLst>
              </a:tr>
              <a:tr h="558694">
                <a:tc>
                  <a:txBody>
                    <a:bodyPr/>
                    <a:lstStyle/>
                    <a:p>
                      <a:pPr marL="0" algn="l" defTabSz="913943" rtl="0" eaLnBrk="1" fontAlgn="t" latinLnBrk="0" hangingPunct="1"/>
                      <a:r>
                        <a:rPr lang="en-US" sz="900" b="0" kern="1200">
                          <a:solidFill>
                            <a:schemeClr val="tx1"/>
                          </a:solidFill>
                          <a:latin typeface="+mn-lt"/>
                          <a:ea typeface="+mn-ea"/>
                          <a:cs typeface="+mn-cs"/>
                        </a:rPr>
                        <a:t>1.2 Determine </a:t>
                      </a:r>
                      <a:r>
                        <a:rPr lang="en-US" sz="900" b="1" kern="1200">
                          <a:solidFill>
                            <a:schemeClr val="tx1"/>
                          </a:solidFill>
                          <a:latin typeface="+mn-lt"/>
                          <a:ea typeface="+mn-ea"/>
                          <a:cs typeface="+mn-cs"/>
                        </a:rPr>
                        <a:t>stakeholders and change initiative representatives </a:t>
                      </a:r>
                      <a:r>
                        <a:rPr lang="en-US" sz="900" b="0" kern="1200">
                          <a:solidFill>
                            <a:schemeClr val="tx1"/>
                          </a:solidFill>
                          <a:latin typeface="+mn-lt"/>
                          <a:ea typeface="+mn-ea"/>
                          <a:cs typeface="+mn-cs"/>
                        </a:rPr>
                        <a:t>across data teams in Aegon AM and also in Aegon Group, </a:t>
                      </a:r>
                      <a:r>
                        <a:rPr lang="en-US" sz="900" b="1" kern="1200">
                          <a:solidFill>
                            <a:schemeClr val="tx1"/>
                          </a:solidFill>
                          <a:latin typeface="+mn-lt"/>
                          <a:ea typeface="+mn-ea"/>
                          <a:cs typeface="+mn-cs"/>
                        </a:rPr>
                        <a:t>draft a communication plan </a:t>
                      </a:r>
                      <a:r>
                        <a:rPr lang="en-US" sz="900" b="0" kern="1200">
                          <a:solidFill>
                            <a:schemeClr val="tx1"/>
                          </a:solidFill>
                          <a:latin typeface="+mn-lt"/>
                          <a:ea typeface="+mn-ea"/>
                          <a:cs typeface="+mn-cs"/>
                        </a:rPr>
                        <a:t>including the touchpoints with the change initiatives for continuous updates and alignment and schedule the Phase B workshop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82705385"/>
                  </a:ext>
                </a:extLst>
              </a:tr>
              <a:tr h="432571">
                <a:tc>
                  <a:txBody>
                    <a:bodyPr/>
                    <a:lstStyle/>
                    <a:p>
                      <a:pPr marL="0" algn="l" defTabSz="913943" rtl="0" eaLnBrk="1" fontAlgn="t" latinLnBrk="0" hangingPunct="1"/>
                      <a:r>
                        <a:rPr lang="en-US" sz="900" b="0" kern="1200">
                          <a:solidFill>
                            <a:schemeClr val="tx1"/>
                          </a:solidFill>
                          <a:latin typeface="+mn-lt"/>
                          <a:ea typeface="+mn-ea"/>
                          <a:cs typeface="+mn-cs"/>
                        </a:rPr>
                        <a:t>1.3 </a:t>
                      </a:r>
                      <a:r>
                        <a:rPr lang="en-US" sz="900" b="1" kern="1200">
                          <a:solidFill>
                            <a:schemeClr val="tx1"/>
                          </a:solidFill>
                          <a:latin typeface="+mn-lt"/>
                          <a:ea typeface="+mn-ea"/>
                          <a:cs typeface="+mn-cs"/>
                        </a:rPr>
                        <a:t>Conduct interviews </a:t>
                      </a:r>
                      <a:r>
                        <a:rPr lang="en-US" sz="900" b="0" kern="1200">
                          <a:solidFill>
                            <a:schemeClr val="tx1"/>
                          </a:solidFill>
                          <a:latin typeface="+mn-lt"/>
                          <a:ea typeface="+mn-ea"/>
                          <a:cs typeface="+mn-cs"/>
                        </a:rPr>
                        <a:t>to understand Aegon’s business strategy including (if any) its innovation objectives, its </a:t>
                      </a:r>
                      <a:r>
                        <a:rPr lang="en-US" sz="900" b="1" kern="1200">
                          <a:solidFill>
                            <a:schemeClr val="tx1"/>
                          </a:solidFill>
                          <a:latin typeface="+mn-lt"/>
                          <a:ea typeface="+mn-ea"/>
                          <a:cs typeface="+mn-cs"/>
                        </a:rPr>
                        <a:t>current data strategy</a:t>
                      </a:r>
                      <a:r>
                        <a:rPr lang="en-US" sz="900" b="0" kern="1200">
                          <a:solidFill>
                            <a:schemeClr val="tx1"/>
                          </a:solidFill>
                          <a:latin typeface="+mn-lt"/>
                          <a:ea typeface="+mn-ea"/>
                          <a:cs typeface="+mn-cs"/>
                        </a:rPr>
                        <a:t>, data challenges and root causes and Aegon Group vision and mission</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68458379"/>
                  </a:ext>
                </a:extLst>
              </a:tr>
              <a:tr h="291002">
                <a:tc>
                  <a:txBody>
                    <a:bodyPr/>
                    <a:lstStyle/>
                    <a:p>
                      <a:pPr marL="0" algn="l" defTabSz="913943" rtl="0" eaLnBrk="1" fontAlgn="t" latinLnBrk="0" hangingPunct="1"/>
                      <a:r>
                        <a:rPr lang="en-US" sz="900" b="0" kern="1200">
                          <a:solidFill>
                            <a:schemeClr val="tx1"/>
                          </a:solidFill>
                          <a:latin typeface="+mn-lt"/>
                          <a:ea typeface="+mn-ea"/>
                          <a:cs typeface="+mn-cs"/>
                        </a:rPr>
                        <a:t>1.4 Perform a high-level </a:t>
                      </a:r>
                      <a:r>
                        <a:rPr lang="en-US" sz="900" b="1" kern="1200">
                          <a:solidFill>
                            <a:schemeClr val="tx1"/>
                          </a:solidFill>
                          <a:latin typeface="+mn-lt"/>
                          <a:ea typeface="+mn-ea"/>
                          <a:cs typeface="+mn-cs"/>
                        </a:rPr>
                        <a:t>data culture assessment </a:t>
                      </a:r>
                      <a:r>
                        <a:rPr lang="en-US" sz="900" b="0" kern="1200">
                          <a:solidFill>
                            <a:schemeClr val="tx1"/>
                          </a:solidFill>
                          <a:latin typeface="+mn-lt"/>
                          <a:ea typeface="+mn-ea"/>
                          <a:cs typeface="+mn-cs"/>
                        </a:rPr>
                        <a:t>including data awareness, data literacy, data advocacy and data practic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28106471"/>
                  </a:ext>
                </a:extLst>
              </a:tr>
              <a:tr h="291002">
                <a:tc>
                  <a:txBody>
                    <a:bodyPr/>
                    <a:lstStyle/>
                    <a:p>
                      <a:pPr marL="0" algn="l" defTabSz="913943" rtl="0" eaLnBrk="1" fontAlgn="t" latinLnBrk="0" hangingPunct="1"/>
                      <a:r>
                        <a:rPr lang="en-US" sz="900" b="0" kern="1200">
                          <a:solidFill>
                            <a:schemeClr val="tx1"/>
                          </a:solidFill>
                          <a:latin typeface="+mn-lt"/>
                          <a:ea typeface="+mn-ea"/>
                          <a:cs typeface="+mn-cs"/>
                        </a:rPr>
                        <a:t>1.5 Conduct </a:t>
                      </a:r>
                      <a:r>
                        <a:rPr lang="en-US" sz="900" b="1" kern="1200">
                          <a:solidFill>
                            <a:schemeClr val="tx1"/>
                          </a:solidFill>
                          <a:latin typeface="+mn-lt"/>
                          <a:ea typeface="+mn-ea"/>
                          <a:cs typeface="+mn-cs"/>
                        </a:rPr>
                        <a:t>a desk research </a:t>
                      </a:r>
                      <a:r>
                        <a:rPr lang="en-US" sz="900" b="0" kern="1200">
                          <a:solidFill>
                            <a:schemeClr val="tx1"/>
                          </a:solidFill>
                          <a:latin typeface="+mn-lt"/>
                          <a:ea typeface="+mn-ea"/>
                          <a:cs typeface="+mn-cs"/>
                        </a:rPr>
                        <a:t>to identify the market trends and data strategies of other asset manager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84137080"/>
                  </a:ext>
                </a:extLst>
              </a:tr>
              <a:tr h="279484">
                <a:tc>
                  <a:txBody>
                    <a:bodyPr/>
                    <a:lstStyle/>
                    <a:p>
                      <a:pPr marL="0" algn="l" defTabSz="913943" rtl="0" eaLnBrk="1" fontAlgn="t" latinLnBrk="0" hangingPunct="1"/>
                      <a:r>
                        <a:rPr lang="en-US" sz="900" b="0" kern="1200">
                          <a:solidFill>
                            <a:schemeClr val="tx1"/>
                          </a:solidFill>
                          <a:latin typeface="+mn-lt"/>
                          <a:ea typeface="+mn-ea"/>
                          <a:cs typeface="+mn-cs"/>
                        </a:rPr>
                        <a:t>1.6 Recommend </a:t>
                      </a:r>
                      <a:r>
                        <a:rPr lang="en-US" sz="900" b="1" kern="1200">
                          <a:solidFill>
                            <a:schemeClr val="tx1"/>
                          </a:solidFill>
                          <a:latin typeface="+mn-lt"/>
                          <a:ea typeface="+mn-ea"/>
                          <a:cs typeface="+mn-cs"/>
                        </a:rPr>
                        <a:t>elements</a:t>
                      </a:r>
                      <a:r>
                        <a:rPr lang="en-US" sz="900" b="0" kern="1200">
                          <a:solidFill>
                            <a:schemeClr val="tx1"/>
                          </a:solidFill>
                          <a:latin typeface="+mn-lt"/>
                          <a:ea typeface="+mn-ea"/>
                          <a:cs typeface="+mn-cs"/>
                        </a:rPr>
                        <a:t> of the data strategy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baseline="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447485770"/>
                  </a:ext>
                </a:extLst>
              </a:tr>
              <a:tr h="279484">
                <a:tc>
                  <a:txBody>
                    <a:bodyPr/>
                    <a:lstStyle/>
                    <a:p>
                      <a:pPr algn="l" fontAlgn="t"/>
                      <a:r>
                        <a:rPr lang="en-US" sz="900" b="0" i="0" u="none" strike="noStrike">
                          <a:solidFill>
                            <a:schemeClr val="tx1"/>
                          </a:solidFill>
                          <a:effectLst/>
                          <a:latin typeface="+mn-lt"/>
                        </a:rPr>
                        <a:t>2.1 Organize a </a:t>
                      </a:r>
                      <a:r>
                        <a:rPr lang="en-US" sz="900" b="1" i="0" u="none" strike="noStrike">
                          <a:solidFill>
                            <a:schemeClr val="tx1"/>
                          </a:solidFill>
                          <a:effectLst/>
                          <a:latin typeface="+mn-lt"/>
                        </a:rPr>
                        <a:t>knowledge sharing session </a:t>
                      </a:r>
                      <a:r>
                        <a:rPr lang="en-US" sz="900" b="0" i="0" u="none" strike="noStrike">
                          <a:solidFill>
                            <a:schemeClr val="tx1"/>
                          </a:solidFill>
                          <a:effectLst/>
                          <a:latin typeface="+mn-lt"/>
                        </a:rPr>
                        <a:t>to reflect on learnings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33671780"/>
                  </a:ext>
                </a:extLst>
              </a:tr>
              <a:tr h="432571">
                <a:tc>
                  <a:txBody>
                    <a:bodyPr/>
                    <a:lstStyle/>
                    <a:p>
                      <a:pPr algn="l" fontAlgn="t"/>
                      <a:r>
                        <a:rPr lang="en-US" sz="900" b="0" i="0" u="none" strike="noStrike">
                          <a:solidFill>
                            <a:schemeClr val="tx1"/>
                          </a:solidFill>
                          <a:effectLst/>
                          <a:latin typeface="+mn-lt"/>
                        </a:rPr>
                        <a:t>2.2 Facilitate a (series of) </a:t>
                      </a:r>
                      <a:r>
                        <a:rPr lang="en-US" sz="900" b="1" i="0" u="none" strike="noStrike">
                          <a:solidFill>
                            <a:schemeClr val="tx1"/>
                          </a:solidFill>
                          <a:effectLst/>
                          <a:latin typeface="+mn-lt"/>
                        </a:rPr>
                        <a:t>strategy workshop(s) </a:t>
                      </a:r>
                      <a:r>
                        <a:rPr lang="en-US" sz="900" b="0" i="0" u="none" strike="noStrike">
                          <a:solidFill>
                            <a:schemeClr val="tx1"/>
                          </a:solidFill>
                          <a:effectLst/>
                          <a:latin typeface="+mn-lt"/>
                        </a:rPr>
                        <a:t>involving the core team and the key stakeholders to answer the key strategy question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27229076"/>
                  </a:ext>
                </a:extLst>
              </a:tr>
              <a:tr h="291002">
                <a:tc>
                  <a:txBody>
                    <a:bodyPr/>
                    <a:lstStyle/>
                    <a:p>
                      <a:pPr algn="l" fontAlgn="t"/>
                      <a:r>
                        <a:rPr lang="en-US" sz="900" b="0" i="0" u="none" strike="noStrike">
                          <a:solidFill>
                            <a:schemeClr val="tx1"/>
                          </a:solidFill>
                          <a:effectLst/>
                          <a:latin typeface="+mn-lt"/>
                        </a:rPr>
                        <a:t>2.3 Draft the </a:t>
                      </a:r>
                      <a:r>
                        <a:rPr lang="en-US" sz="900" b="1" i="0" u="none" strike="noStrike">
                          <a:solidFill>
                            <a:schemeClr val="tx1"/>
                          </a:solidFill>
                          <a:effectLst/>
                          <a:latin typeface="+mn-lt"/>
                        </a:rPr>
                        <a:t>new data strategy </a:t>
                      </a:r>
                      <a:r>
                        <a:rPr lang="en-US" sz="900" b="0" i="0" u="none" strike="noStrike">
                          <a:solidFill>
                            <a:schemeClr val="tx1"/>
                          </a:solidFill>
                          <a:effectLst/>
                          <a:latin typeface="+mn-lt"/>
                        </a:rPr>
                        <a:t>based on the outcomes and inputs of the workshops and discuss with the core team</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35700392"/>
                  </a:ext>
                </a:extLst>
              </a:tr>
              <a:tr h="291002">
                <a:tc>
                  <a:txBody>
                    <a:bodyPr/>
                    <a:lstStyle/>
                    <a:p>
                      <a:pPr algn="l" fontAlgn="t"/>
                      <a:r>
                        <a:rPr lang="en-US" sz="900" b="0" i="0" u="none" strike="noStrike">
                          <a:solidFill>
                            <a:schemeClr val="tx1"/>
                          </a:solidFill>
                          <a:effectLst/>
                          <a:latin typeface="+mn-lt"/>
                        </a:rPr>
                        <a:t>3.1 Identify </a:t>
                      </a:r>
                      <a:r>
                        <a:rPr lang="en-US" sz="900" b="1" i="0" u="none" strike="noStrike">
                          <a:solidFill>
                            <a:schemeClr val="tx1"/>
                          </a:solidFill>
                          <a:effectLst/>
                          <a:latin typeface="+mn-lt"/>
                        </a:rPr>
                        <a:t>defensive and offensive use cases </a:t>
                      </a:r>
                      <a:r>
                        <a:rPr lang="en-US" sz="900" b="0" i="0" u="none" strike="noStrike">
                          <a:solidFill>
                            <a:schemeClr val="tx1"/>
                          </a:solidFill>
                          <a:effectLst/>
                          <a:latin typeface="+mn-lt"/>
                        </a:rPr>
                        <a:t>that create value for business in collaboration with relevant stakeholders from individual functions and busines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74616669"/>
                  </a:ext>
                </a:extLst>
              </a:tr>
              <a:tr h="432571">
                <a:tc>
                  <a:txBody>
                    <a:bodyPr/>
                    <a:lstStyle/>
                    <a:p>
                      <a:pPr algn="l" fontAlgn="t"/>
                      <a:r>
                        <a:rPr lang="en-US" sz="900" b="0" i="0" u="none" strike="noStrike">
                          <a:solidFill>
                            <a:schemeClr val="tx1"/>
                          </a:solidFill>
                          <a:effectLst/>
                          <a:latin typeface="+mn-lt"/>
                        </a:rPr>
                        <a:t>3.2 </a:t>
                      </a:r>
                      <a:r>
                        <a:rPr lang="en-US" sz="900" b="1" i="0" u="none" strike="noStrike">
                          <a:solidFill>
                            <a:schemeClr val="tx1"/>
                          </a:solidFill>
                          <a:effectLst/>
                          <a:latin typeface="+mn-lt"/>
                        </a:rPr>
                        <a:t>Assess the impact of the use cases </a:t>
                      </a:r>
                      <a:r>
                        <a:rPr lang="en-US" sz="900" b="0" i="0" u="none" strike="noStrike">
                          <a:solidFill>
                            <a:schemeClr val="tx1"/>
                          </a:solidFill>
                          <a:effectLst/>
                          <a:latin typeface="+mn-lt"/>
                        </a:rPr>
                        <a:t>in terms of commercial, risk, operational efficiency and financial control and also regarding the organizational capabilities and the data foundation</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23123834"/>
                  </a:ext>
                </a:extLst>
              </a:tr>
              <a:tr h="279484">
                <a:tc>
                  <a:txBody>
                    <a:bodyPr/>
                    <a:lstStyle/>
                    <a:p>
                      <a:pPr algn="l" fontAlgn="t"/>
                      <a:r>
                        <a:rPr lang="en-US" sz="900" b="0" i="0" u="none" strike="noStrike">
                          <a:solidFill>
                            <a:schemeClr val="tx1"/>
                          </a:solidFill>
                          <a:effectLst/>
                          <a:latin typeface="+mn-lt"/>
                        </a:rPr>
                        <a:t>3.3 </a:t>
                      </a:r>
                      <a:r>
                        <a:rPr lang="en-US" sz="900" b="1" i="0" u="none" strike="noStrike">
                          <a:solidFill>
                            <a:schemeClr val="tx1"/>
                          </a:solidFill>
                          <a:effectLst/>
                          <a:latin typeface="+mn-lt"/>
                        </a:rPr>
                        <a:t>Organize touchpoints </a:t>
                      </a:r>
                      <a:r>
                        <a:rPr lang="en-US" sz="900" b="0" i="0" u="none" strike="noStrike">
                          <a:solidFill>
                            <a:schemeClr val="tx1"/>
                          </a:solidFill>
                          <a:effectLst/>
                          <a:latin typeface="+mn-lt"/>
                        </a:rPr>
                        <a:t>to determine the impact with the other </a:t>
                      </a:r>
                      <a:r>
                        <a:rPr lang="en-US" sz="900" b="1" i="0" u="none" strike="noStrike">
                          <a:solidFill>
                            <a:schemeClr val="tx1"/>
                          </a:solidFill>
                          <a:effectLst/>
                          <a:latin typeface="+mn-lt"/>
                        </a:rPr>
                        <a:t>initiativ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38279574"/>
                  </a:ext>
                </a:extLst>
              </a:tr>
              <a:tr h="291002">
                <a:tc>
                  <a:txBody>
                    <a:bodyPr/>
                    <a:lstStyle/>
                    <a:p>
                      <a:pPr algn="l" fontAlgn="t"/>
                      <a:r>
                        <a:rPr lang="en-US" sz="900" b="0" i="0" u="none" strike="noStrike">
                          <a:solidFill>
                            <a:schemeClr val="tx1"/>
                          </a:solidFill>
                          <a:effectLst/>
                          <a:latin typeface="+mn-lt"/>
                        </a:rPr>
                        <a:t>3.4 </a:t>
                      </a:r>
                      <a:r>
                        <a:rPr lang="en-US" sz="900" b="1" i="0" u="none" strike="noStrike">
                          <a:solidFill>
                            <a:schemeClr val="tx1"/>
                          </a:solidFill>
                          <a:effectLst/>
                          <a:latin typeface="+mn-lt"/>
                        </a:rPr>
                        <a:t>Report on the findings </a:t>
                      </a:r>
                      <a:r>
                        <a:rPr lang="en-US" sz="900" b="0" i="0" u="none" strike="noStrike">
                          <a:solidFill>
                            <a:schemeClr val="tx1"/>
                          </a:solidFill>
                          <a:effectLst/>
                          <a:latin typeface="+mn-lt"/>
                        </a:rPr>
                        <a:t>by showing how balanced data control and flexibility brings each use cases including recommendation on prioritization of the use cas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93399143"/>
                  </a:ext>
                </a:extLst>
              </a:tr>
              <a:tr h="279484">
                <a:tc>
                  <a:txBody>
                    <a:bodyPr/>
                    <a:lstStyle/>
                    <a:p>
                      <a:pPr algn="l" fontAlgn="t"/>
                      <a:r>
                        <a:rPr lang="en-US" sz="900" b="0" i="0" u="none" strike="noStrike">
                          <a:solidFill>
                            <a:schemeClr val="tx1"/>
                          </a:solidFill>
                          <a:effectLst/>
                          <a:latin typeface="+mn-lt"/>
                        </a:rPr>
                        <a:t>3.5 Draft the </a:t>
                      </a:r>
                      <a:r>
                        <a:rPr lang="en-US" sz="900" b="1" i="0" u="none" strike="noStrike">
                          <a:solidFill>
                            <a:schemeClr val="tx1"/>
                          </a:solidFill>
                          <a:effectLst/>
                          <a:latin typeface="+mn-lt"/>
                        </a:rPr>
                        <a:t>roll-out roadmap </a:t>
                      </a:r>
                      <a:r>
                        <a:rPr lang="en-US" sz="900" b="0" i="0" u="none" strike="noStrike">
                          <a:solidFill>
                            <a:schemeClr val="tx1"/>
                          </a:solidFill>
                          <a:effectLst/>
                          <a:latin typeface="+mn-lt"/>
                        </a:rPr>
                        <a:t>of the new data strategy</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1653543"/>
                  </a:ext>
                </a:extLst>
              </a:tr>
              <a:tr h="279484">
                <a:tc>
                  <a:txBody>
                    <a:bodyPr/>
                    <a:lstStyle/>
                    <a:p>
                      <a:pPr algn="l" fontAlgn="t"/>
                      <a:r>
                        <a:rPr lang="en-US" sz="900" b="0" i="0" u="none" strike="noStrike">
                          <a:solidFill>
                            <a:schemeClr val="tx1"/>
                          </a:solidFill>
                          <a:effectLst/>
                          <a:latin typeface="+mn-lt"/>
                        </a:rPr>
                        <a:t>3.6 Facilitate validation workshop to </a:t>
                      </a:r>
                      <a:r>
                        <a:rPr lang="en-US" sz="900" b="1" i="0" u="none" strike="noStrike">
                          <a:solidFill>
                            <a:schemeClr val="tx1"/>
                          </a:solidFill>
                          <a:effectLst/>
                          <a:latin typeface="+mn-lt"/>
                        </a:rPr>
                        <a:t>finalize the data strategy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60000"/>
                        <a:lumOff val="40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65000"/>
                      </a:schemeClr>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0" algn="ctr" defTabSz="913943" rtl="0" eaLnBrk="1" latinLnBrk="0" hangingPunct="1"/>
                      <a:endParaRPr lang="nl-NL" sz="800" b="0" kern="1200">
                        <a:solidFill>
                          <a:schemeClr val="dk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23722589"/>
                  </a:ext>
                </a:extLst>
              </a:tr>
            </a:tbl>
          </a:graphicData>
        </a:graphic>
      </p:graphicFrame>
      <p:sp>
        <p:nvSpPr>
          <p:cNvPr id="69" name="Title 5">
            <a:extLst>
              <a:ext uri="{FF2B5EF4-FFF2-40B4-BE49-F238E27FC236}">
                <a16:creationId xmlns:a16="http://schemas.microsoft.com/office/drawing/2014/main" id="{E60DFF83-EF29-4057-AA17-C37C7E4F4DC6}"/>
              </a:ext>
            </a:extLst>
          </p:cNvPr>
          <p:cNvSpPr txBox="1">
            <a:spLocks/>
          </p:cNvSpPr>
          <p:nvPr/>
        </p:nvSpPr>
        <p:spPr>
          <a:xfrm>
            <a:off x="588818" y="221950"/>
            <a:ext cx="4935682"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srgbClr val="0069B4"/>
                </a:solidFill>
                <a:effectLst/>
                <a:uLnTx/>
                <a:uFillTx/>
                <a:latin typeface="Calibri Light" panose="020F0302020204030204"/>
                <a:ea typeface="+mj-ea"/>
                <a:cs typeface="+mj-cs"/>
              </a:rPr>
              <a:t>Project plan </a:t>
            </a:r>
          </a:p>
        </p:txBody>
      </p:sp>
      <p:sp>
        <p:nvSpPr>
          <p:cNvPr id="3" name="TextBox 2">
            <a:extLst>
              <a:ext uri="{FF2B5EF4-FFF2-40B4-BE49-F238E27FC236}">
                <a16:creationId xmlns:a16="http://schemas.microsoft.com/office/drawing/2014/main" id="{3DA45FEE-BC5B-422A-B602-1EEBF05A1686}"/>
              </a:ext>
            </a:extLst>
          </p:cNvPr>
          <p:cNvSpPr txBox="1"/>
          <p:nvPr/>
        </p:nvSpPr>
        <p:spPr>
          <a:xfrm rot="16200000">
            <a:off x="-543390" y="2191463"/>
            <a:ext cx="2133601" cy="246221"/>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1F5B"/>
                </a:solidFill>
                <a:effectLst/>
                <a:uLnTx/>
                <a:uFillTx/>
                <a:latin typeface="Calibri" panose="020F0502020204030204"/>
                <a:ea typeface="+mn-ea"/>
                <a:cs typeface="+mn-cs"/>
              </a:rPr>
              <a:t>Phase A: Onboarding and understanding the current state</a:t>
            </a:r>
          </a:p>
        </p:txBody>
      </p:sp>
      <p:sp>
        <p:nvSpPr>
          <p:cNvPr id="32" name="TextBox 31">
            <a:extLst>
              <a:ext uri="{FF2B5EF4-FFF2-40B4-BE49-F238E27FC236}">
                <a16:creationId xmlns:a16="http://schemas.microsoft.com/office/drawing/2014/main" id="{CE0C075F-0329-45FB-AE1F-09C60F5A8F34}"/>
              </a:ext>
            </a:extLst>
          </p:cNvPr>
          <p:cNvSpPr txBox="1"/>
          <p:nvPr/>
        </p:nvSpPr>
        <p:spPr>
          <a:xfrm rot="16200000">
            <a:off x="103953" y="3720583"/>
            <a:ext cx="962024" cy="369332"/>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1F5B"/>
                </a:solidFill>
                <a:effectLst/>
                <a:uLnTx/>
                <a:uFillTx/>
                <a:latin typeface="Calibri" panose="020F0502020204030204"/>
                <a:ea typeface="+mn-ea"/>
                <a:cs typeface="+mn-cs"/>
              </a:rPr>
              <a:t>Phase B: Translating strategic objectives into Data strategy</a:t>
            </a:r>
          </a:p>
        </p:txBody>
      </p:sp>
      <p:sp>
        <p:nvSpPr>
          <p:cNvPr id="33" name="TextBox 32">
            <a:extLst>
              <a:ext uri="{FF2B5EF4-FFF2-40B4-BE49-F238E27FC236}">
                <a16:creationId xmlns:a16="http://schemas.microsoft.com/office/drawing/2014/main" id="{8B8FBBC9-D903-40A6-B920-046847DFFDF8}"/>
              </a:ext>
            </a:extLst>
          </p:cNvPr>
          <p:cNvSpPr txBox="1"/>
          <p:nvPr/>
        </p:nvSpPr>
        <p:spPr>
          <a:xfrm rot="16200000">
            <a:off x="-450925" y="5237486"/>
            <a:ext cx="1948671" cy="246221"/>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1F5B"/>
                </a:solidFill>
                <a:effectLst/>
                <a:uLnTx/>
                <a:uFillTx/>
                <a:latin typeface="Calibri" panose="020F0502020204030204"/>
                <a:ea typeface="+mn-ea"/>
                <a:cs typeface="+mn-cs"/>
              </a:rPr>
              <a:t>Phase C: Analyzing the impact (Defensive vs Offensive)</a:t>
            </a:r>
          </a:p>
        </p:txBody>
      </p:sp>
      <p:cxnSp>
        <p:nvCxnSpPr>
          <p:cNvPr id="6" name="Straight Connector 5">
            <a:extLst>
              <a:ext uri="{FF2B5EF4-FFF2-40B4-BE49-F238E27FC236}">
                <a16:creationId xmlns:a16="http://schemas.microsoft.com/office/drawing/2014/main" id="{18011D27-FE21-4789-AE30-D963670A7A1E}"/>
              </a:ext>
            </a:extLst>
          </p:cNvPr>
          <p:cNvCxnSpPr>
            <a:cxnSpLocks/>
            <a:endCxn id="4" idx="2"/>
          </p:cNvCxnSpPr>
          <p:nvPr/>
        </p:nvCxnSpPr>
        <p:spPr>
          <a:xfrm>
            <a:off x="4533900" y="1376686"/>
            <a:ext cx="263868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42F2DAB-CE1B-4BB9-96D7-A57F66BB9803}"/>
              </a:ext>
            </a:extLst>
          </p:cNvPr>
          <p:cNvCxnSpPr>
            <a:cxnSpLocks/>
          </p:cNvCxnSpPr>
          <p:nvPr/>
        </p:nvCxnSpPr>
        <p:spPr>
          <a:xfrm>
            <a:off x="5000625" y="1805311"/>
            <a:ext cx="2276359"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11659B1-B7A2-4F8E-BBC6-35EB252A0C4B}"/>
              </a:ext>
            </a:extLst>
          </p:cNvPr>
          <p:cNvCxnSpPr>
            <a:cxnSpLocks/>
          </p:cNvCxnSpPr>
          <p:nvPr/>
        </p:nvCxnSpPr>
        <p:spPr>
          <a:xfrm>
            <a:off x="7276984" y="2319661"/>
            <a:ext cx="1076441"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6D353AC-002A-4A45-A741-91BA9E98FC50}"/>
              </a:ext>
            </a:extLst>
          </p:cNvPr>
          <p:cNvCxnSpPr>
            <a:cxnSpLocks/>
          </p:cNvCxnSpPr>
          <p:nvPr/>
        </p:nvCxnSpPr>
        <p:spPr>
          <a:xfrm>
            <a:off x="5000625" y="2662561"/>
            <a:ext cx="3236844"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1449380-1F61-4BDA-8DF6-839D2AC1C15B}"/>
              </a:ext>
            </a:extLst>
          </p:cNvPr>
          <p:cNvCxnSpPr>
            <a:cxnSpLocks/>
          </p:cNvCxnSpPr>
          <p:nvPr/>
        </p:nvCxnSpPr>
        <p:spPr>
          <a:xfrm>
            <a:off x="7226735" y="2957836"/>
            <a:ext cx="7824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659ABB4-3C05-42A8-8E54-E0E576050AC4}"/>
              </a:ext>
            </a:extLst>
          </p:cNvPr>
          <p:cNvCxnSpPr>
            <a:cxnSpLocks/>
          </p:cNvCxnSpPr>
          <p:nvPr/>
        </p:nvCxnSpPr>
        <p:spPr>
          <a:xfrm>
            <a:off x="5524500" y="3243586"/>
            <a:ext cx="282892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7AFE191-C804-48D9-8D80-F2A116BCE0D4}"/>
              </a:ext>
            </a:extLst>
          </p:cNvPr>
          <p:cNvCxnSpPr>
            <a:cxnSpLocks/>
          </p:cNvCxnSpPr>
          <p:nvPr/>
        </p:nvCxnSpPr>
        <p:spPr>
          <a:xfrm>
            <a:off x="6981825" y="3519811"/>
            <a:ext cx="388795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004C149-F917-41D1-8AAA-434EF46D31A3}"/>
              </a:ext>
            </a:extLst>
          </p:cNvPr>
          <p:cNvCxnSpPr>
            <a:cxnSpLocks/>
          </p:cNvCxnSpPr>
          <p:nvPr/>
        </p:nvCxnSpPr>
        <p:spPr>
          <a:xfrm>
            <a:off x="8425543" y="3883215"/>
            <a:ext cx="2510117" cy="913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4E71EDE-19D0-4601-945E-F92F018E9072}"/>
              </a:ext>
            </a:extLst>
          </p:cNvPr>
          <p:cNvCxnSpPr>
            <a:cxnSpLocks/>
            <a:endCxn id="31" idx="2"/>
          </p:cNvCxnSpPr>
          <p:nvPr/>
        </p:nvCxnSpPr>
        <p:spPr>
          <a:xfrm>
            <a:off x="9050305" y="4234186"/>
            <a:ext cx="129924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32CA33D-0C5C-4910-99CB-44EB9D3351F9}"/>
              </a:ext>
            </a:extLst>
          </p:cNvPr>
          <p:cNvCxnSpPr>
            <a:cxnSpLocks/>
          </p:cNvCxnSpPr>
          <p:nvPr/>
        </p:nvCxnSpPr>
        <p:spPr>
          <a:xfrm>
            <a:off x="7476262" y="4529461"/>
            <a:ext cx="2496413"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9E8BFB9-7585-441D-BB6A-B618AE3A9DE9}"/>
              </a:ext>
            </a:extLst>
          </p:cNvPr>
          <p:cNvCxnSpPr>
            <a:cxnSpLocks/>
          </p:cNvCxnSpPr>
          <p:nvPr/>
        </p:nvCxnSpPr>
        <p:spPr>
          <a:xfrm>
            <a:off x="9972675" y="4910461"/>
            <a:ext cx="56197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DE898F5-F4D4-4B6C-B50E-E1D5E0A1230D}"/>
              </a:ext>
            </a:extLst>
          </p:cNvPr>
          <p:cNvCxnSpPr>
            <a:cxnSpLocks/>
          </p:cNvCxnSpPr>
          <p:nvPr/>
        </p:nvCxnSpPr>
        <p:spPr>
          <a:xfrm>
            <a:off x="9972675" y="5243836"/>
            <a:ext cx="56197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0B58485-3393-4B70-AE39-7ADE27B6A5F1}"/>
              </a:ext>
            </a:extLst>
          </p:cNvPr>
          <p:cNvCxnSpPr>
            <a:cxnSpLocks/>
          </p:cNvCxnSpPr>
          <p:nvPr/>
        </p:nvCxnSpPr>
        <p:spPr>
          <a:xfrm>
            <a:off x="10253662" y="5552716"/>
            <a:ext cx="56197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EBAC903-06B8-47A8-9028-254E37180730}"/>
              </a:ext>
            </a:extLst>
          </p:cNvPr>
          <p:cNvCxnSpPr>
            <a:cxnSpLocks/>
          </p:cNvCxnSpPr>
          <p:nvPr/>
        </p:nvCxnSpPr>
        <p:spPr>
          <a:xfrm>
            <a:off x="10253662" y="5948686"/>
            <a:ext cx="89058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B945C9E-7601-4943-8376-ADA3481D010A}"/>
              </a:ext>
            </a:extLst>
          </p:cNvPr>
          <p:cNvCxnSpPr>
            <a:cxnSpLocks/>
          </p:cNvCxnSpPr>
          <p:nvPr/>
        </p:nvCxnSpPr>
        <p:spPr>
          <a:xfrm>
            <a:off x="11144250" y="6234434"/>
            <a:ext cx="280988"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19F1B3AD-2B58-4924-9616-1A1C61ECD366}"/>
              </a:ext>
            </a:extLst>
          </p:cNvPr>
          <p:cNvSpPr/>
          <p:nvPr/>
        </p:nvSpPr>
        <p:spPr>
          <a:xfrm>
            <a:off x="7172584" y="1323758"/>
            <a:ext cx="104400" cy="105856"/>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DAD03584-9990-4436-B1C8-52C5EB66ECCA}"/>
              </a:ext>
            </a:extLst>
          </p:cNvPr>
          <p:cNvSpPr/>
          <p:nvPr/>
        </p:nvSpPr>
        <p:spPr>
          <a:xfrm>
            <a:off x="2392356" y="6449772"/>
            <a:ext cx="104400" cy="105856"/>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62D1E81-2CBC-4DA6-B503-3BC608525242}"/>
              </a:ext>
            </a:extLst>
          </p:cNvPr>
          <p:cNvSpPr txBox="1"/>
          <p:nvPr/>
        </p:nvSpPr>
        <p:spPr>
          <a:xfrm>
            <a:off x="2564089" y="6441144"/>
            <a:ext cx="317395" cy="123111"/>
          </a:xfrm>
          <a:prstGeom prst="rect">
            <a:avLst/>
          </a:prstGeom>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Kick-off</a:t>
            </a:r>
          </a:p>
        </p:txBody>
      </p:sp>
      <p:sp>
        <p:nvSpPr>
          <p:cNvPr id="27" name="Oval 26">
            <a:extLst>
              <a:ext uri="{FF2B5EF4-FFF2-40B4-BE49-F238E27FC236}">
                <a16:creationId xmlns:a16="http://schemas.microsoft.com/office/drawing/2014/main" id="{63178475-99E5-46BC-8CA3-65D50770986C}"/>
              </a:ext>
            </a:extLst>
          </p:cNvPr>
          <p:cNvSpPr/>
          <p:nvPr/>
        </p:nvSpPr>
        <p:spPr>
          <a:xfrm>
            <a:off x="8278621" y="3190658"/>
            <a:ext cx="104400" cy="10585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7B2A3056-D390-4731-AC61-6111FBAC1370}"/>
              </a:ext>
            </a:extLst>
          </p:cNvPr>
          <p:cNvSpPr/>
          <p:nvPr/>
        </p:nvSpPr>
        <p:spPr>
          <a:xfrm>
            <a:off x="3176352" y="6458400"/>
            <a:ext cx="104400" cy="10585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5AD7840C-6BC3-4669-BD93-4EE6A9352837}"/>
              </a:ext>
            </a:extLst>
          </p:cNvPr>
          <p:cNvSpPr txBox="1"/>
          <p:nvPr/>
        </p:nvSpPr>
        <p:spPr>
          <a:xfrm>
            <a:off x="3348085" y="6449772"/>
            <a:ext cx="790281" cy="123111"/>
          </a:xfrm>
          <a:prstGeom prst="rect">
            <a:avLst/>
          </a:prstGeom>
        </p:spPr>
        <p:txBody>
          <a:bodyPr wrap="squar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SteerCo meeting</a:t>
            </a:r>
          </a:p>
        </p:txBody>
      </p:sp>
      <p:sp>
        <p:nvSpPr>
          <p:cNvPr id="31" name="Oval 30">
            <a:extLst>
              <a:ext uri="{FF2B5EF4-FFF2-40B4-BE49-F238E27FC236}">
                <a16:creationId xmlns:a16="http://schemas.microsoft.com/office/drawing/2014/main" id="{E6BB7495-C9F3-4D3B-BEA7-E91218FA3280}"/>
              </a:ext>
            </a:extLst>
          </p:cNvPr>
          <p:cNvSpPr/>
          <p:nvPr/>
        </p:nvSpPr>
        <p:spPr>
          <a:xfrm>
            <a:off x="10296388" y="4181258"/>
            <a:ext cx="104400" cy="10585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a16="http://schemas.microsoft.com/office/drawing/2014/main" id="{AC07A949-4F4E-4710-BC80-3AC8278404A8}"/>
              </a:ext>
            </a:extLst>
          </p:cNvPr>
          <p:cNvSpPr/>
          <p:nvPr/>
        </p:nvSpPr>
        <p:spPr>
          <a:xfrm>
            <a:off x="11232544" y="6181506"/>
            <a:ext cx="104400" cy="10585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5" name="Straight Connector 34">
            <a:extLst>
              <a:ext uri="{FF2B5EF4-FFF2-40B4-BE49-F238E27FC236}">
                <a16:creationId xmlns:a16="http://schemas.microsoft.com/office/drawing/2014/main" id="{0D166E9D-3741-4D69-8FB8-50F9C3DCEF37}"/>
              </a:ext>
            </a:extLst>
          </p:cNvPr>
          <p:cNvCxnSpPr>
            <a:cxnSpLocks/>
          </p:cNvCxnSpPr>
          <p:nvPr/>
        </p:nvCxnSpPr>
        <p:spPr>
          <a:xfrm>
            <a:off x="799227" y="6511327"/>
            <a:ext cx="56197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A236AAD-B7FC-434D-8166-C94F7DFE6E88}"/>
              </a:ext>
            </a:extLst>
          </p:cNvPr>
          <p:cNvSpPr txBox="1"/>
          <p:nvPr/>
        </p:nvSpPr>
        <p:spPr>
          <a:xfrm>
            <a:off x="1428535" y="6432517"/>
            <a:ext cx="694101" cy="123111"/>
          </a:xfrm>
          <a:prstGeom prst="rect">
            <a:avLst/>
          </a:prstGeom>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Activity duration</a:t>
            </a:r>
          </a:p>
        </p:txBody>
      </p:sp>
      <p:sp>
        <p:nvSpPr>
          <p:cNvPr id="7" name="5-Point Star 6">
            <a:extLst>
              <a:ext uri="{FF2B5EF4-FFF2-40B4-BE49-F238E27FC236}">
                <a16:creationId xmlns:a16="http://schemas.microsoft.com/office/drawing/2014/main" id="{249A1706-D5EF-4D7C-8D21-328C4AF4165F}"/>
              </a:ext>
            </a:extLst>
          </p:cNvPr>
          <p:cNvSpPr/>
          <p:nvPr/>
        </p:nvSpPr>
        <p:spPr>
          <a:xfrm>
            <a:off x="7306580" y="1295507"/>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5FBAD73A-6854-4D52-B40B-3A094BDDCD5A}"/>
              </a:ext>
            </a:extLst>
          </p:cNvPr>
          <p:cNvSpPr/>
          <p:nvPr/>
        </p:nvSpPr>
        <p:spPr>
          <a:xfrm>
            <a:off x="7496574" y="1290067"/>
            <a:ext cx="2502227" cy="1566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Detailed project plan and governance structure</a:t>
            </a:r>
          </a:p>
        </p:txBody>
      </p:sp>
      <p:sp>
        <p:nvSpPr>
          <p:cNvPr id="38" name="5-Point Star 6">
            <a:extLst>
              <a:ext uri="{FF2B5EF4-FFF2-40B4-BE49-F238E27FC236}">
                <a16:creationId xmlns:a16="http://schemas.microsoft.com/office/drawing/2014/main" id="{70D14258-070D-483F-BF21-D6C030727FCE}"/>
              </a:ext>
            </a:extLst>
          </p:cNvPr>
          <p:cNvSpPr/>
          <p:nvPr/>
        </p:nvSpPr>
        <p:spPr>
          <a:xfrm>
            <a:off x="7319186" y="1720803"/>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FAC37EF4-D914-47C3-9555-C536815F122C}"/>
              </a:ext>
            </a:extLst>
          </p:cNvPr>
          <p:cNvSpPr/>
          <p:nvPr/>
        </p:nvSpPr>
        <p:spPr>
          <a:xfrm>
            <a:off x="7519250" y="1659191"/>
            <a:ext cx="2502227" cy="2667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Communication plan with key stakeholders and the change initiative representatives</a:t>
            </a:r>
          </a:p>
        </p:txBody>
      </p:sp>
      <p:sp>
        <p:nvSpPr>
          <p:cNvPr id="42" name="5-Point Star 6">
            <a:extLst>
              <a:ext uri="{FF2B5EF4-FFF2-40B4-BE49-F238E27FC236}">
                <a16:creationId xmlns:a16="http://schemas.microsoft.com/office/drawing/2014/main" id="{C238D21F-1E05-4D92-A3DA-4E1F630F9642}"/>
              </a:ext>
            </a:extLst>
          </p:cNvPr>
          <p:cNvSpPr/>
          <p:nvPr/>
        </p:nvSpPr>
        <p:spPr>
          <a:xfrm>
            <a:off x="8398053" y="2258517"/>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D79F4BFE-91C0-4FA1-B450-584625151211}"/>
              </a:ext>
            </a:extLst>
          </p:cNvPr>
          <p:cNvSpPr/>
          <p:nvPr/>
        </p:nvSpPr>
        <p:spPr>
          <a:xfrm>
            <a:off x="8593862" y="2185403"/>
            <a:ext cx="1719988" cy="2667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Understanding of current state, data challenges and root causes</a:t>
            </a:r>
          </a:p>
        </p:txBody>
      </p:sp>
      <p:sp>
        <p:nvSpPr>
          <p:cNvPr id="46" name="5-Point Star 6">
            <a:extLst>
              <a:ext uri="{FF2B5EF4-FFF2-40B4-BE49-F238E27FC236}">
                <a16:creationId xmlns:a16="http://schemas.microsoft.com/office/drawing/2014/main" id="{3BCF9B6A-E02C-4C08-ACF3-1DF9DE96DAE0}"/>
              </a:ext>
            </a:extLst>
          </p:cNvPr>
          <p:cNvSpPr/>
          <p:nvPr/>
        </p:nvSpPr>
        <p:spPr>
          <a:xfrm>
            <a:off x="8067787" y="2895623"/>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077EDB97-4F67-48CD-9DC2-E4462EED8AEC}"/>
              </a:ext>
            </a:extLst>
          </p:cNvPr>
          <p:cNvSpPr/>
          <p:nvPr/>
        </p:nvSpPr>
        <p:spPr>
          <a:xfrm>
            <a:off x="8285268" y="2834011"/>
            <a:ext cx="1719988" cy="2667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Desk research on market trends and competitive analysis</a:t>
            </a:r>
          </a:p>
        </p:txBody>
      </p:sp>
      <p:sp>
        <p:nvSpPr>
          <p:cNvPr id="50" name="5-Point Star 6">
            <a:extLst>
              <a:ext uri="{FF2B5EF4-FFF2-40B4-BE49-F238E27FC236}">
                <a16:creationId xmlns:a16="http://schemas.microsoft.com/office/drawing/2014/main" id="{1FA28789-F9FA-43F1-AD87-AA7F7952BAB5}"/>
              </a:ext>
            </a:extLst>
          </p:cNvPr>
          <p:cNvSpPr/>
          <p:nvPr/>
        </p:nvSpPr>
        <p:spPr>
          <a:xfrm>
            <a:off x="8467725" y="3180526"/>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771A0215-271D-4357-ADAA-40D32A018791}"/>
              </a:ext>
            </a:extLst>
          </p:cNvPr>
          <p:cNvSpPr/>
          <p:nvPr/>
        </p:nvSpPr>
        <p:spPr>
          <a:xfrm>
            <a:off x="8685206" y="3118914"/>
            <a:ext cx="1719988" cy="2667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Data strategy skeleton including the identified core elements</a:t>
            </a:r>
          </a:p>
        </p:txBody>
      </p:sp>
      <p:sp>
        <p:nvSpPr>
          <p:cNvPr id="53" name="5-Point Star 6">
            <a:extLst>
              <a:ext uri="{FF2B5EF4-FFF2-40B4-BE49-F238E27FC236}">
                <a16:creationId xmlns:a16="http://schemas.microsoft.com/office/drawing/2014/main" id="{E17A4C1A-D803-4CAA-B435-FCB0865D5FDB}"/>
              </a:ext>
            </a:extLst>
          </p:cNvPr>
          <p:cNvSpPr/>
          <p:nvPr/>
        </p:nvSpPr>
        <p:spPr>
          <a:xfrm>
            <a:off x="10927627" y="3436115"/>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A61F33C4-FC80-45FD-AA06-7ADD0F9A94A6}"/>
              </a:ext>
            </a:extLst>
          </p:cNvPr>
          <p:cNvSpPr/>
          <p:nvPr/>
        </p:nvSpPr>
        <p:spPr>
          <a:xfrm>
            <a:off x="11137110" y="3428073"/>
            <a:ext cx="905086" cy="1960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Knowledge sharing session 7/3</a:t>
            </a:r>
          </a:p>
        </p:txBody>
      </p:sp>
      <p:sp>
        <p:nvSpPr>
          <p:cNvPr id="57" name="5-Point Star 6">
            <a:extLst>
              <a:ext uri="{FF2B5EF4-FFF2-40B4-BE49-F238E27FC236}">
                <a16:creationId xmlns:a16="http://schemas.microsoft.com/office/drawing/2014/main" id="{E8F0C947-2953-40F9-AB64-A51892203197}"/>
              </a:ext>
            </a:extLst>
          </p:cNvPr>
          <p:cNvSpPr/>
          <p:nvPr/>
        </p:nvSpPr>
        <p:spPr>
          <a:xfrm>
            <a:off x="11008924" y="3808817"/>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Rectangle 57">
            <a:extLst>
              <a:ext uri="{FF2B5EF4-FFF2-40B4-BE49-F238E27FC236}">
                <a16:creationId xmlns:a16="http://schemas.microsoft.com/office/drawing/2014/main" id="{75C347A6-7468-4813-9B28-D47801C995C5}"/>
              </a:ext>
            </a:extLst>
          </p:cNvPr>
          <p:cNvSpPr/>
          <p:nvPr/>
        </p:nvSpPr>
        <p:spPr>
          <a:xfrm>
            <a:off x="6611730" y="3624092"/>
            <a:ext cx="1786323" cy="5164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A series of strategy workshops to formulate the new data strategy including objectives, design principles, organizational capabilities and foundation requirements </a:t>
            </a:r>
          </a:p>
        </p:txBody>
      </p:sp>
      <p:sp>
        <p:nvSpPr>
          <p:cNvPr id="64" name="5-Point Star 6">
            <a:extLst>
              <a:ext uri="{FF2B5EF4-FFF2-40B4-BE49-F238E27FC236}">
                <a16:creationId xmlns:a16="http://schemas.microsoft.com/office/drawing/2014/main" id="{C0107B88-BBB8-4FB6-BB72-2E7FDEC915A2}"/>
              </a:ext>
            </a:extLst>
          </p:cNvPr>
          <p:cNvSpPr/>
          <p:nvPr/>
        </p:nvSpPr>
        <p:spPr>
          <a:xfrm>
            <a:off x="10416407" y="4166640"/>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48C6DD8B-D220-4FF7-BB18-9E17E392D600}"/>
              </a:ext>
            </a:extLst>
          </p:cNvPr>
          <p:cNvSpPr/>
          <p:nvPr/>
        </p:nvSpPr>
        <p:spPr>
          <a:xfrm>
            <a:off x="10687499" y="4142053"/>
            <a:ext cx="979156" cy="1711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Draft data strategy</a:t>
            </a:r>
          </a:p>
        </p:txBody>
      </p:sp>
      <p:sp>
        <p:nvSpPr>
          <p:cNvPr id="67" name="5-Point Star 6">
            <a:extLst>
              <a:ext uri="{FF2B5EF4-FFF2-40B4-BE49-F238E27FC236}">
                <a16:creationId xmlns:a16="http://schemas.microsoft.com/office/drawing/2014/main" id="{DEEAEF75-5A19-4E71-9384-FD234524DDF1}"/>
              </a:ext>
            </a:extLst>
          </p:cNvPr>
          <p:cNvSpPr/>
          <p:nvPr/>
        </p:nvSpPr>
        <p:spPr>
          <a:xfrm>
            <a:off x="10899392" y="5449684"/>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4516DB6E-8648-4EF6-935D-9F7770BA624E}"/>
              </a:ext>
            </a:extLst>
          </p:cNvPr>
          <p:cNvSpPr/>
          <p:nvPr/>
        </p:nvSpPr>
        <p:spPr>
          <a:xfrm>
            <a:off x="10446082" y="5603133"/>
            <a:ext cx="979156" cy="2046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Report on impact analysis</a:t>
            </a:r>
          </a:p>
        </p:txBody>
      </p:sp>
      <p:sp>
        <p:nvSpPr>
          <p:cNvPr id="70" name="5-Point Star 6">
            <a:extLst>
              <a:ext uri="{FF2B5EF4-FFF2-40B4-BE49-F238E27FC236}">
                <a16:creationId xmlns:a16="http://schemas.microsoft.com/office/drawing/2014/main" id="{A329319A-CFD1-4CE1-8BAB-3B95ABF357D7}"/>
              </a:ext>
            </a:extLst>
          </p:cNvPr>
          <p:cNvSpPr/>
          <p:nvPr/>
        </p:nvSpPr>
        <p:spPr>
          <a:xfrm>
            <a:off x="10922174" y="6149958"/>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45B3EFBF-6969-41BA-98D7-76A35D5BF02F}"/>
              </a:ext>
            </a:extLst>
          </p:cNvPr>
          <p:cNvSpPr/>
          <p:nvPr/>
        </p:nvSpPr>
        <p:spPr>
          <a:xfrm>
            <a:off x="9675470" y="6117809"/>
            <a:ext cx="1194310" cy="19840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Validated and finalized data strategy</a:t>
            </a:r>
          </a:p>
        </p:txBody>
      </p:sp>
      <p:sp>
        <p:nvSpPr>
          <p:cNvPr id="73" name="5-Point Star 6">
            <a:extLst>
              <a:ext uri="{FF2B5EF4-FFF2-40B4-BE49-F238E27FC236}">
                <a16:creationId xmlns:a16="http://schemas.microsoft.com/office/drawing/2014/main" id="{76B5BE81-4D87-465F-BDF9-516342920D00}"/>
              </a:ext>
            </a:extLst>
          </p:cNvPr>
          <p:cNvSpPr/>
          <p:nvPr/>
        </p:nvSpPr>
        <p:spPr>
          <a:xfrm>
            <a:off x="11147326" y="5876627"/>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Rectangle 74">
            <a:extLst>
              <a:ext uri="{FF2B5EF4-FFF2-40B4-BE49-F238E27FC236}">
                <a16:creationId xmlns:a16="http://schemas.microsoft.com/office/drawing/2014/main" id="{5E3EF6D1-D720-4BCA-B536-DAF270F03D6E}"/>
              </a:ext>
            </a:extLst>
          </p:cNvPr>
          <p:cNvSpPr/>
          <p:nvPr/>
        </p:nvSpPr>
        <p:spPr>
          <a:xfrm>
            <a:off x="11336944" y="5841339"/>
            <a:ext cx="731009" cy="20468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Communication plan</a:t>
            </a:r>
          </a:p>
        </p:txBody>
      </p:sp>
      <p:sp>
        <p:nvSpPr>
          <p:cNvPr id="76" name="5-Point Star 6">
            <a:extLst>
              <a:ext uri="{FF2B5EF4-FFF2-40B4-BE49-F238E27FC236}">
                <a16:creationId xmlns:a16="http://schemas.microsoft.com/office/drawing/2014/main" id="{02DF233C-D788-4FA5-A0DA-3A36EA3862DA}"/>
              </a:ext>
            </a:extLst>
          </p:cNvPr>
          <p:cNvSpPr/>
          <p:nvPr/>
        </p:nvSpPr>
        <p:spPr>
          <a:xfrm>
            <a:off x="4187036" y="6455306"/>
            <a:ext cx="169682" cy="134107"/>
          </a:xfrm>
          <a:prstGeom prst="star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D70013FC-86C0-4FC0-864D-99AF8E380006}"/>
              </a:ext>
            </a:extLst>
          </p:cNvPr>
          <p:cNvSpPr/>
          <p:nvPr/>
        </p:nvSpPr>
        <p:spPr>
          <a:xfrm>
            <a:off x="4403808" y="6441352"/>
            <a:ext cx="596817" cy="1711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829129" rtl="0" eaLnBrk="1" fontAlgn="auto" latinLnBrk="0" hangingPunct="1">
              <a:lnSpc>
                <a:spcPct val="100000"/>
              </a:lnSpc>
              <a:spcBef>
                <a:spcPts val="300"/>
              </a:spcBef>
              <a:spcAft>
                <a:spcPts val="0"/>
              </a:spcAft>
              <a:buClr>
                <a:srgbClr val="FFE600"/>
              </a:buClr>
              <a:buSzPct val="100000"/>
              <a:buFontTx/>
              <a:buNone/>
              <a:tabLst/>
              <a:defRPr/>
            </a:pPr>
            <a:r>
              <a:rPr kumimoji="0" lang="en-US" sz="700" b="0" i="0" u="none" strike="noStrike" kern="1200" cap="none" spc="0" normalizeH="0" baseline="0" noProof="0">
                <a:ln>
                  <a:noFill/>
                </a:ln>
                <a:solidFill>
                  <a:srgbClr val="000000"/>
                </a:solidFill>
                <a:effectLst/>
                <a:uLnTx/>
                <a:uFillTx/>
                <a:latin typeface="EYInterstate Light"/>
                <a:ea typeface="+mn-ea"/>
                <a:cs typeface="+mn-cs"/>
              </a:rPr>
              <a:t>Deliverable</a:t>
            </a:r>
          </a:p>
        </p:txBody>
      </p:sp>
      <p:cxnSp>
        <p:nvCxnSpPr>
          <p:cNvPr id="61" name="Straight Connector 60">
            <a:extLst>
              <a:ext uri="{FF2B5EF4-FFF2-40B4-BE49-F238E27FC236}">
                <a16:creationId xmlns:a16="http://schemas.microsoft.com/office/drawing/2014/main" id="{1BD39909-D387-46B1-934A-327873B1E819}"/>
              </a:ext>
            </a:extLst>
          </p:cNvPr>
          <p:cNvCxnSpPr>
            <a:cxnSpLocks/>
          </p:cNvCxnSpPr>
          <p:nvPr/>
        </p:nvCxnSpPr>
        <p:spPr>
          <a:xfrm>
            <a:off x="5249734" y="6528581"/>
            <a:ext cx="56197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ABE5C7EA-3662-41B5-874A-DEECFD5B66E2}"/>
              </a:ext>
            </a:extLst>
          </p:cNvPr>
          <p:cNvSpPr txBox="1"/>
          <p:nvPr/>
        </p:nvSpPr>
        <p:spPr>
          <a:xfrm>
            <a:off x="5879042" y="6449771"/>
            <a:ext cx="2098331" cy="123111"/>
          </a:xfrm>
          <a:prstGeom prst="rect">
            <a:avLst/>
          </a:prstGeom>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Activity requires Aegon stakeholders’ involvement</a:t>
            </a:r>
          </a:p>
        </p:txBody>
      </p:sp>
      <p:sp>
        <p:nvSpPr>
          <p:cNvPr id="14" name="Left Brace 13">
            <a:extLst>
              <a:ext uri="{FF2B5EF4-FFF2-40B4-BE49-F238E27FC236}">
                <a16:creationId xmlns:a16="http://schemas.microsoft.com/office/drawing/2014/main" id="{E129F8E6-3044-4694-9F66-39E21D58E26F}"/>
              </a:ext>
            </a:extLst>
          </p:cNvPr>
          <p:cNvSpPr/>
          <p:nvPr/>
        </p:nvSpPr>
        <p:spPr>
          <a:xfrm rot="5400000">
            <a:off x="5473200" y="1258048"/>
            <a:ext cx="45719" cy="990871"/>
          </a:xfrm>
          <a:prstGeom prst="leftBrace">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4" name="Left Brace 73">
            <a:extLst>
              <a:ext uri="{FF2B5EF4-FFF2-40B4-BE49-F238E27FC236}">
                <a16:creationId xmlns:a16="http://schemas.microsoft.com/office/drawing/2014/main" id="{1B4BBC1D-4580-4F86-92CA-21F461E7E27B}"/>
              </a:ext>
            </a:extLst>
          </p:cNvPr>
          <p:cNvSpPr/>
          <p:nvPr/>
        </p:nvSpPr>
        <p:spPr>
          <a:xfrm rot="5400000">
            <a:off x="7613403" y="1920694"/>
            <a:ext cx="45719" cy="682220"/>
          </a:xfrm>
          <a:prstGeom prst="leftBrace">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8" name="Left Brace 77">
            <a:extLst>
              <a:ext uri="{FF2B5EF4-FFF2-40B4-BE49-F238E27FC236}">
                <a16:creationId xmlns:a16="http://schemas.microsoft.com/office/drawing/2014/main" id="{7817E83F-463B-49EE-A59F-05F819793F49}"/>
              </a:ext>
            </a:extLst>
          </p:cNvPr>
          <p:cNvSpPr/>
          <p:nvPr/>
        </p:nvSpPr>
        <p:spPr>
          <a:xfrm rot="5400000">
            <a:off x="6115943" y="1475238"/>
            <a:ext cx="45719" cy="2276358"/>
          </a:xfrm>
          <a:prstGeom prst="leftBrace">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9" name="Left Brace 78">
            <a:extLst>
              <a:ext uri="{FF2B5EF4-FFF2-40B4-BE49-F238E27FC236}">
                <a16:creationId xmlns:a16="http://schemas.microsoft.com/office/drawing/2014/main" id="{35ADDCDE-C056-4D6F-8F80-884D915587AB}"/>
              </a:ext>
            </a:extLst>
          </p:cNvPr>
          <p:cNvSpPr/>
          <p:nvPr/>
        </p:nvSpPr>
        <p:spPr>
          <a:xfrm rot="5400000">
            <a:off x="8470878" y="6174770"/>
            <a:ext cx="45719" cy="682220"/>
          </a:xfrm>
          <a:prstGeom prst="leftBrace">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0" name="TextBox 79">
            <a:extLst>
              <a:ext uri="{FF2B5EF4-FFF2-40B4-BE49-F238E27FC236}">
                <a16:creationId xmlns:a16="http://schemas.microsoft.com/office/drawing/2014/main" id="{01052556-D05B-4FC4-ABFD-14E98E92AEA5}"/>
              </a:ext>
            </a:extLst>
          </p:cNvPr>
          <p:cNvSpPr txBox="1"/>
          <p:nvPr/>
        </p:nvSpPr>
        <p:spPr>
          <a:xfrm>
            <a:off x="8958126" y="6462720"/>
            <a:ext cx="440826" cy="123111"/>
          </a:xfrm>
          <a:prstGeom prst="rect">
            <a:avLst/>
          </a:prstGeom>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Calibri" panose="020F0502020204030204"/>
                <a:ea typeface="+mn-ea"/>
                <a:cs typeface="+mn-cs"/>
              </a:rPr>
              <a:t>Initial plan</a:t>
            </a:r>
          </a:p>
        </p:txBody>
      </p:sp>
      <p:cxnSp>
        <p:nvCxnSpPr>
          <p:cNvPr id="81" name="Straight Connector 80">
            <a:extLst>
              <a:ext uri="{FF2B5EF4-FFF2-40B4-BE49-F238E27FC236}">
                <a16:creationId xmlns:a16="http://schemas.microsoft.com/office/drawing/2014/main" id="{68102137-C59C-452C-9A51-B7FD25943921}"/>
              </a:ext>
            </a:extLst>
          </p:cNvPr>
          <p:cNvCxnSpPr>
            <a:cxnSpLocks/>
          </p:cNvCxnSpPr>
          <p:nvPr/>
        </p:nvCxnSpPr>
        <p:spPr>
          <a:xfrm>
            <a:off x="11271978" y="615117"/>
            <a:ext cx="20023" cy="5759043"/>
          </a:xfrm>
          <a:prstGeom prst="line">
            <a:avLst/>
          </a:prstGeom>
          <a:ln w="9525">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6" name="Rounded Rectangle 25">
            <a:extLst>
              <a:ext uri="{FF2B5EF4-FFF2-40B4-BE49-F238E27FC236}">
                <a16:creationId xmlns:a16="http://schemas.microsoft.com/office/drawing/2014/main" id="{5C9C283A-7A8A-4728-B8FB-5E46DE1C7218}"/>
              </a:ext>
            </a:extLst>
          </p:cNvPr>
          <p:cNvSpPr/>
          <p:nvPr/>
        </p:nvSpPr>
        <p:spPr>
          <a:xfrm>
            <a:off x="10964672" y="462915"/>
            <a:ext cx="618308" cy="139318"/>
          </a:xfrm>
          <a:prstGeom prst="roundRect">
            <a:avLst/>
          </a:prstGeom>
          <a:solidFill>
            <a:schemeClr val="accent5"/>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TODAY</a:t>
            </a:r>
          </a:p>
        </p:txBody>
      </p:sp>
      <p:sp>
        <p:nvSpPr>
          <p:cNvPr id="84" name="Left Brace 83">
            <a:extLst>
              <a:ext uri="{FF2B5EF4-FFF2-40B4-BE49-F238E27FC236}">
                <a16:creationId xmlns:a16="http://schemas.microsoft.com/office/drawing/2014/main" id="{76BC9A30-EFAB-4A56-8A9B-389CE9E62112}"/>
              </a:ext>
            </a:extLst>
          </p:cNvPr>
          <p:cNvSpPr/>
          <p:nvPr/>
        </p:nvSpPr>
        <p:spPr>
          <a:xfrm rot="5400000">
            <a:off x="8450659" y="2995579"/>
            <a:ext cx="45719" cy="2998310"/>
          </a:xfrm>
          <a:prstGeom prst="leftBrace">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2" name="Graphic 11" descr="Checkmark with solid fill">
            <a:extLst>
              <a:ext uri="{FF2B5EF4-FFF2-40B4-BE49-F238E27FC236}">
                <a16:creationId xmlns:a16="http://schemas.microsoft.com/office/drawing/2014/main" id="{ADF06F20-A72A-4A4A-A162-5501E267AD3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91219" y="1163322"/>
            <a:ext cx="417991" cy="417991"/>
          </a:xfrm>
          <a:prstGeom prst="rect">
            <a:avLst/>
          </a:prstGeom>
        </p:spPr>
      </p:pic>
      <p:pic>
        <p:nvPicPr>
          <p:cNvPr id="91" name="Graphic 90" descr="Checkmark with solid fill">
            <a:extLst>
              <a:ext uri="{FF2B5EF4-FFF2-40B4-BE49-F238E27FC236}">
                <a16:creationId xmlns:a16="http://schemas.microsoft.com/office/drawing/2014/main" id="{940E8EEC-EDE1-4AD1-9601-EF48516AA1A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42481" y="2419056"/>
            <a:ext cx="417991" cy="417991"/>
          </a:xfrm>
          <a:prstGeom prst="rect">
            <a:avLst/>
          </a:prstGeom>
        </p:spPr>
      </p:pic>
      <p:pic>
        <p:nvPicPr>
          <p:cNvPr id="85" name="Graphic 84" descr="Checkmark with solid fill">
            <a:extLst>
              <a:ext uri="{FF2B5EF4-FFF2-40B4-BE49-F238E27FC236}">
                <a16:creationId xmlns:a16="http://schemas.microsoft.com/office/drawing/2014/main" id="{23A024F7-FDD5-4289-BC77-7F7F66D2A93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26122" y="1570978"/>
            <a:ext cx="417991" cy="417991"/>
          </a:xfrm>
          <a:prstGeom prst="rect">
            <a:avLst/>
          </a:prstGeom>
        </p:spPr>
      </p:pic>
      <p:pic>
        <p:nvPicPr>
          <p:cNvPr id="86" name="Graphic 85" descr="Checkmark with solid fill">
            <a:extLst>
              <a:ext uri="{FF2B5EF4-FFF2-40B4-BE49-F238E27FC236}">
                <a16:creationId xmlns:a16="http://schemas.microsoft.com/office/drawing/2014/main" id="{AF6F6731-C7F8-4D7C-9C8F-F04FE08B7EA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81401" y="2967392"/>
            <a:ext cx="417991" cy="417991"/>
          </a:xfrm>
          <a:prstGeom prst="rect">
            <a:avLst/>
          </a:prstGeom>
        </p:spPr>
      </p:pic>
      <p:pic>
        <p:nvPicPr>
          <p:cNvPr id="87" name="Graphic 86" descr="Checkmark with solid fill">
            <a:extLst>
              <a:ext uri="{FF2B5EF4-FFF2-40B4-BE49-F238E27FC236}">
                <a16:creationId xmlns:a16="http://schemas.microsoft.com/office/drawing/2014/main" id="{DBCB4479-5F55-487A-AA8E-36DDBFCB82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83381" y="2075668"/>
            <a:ext cx="417991" cy="417991"/>
          </a:xfrm>
          <a:prstGeom prst="rect">
            <a:avLst/>
          </a:prstGeom>
        </p:spPr>
      </p:pic>
      <p:sp>
        <p:nvSpPr>
          <p:cNvPr id="88" name="Oval 87">
            <a:extLst>
              <a:ext uri="{FF2B5EF4-FFF2-40B4-BE49-F238E27FC236}">
                <a16:creationId xmlns:a16="http://schemas.microsoft.com/office/drawing/2014/main" id="{24EFC02A-DC6C-4B65-81F1-141372005FC3}"/>
              </a:ext>
            </a:extLst>
          </p:cNvPr>
          <p:cNvSpPr/>
          <p:nvPr/>
        </p:nvSpPr>
        <p:spPr>
          <a:xfrm>
            <a:off x="9585422" y="4190968"/>
            <a:ext cx="104400" cy="10585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87554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5">
            <a:extLst>
              <a:ext uri="{FF2B5EF4-FFF2-40B4-BE49-F238E27FC236}">
                <a16:creationId xmlns:a16="http://schemas.microsoft.com/office/drawing/2014/main" id="{D4EACE78-4A8F-49B2-AA26-14770517D968}"/>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tab pos="9505950" algn="l"/>
              </a:tabLst>
              <a:defRPr/>
            </a:pPr>
            <a:r>
              <a:rPr kumimoji="0" lang="en-US" sz="2400" b="1" i="0" u="sng" strike="noStrike" kern="1200" cap="none" spc="0" normalizeH="0" baseline="0" noProof="0">
                <a:ln>
                  <a:noFill/>
                </a:ln>
                <a:solidFill>
                  <a:srgbClr val="0069B4"/>
                </a:solidFill>
                <a:effectLst/>
                <a:uLnTx/>
                <a:uFillTx/>
                <a:latin typeface="Calibri Light" panose="020F0302020204030204"/>
                <a:ea typeface="+mj-ea"/>
                <a:cs typeface="+mj-cs"/>
              </a:rPr>
              <a:t>Status</a:t>
            </a:r>
            <a:r>
              <a:rPr kumimoji="0" lang="en-US" sz="2400" b="0" i="0" u="none" strike="noStrike" kern="1200" cap="none" spc="0" normalizeH="0" baseline="0" noProof="0">
                <a:ln>
                  <a:noFill/>
                </a:ln>
                <a:solidFill>
                  <a:srgbClr val="0069B4"/>
                </a:solidFill>
                <a:effectLst/>
                <a:uLnTx/>
                <a:uFillTx/>
                <a:latin typeface="Calibri Light" panose="020F0302020204030204"/>
                <a:ea typeface="+mj-ea"/>
                <a:cs typeface="+mj-cs"/>
              </a:rPr>
              <a:t> of the AAM Data strategy</a:t>
            </a:r>
          </a:p>
        </p:txBody>
      </p:sp>
      <p:pic>
        <p:nvPicPr>
          <p:cNvPr id="4" name="Picture 3">
            <a:extLst>
              <a:ext uri="{FF2B5EF4-FFF2-40B4-BE49-F238E27FC236}">
                <a16:creationId xmlns:a16="http://schemas.microsoft.com/office/drawing/2014/main" id="{40CB4979-15A9-46F5-9247-15B84156CBC8}"/>
              </a:ext>
            </a:extLst>
          </p:cNvPr>
          <p:cNvPicPr>
            <a:picLocks noChangeAspect="1"/>
          </p:cNvPicPr>
          <p:nvPr/>
        </p:nvPicPr>
        <p:blipFill>
          <a:blip r:embed="rId2">
            <a:alphaModFix amt="40000"/>
          </a:blip>
          <a:stretch>
            <a:fillRect/>
          </a:stretch>
        </p:blipFill>
        <p:spPr>
          <a:xfrm>
            <a:off x="588817" y="1086537"/>
            <a:ext cx="3568513" cy="745675"/>
          </a:xfrm>
          <a:prstGeom prst="rect">
            <a:avLst/>
          </a:prstGeom>
        </p:spPr>
      </p:pic>
      <p:pic>
        <p:nvPicPr>
          <p:cNvPr id="46" name="Picture 45">
            <a:extLst>
              <a:ext uri="{FF2B5EF4-FFF2-40B4-BE49-F238E27FC236}">
                <a16:creationId xmlns:a16="http://schemas.microsoft.com/office/drawing/2014/main" id="{DFCFAAA5-9F7B-45F3-8B2D-192579E1EA6A}"/>
              </a:ext>
            </a:extLst>
          </p:cNvPr>
          <p:cNvPicPr>
            <a:picLocks noChangeAspect="1"/>
          </p:cNvPicPr>
          <p:nvPr/>
        </p:nvPicPr>
        <p:blipFill>
          <a:blip r:embed="rId3">
            <a:alphaModFix/>
          </a:blip>
          <a:stretch>
            <a:fillRect/>
          </a:stretch>
        </p:blipFill>
        <p:spPr>
          <a:xfrm>
            <a:off x="574713" y="5617717"/>
            <a:ext cx="3582617" cy="531745"/>
          </a:xfrm>
          <a:prstGeom prst="rect">
            <a:avLst/>
          </a:prstGeom>
        </p:spPr>
      </p:pic>
      <p:sp>
        <p:nvSpPr>
          <p:cNvPr id="26" name="Rectangle 25">
            <a:extLst>
              <a:ext uri="{FF2B5EF4-FFF2-40B4-BE49-F238E27FC236}">
                <a16:creationId xmlns:a16="http://schemas.microsoft.com/office/drawing/2014/main" id="{5D65B6C3-ECED-425F-86CD-55A91F7DDDFC}"/>
              </a:ext>
            </a:extLst>
          </p:cNvPr>
          <p:cNvSpPr/>
          <p:nvPr/>
        </p:nvSpPr>
        <p:spPr>
          <a:xfrm rot="16200000">
            <a:off x="4303778" y="-1812222"/>
            <a:ext cx="3510967" cy="10969095"/>
          </a:xfrm>
          <a:prstGeom prst="rect">
            <a:avLst/>
          </a:prstGeom>
          <a:solidFill>
            <a:schemeClr val="bg2">
              <a:lumMod val="95000"/>
            </a:schemeClr>
          </a:solid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strategy</a:t>
            </a:r>
          </a:p>
        </p:txBody>
      </p:sp>
      <p:sp>
        <p:nvSpPr>
          <p:cNvPr id="27" name="Rectangle 26">
            <a:extLst>
              <a:ext uri="{FF2B5EF4-FFF2-40B4-BE49-F238E27FC236}">
                <a16:creationId xmlns:a16="http://schemas.microsoft.com/office/drawing/2014/main" id="{B2FBC2D6-9179-436B-8491-230A60BE74EB}"/>
              </a:ext>
            </a:extLst>
          </p:cNvPr>
          <p:cNvSpPr/>
          <p:nvPr/>
        </p:nvSpPr>
        <p:spPr>
          <a:xfrm>
            <a:off x="1242041" y="2068260"/>
            <a:ext cx="9858350" cy="450793"/>
          </a:xfrm>
          <a:prstGeom prst="rect">
            <a:avLst/>
          </a:prstGeom>
          <a:solidFill>
            <a:srgbClr val="764AA0"/>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Strategy statement</a:t>
            </a:r>
          </a:p>
        </p:txBody>
      </p:sp>
      <p:sp>
        <p:nvSpPr>
          <p:cNvPr id="29" name="Rectangle 28">
            <a:extLst>
              <a:ext uri="{FF2B5EF4-FFF2-40B4-BE49-F238E27FC236}">
                <a16:creationId xmlns:a16="http://schemas.microsoft.com/office/drawing/2014/main" id="{589FFB6A-1B84-4F57-9F23-6117B717798B}"/>
              </a:ext>
            </a:extLst>
          </p:cNvPr>
          <p:cNvSpPr/>
          <p:nvPr/>
        </p:nvSpPr>
        <p:spPr>
          <a:xfrm>
            <a:off x="1242053" y="2603683"/>
            <a:ext cx="1798860" cy="730180"/>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trategic data objective 1</a:t>
            </a:r>
          </a:p>
        </p:txBody>
      </p:sp>
      <p:sp>
        <p:nvSpPr>
          <p:cNvPr id="30" name="Rectangle 29">
            <a:extLst>
              <a:ext uri="{FF2B5EF4-FFF2-40B4-BE49-F238E27FC236}">
                <a16:creationId xmlns:a16="http://schemas.microsoft.com/office/drawing/2014/main" id="{24D3E383-06C1-49C4-9ABD-8978EC7173CD}"/>
              </a:ext>
            </a:extLst>
          </p:cNvPr>
          <p:cNvSpPr/>
          <p:nvPr/>
        </p:nvSpPr>
        <p:spPr>
          <a:xfrm>
            <a:off x="3256923" y="2603682"/>
            <a:ext cx="1798860" cy="728015"/>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trategic data objective 2</a:t>
            </a:r>
          </a:p>
        </p:txBody>
      </p:sp>
      <p:sp>
        <p:nvSpPr>
          <p:cNvPr id="31" name="Rectangle 30">
            <a:extLst>
              <a:ext uri="{FF2B5EF4-FFF2-40B4-BE49-F238E27FC236}">
                <a16:creationId xmlns:a16="http://schemas.microsoft.com/office/drawing/2014/main" id="{64CA730A-072B-4418-81AC-8D9C9D277206}"/>
              </a:ext>
            </a:extLst>
          </p:cNvPr>
          <p:cNvSpPr/>
          <p:nvPr/>
        </p:nvSpPr>
        <p:spPr>
          <a:xfrm>
            <a:off x="5271793" y="2603683"/>
            <a:ext cx="1798860" cy="728014"/>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trategic data objective 3</a:t>
            </a:r>
          </a:p>
        </p:txBody>
      </p:sp>
      <p:sp>
        <p:nvSpPr>
          <p:cNvPr id="47" name="Rectangle 46">
            <a:extLst>
              <a:ext uri="{FF2B5EF4-FFF2-40B4-BE49-F238E27FC236}">
                <a16:creationId xmlns:a16="http://schemas.microsoft.com/office/drawing/2014/main" id="{B5AE2846-A471-4E1E-9A3C-C1EDB50C65AF}"/>
              </a:ext>
            </a:extLst>
          </p:cNvPr>
          <p:cNvSpPr/>
          <p:nvPr/>
        </p:nvSpPr>
        <p:spPr>
          <a:xfrm>
            <a:off x="1242041" y="4584366"/>
            <a:ext cx="9858350" cy="690979"/>
          </a:xfrm>
          <a:prstGeom prst="rect">
            <a:avLst/>
          </a:prstGeom>
          <a:solidFill>
            <a:schemeClr val="tx2"/>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Use cases</a:t>
            </a:r>
          </a:p>
        </p:txBody>
      </p:sp>
      <p:pic>
        <p:nvPicPr>
          <p:cNvPr id="57" name="Picture 56">
            <a:extLst>
              <a:ext uri="{FF2B5EF4-FFF2-40B4-BE49-F238E27FC236}">
                <a16:creationId xmlns:a16="http://schemas.microsoft.com/office/drawing/2014/main" id="{4B7A39FD-6A61-4C3E-9D00-F677C9F0612E}"/>
              </a:ext>
            </a:extLst>
          </p:cNvPr>
          <p:cNvPicPr>
            <a:picLocks noChangeAspect="1"/>
          </p:cNvPicPr>
          <p:nvPr/>
        </p:nvPicPr>
        <p:blipFill>
          <a:blip r:embed="rId4"/>
          <a:stretch>
            <a:fillRect/>
          </a:stretch>
        </p:blipFill>
        <p:spPr>
          <a:xfrm>
            <a:off x="10851866" y="1509908"/>
            <a:ext cx="691942" cy="644606"/>
          </a:xfrm>
          <a:prstGeom prst="rect">
            <a:avLst/>
          </a:prstGeom>
        </p:spPr>
      </p:pic>
      <p:sp>
        <p:nvSpPr>
          <p:cNvPr id="62" name="Down Arrow 61">
            <a:extLst>
              <a:ext uri="{FF2B5EF4-FFF2-40B4-BE49-F238E27FC236}">
                <a16:creationId xmlns:a16="http://schemas.microsoft.com/office/drawing/2014/main" id="{9F4F2FF7-0E74-452F-8492-F85B59E770F0}"/>
              </a:ext>
            </a:extLst>
          </p:cNvPr>
          <p:cNvSpPr/>
          <p:nvPr/>
        </p:nvSpPr>
        <p:spPr>
          <a:xfrm>
            <a:off x="1488652" y="3449489"/>
            <a:ext cx="421543" cy="1168073"/>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Down Arrow 63">
            <a:extLst>
              <a:ext uri="{FF2B5EF4-FFF2-40B4-BE49-F238E27FC236}">
                <a16:creationId xmlns:a16="http://schemas.microsoft.com/office/drawing/2014/main" id="{5277AB8D-6E34-4680-BBD6-37A7CE833DA9}"/>
              </a:ext>
            </a:extLst>
          </p:cNvPr>
          <p:cNvSpPr/>
          <p:nvPr/>
        </p:nvSpPr>
        <p:spPr>
          <a:xfrm>
            <a:off x="2917809" y="3449489"/>
            <a:ext cx="421543" cy="1168073"/>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Down Arrow 64">
            <a:extLst>
              <a:ext uri="{FF2B5EF4-FFF2-40B4-BE49-F238E27FC236}">
                <a16:creationId xmlns:a16="http://schemas.microsoft.com/office/drawing/2014/main" id="{59327B6E-5898-42E1-99F7-75C9876FC0EC}"/>
              </a:ext>
            </a:extLst>
          </p:cNvPr>
          <p:cNvSpPr/>
          <p:nvPr/>
        </p:nvSpPr>
        <p:spPr>
          <a:xfrm>
            <a:off x="4442715" y="3451654"/>
            <a:ext cx="421543" cy="1168073"/>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Down Arrow 65">
            <a:extLst>
              <a:ext uri="{FF2B5EF4-FFF2-40B4-BE49-F238E27FC236}">
                <a16:creationId xmlns:a16="http://schemas.microsoft.com/office/drawing/2014/main" id="{A0533511-8A45-4CF7-B767-AA6D69E42C18}"/>
              </a:ext>
            </a:extLst>
          </p:cNvPr>
          <p:cNvSpPr/>
          <p:nvPr/>
        </p:nvSpPr>
        <p:spPr>
          <a:xfrm>
            <a:off x="5871872" y="3451654"/>
            <a:ext cx="421543" cy="1168073"/>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Down Arrow 66">
            <a:extLst>
              <a:ext uri="{FF2B5EF4-FFF2-40B4-BE49-F238E27FC236}">
                <a16:creationId xmlns:a16="http://schemas.microsoft.com/office/drawing/2014/main" id="{2DB714B5-3078-46C0-AE32-240A3EF559D8}"/>
              </a:ext>
            </a:extLst>
          </p:cNvPr>
          <p:cNvSpPr/>
          <p:nvPr/>
        </p:nvSpPr>
        <p:spPr>
          <a:xfrm>
            <a:off x="7356998" y="3444302"/>
            <a:ext cx="421543" cy="1168073"/>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Down Arrow 67">
            <a:extLst>
              <a:ext uri="{FF2B5EF4-FFF2-40B4-BE49-F238E27FC236}">
                <a16:creationId xmlns:a16="http://schemas.microsoft.com/office/drawing/2014/main" id="{DFA94B9A-2FFE-4490-919A-F5D58BDCBB38}"/>
              </a:ext>
            </a:extLst>
          </p:cNvPr>
          <p:cNvSpPr/>
          <p:nvPr/>
        </p:nvSpPr>
        <p:spPr>
          <a:xfrm>
            <a:off x="8786155" y="3444302"/>
            <a:ext cx="421543" cy="1168073"/>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C787732E-4D85-4314-B9CD-8E069DB7DB26}"/>
              </a:ext>
            </a:extLst>
          </p:cNvPr>
          <p:cNvSpPr/>
          <p:nvPr/>
        </p:nvSpPr>
        <p:spPr>
          <a:xfrm>
            <a:off x="7286663" y="2603682"/>
            <a:ext cx="1798860" cy="728013"/>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trategic data objective 4</a:t>
            </a:r>
          </a:p>
        </p:txBody>
      </p:sp>
      <p:sp>
        <p:nvSpPr>
          <p:cNvPr id="33" name="Rectangle 32">
            <a:extLst>
              <a:ext uri="{FF2B5EF4-FFF2-40B4-BE49-F238E27FC236}">
                <a16:creationId xmlns:a16="http://schemas.microsoft.com/office/drawing/2014/main" id="{383F8BD7-ADD4-45DB-92EC-7F4A6962DC66}"/>
              </a:ext>
            </a:extLst>
          </p:cNvPr>
          <p:cNvSpPr/>
          <p:nvPr/>
        </p:nvSpPr>
        <p:spPr>
          <a:xfrm>
            <a:off x="9301531" y="2603683"/>
            <a:ext cx="1798860" cy="728012"/>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trategic data objective 5</a:t>
            </a:r>
          </a:p>
        </p:txBody>
      </p:sp>
      <p:sp>
        <p:nvSpPr>
          <p:cNvPr id="6" name="Flowchart: Preparation 5">
            <a:extLst>
              <a:ext uri="{FF2B5EF4-FFF2-40B4-BE49-F238E27FC236}">
                <a16:creationId xmlns:a16="http://schemas.microsoft.com/office/drawing/2014/main" id="{D6ED2BE0-B348-4336-858E-FBC744ABB955}"/>
              </a:ext>
            </a:extLst>
          </p:cNvPr>
          <p:cNvSpPr/>
          <p:nvPr/>
        </p:nvSpPr>
        <p:spPr>
          <a:xfrm rot="20421027">
            <a:off x="954041" y="2113655"/>
            <a:ext cx="576000" cy="360000"/>
          </a:xfrm>
          <a:prstGeom prst="flowChartPreparation">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draft</a:t>
            </a:r>
          </a:p>
        </p:txBody>
      </p:sp>
      <p:sp>
        <p:nvSpPr>
          <p:cNvPr id="40" name="Flowchart: Preparation 39">
            <a:extLst>
              <a:ext uri="{FF2B5EF4-FFF2-40B4-BE49-F238E27FC236}">
                <a16:creationId xmlns:a16="http://schemas.microsoft.com/office/drawing/2014/main" id="{079B2693-6A6C-456C-B5C7-CD85BA809838}"/>
              </a:ext>
            </a:extLst>
          </p:cNvPr>
          <p:cNvSpPr/>
          <p:nvPr/>
        </p:nvSpPr>
        <p:spPr>
          <a:xfrm rot="20421027">
            <a:off x="954041" y="2541413"/>
            <a:ext cx="576000" cy="360000"/>
          </a:xfrm>
          <a:prstGeom prst="flowChartPreparation">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draft</a:t>
            </a:r>
          </a:p>
        </p:txBody>
      </p:sp>
      <p:sp>
        <p:nvSpPr>
          <p:cNvPr id="45" name="Down Arrow 67">
            <a:extLst>
              <a:ext uri="{FF2B5EF4-FFF2-40B4-BE49-F238E27FC236}">
                <a16:creationId xmlns:a16="http://schemas.microsoft.com/office/drawing/2014/main" id="{B97EA69F-F357-4B65-869A-550F6861BEFD}"/>
              </a:ext>
            </a:extLst>
          </p:cNvPr>
          <p:cNvSpPr/>
          <p:nvPr/>
        </p:nvSpPr>
        <p:spPr>
          <a:xfrm>
            <a:off x="10138680" y="3429000"/>
            <a:ext cx="421543" cy="1168073"/>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Flowchart: Preparation 48">
            <a:extLst>
              <a:ext uri="{FF2B5EF4-FFF2-40B4-BE49-F238E27FC236}">
                <a16:creationId xmlns:a16="http://schemas.microsoft.com/office/drawing/2014/main" id="{8D3BA013-8BEE-4B26-B1C3-03C9BE642285}"/>
              </a:ext>
            </a:extLst>
          </p:cNvPr>
          <p:cNvSpPr/>
          <p:nvPr/>
        </p:nvSpPr>
        <p:spPr>
          <a:xfrm rot="20421027">
            <a:off x="3928402" y="5598800"/>
            <a:ext cx="576000" cy="360000"/>
          </a:xfrm>
          <a:prstGeom prst="flowChartPreparation">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draft</a:t>
            </a:r>
          </a:p>
        </p:txBody>
      </p:sp>
      <p:grpSp>
        <p:nvGrpSpPr>
          <p:cNvPr id="3" name="Group 2">
            <a:extLst>
              <a:ext uri="{FF2B5EF4-FFF2-40B4-BE49-F238E27FC236}">
                <a16:creationId xmlns:a16="http://schemas.microsoft.com/office/drawing/2014/main" id="{2ADD1F91-D13B-4A94-A52B-C4719D67C5BC}"/>
              </a:ext>
            </a:extLst>
          </p:cNvPr>
          <p:cNvGrpSpPr/>
          <p:nvPr/>
        </p:nvGrpSpPr>
        <p:grpSpPr>
          <a:xfrm>
            <a:off x="1242041" y="3755133"/>
            <a:ext cx="9858350" cy="349596"/>
            <a:chOff x="1399993" y="3926583"/>
            <a:chExt cx="9582612" cy="349596"/>
          </a:xfrm>
        </p:grpSpPr>
        <p:grpSp>
          <p:nvGrpSpPr>
            <p:cNvPr id="34" name="Group 33">
              <a:extLst>
                <a:ext uri="{FF2B5EF4-FFF2-40B4-BE49-F238E27FC236}">
                  <a16:creationId xmlns:a16="http://schemas.microsoft.com/office/drawing/2014/main" id="{3CDB58D9-24C3-45F9-9A38-EAB2BCB4109B}"/>
                </a:ext>
              </a:extLst>
            </p:cNvPr>
            <p:cNvGrpSpPr/>
            <p:nvPr/>
          </p:nvGrpSpPr>
          <p:grpSpPr>
            <a:xfrm>
              <a:off x="1399993" y="3926583"/>
              <a:ext cx="6814428" cy="349596"/>
              <a:chOff x="587372" y="3938694"/>
              <a:chExt cx="4853572" cy="511425"/>
            </a:xfrm>
            <a:solidFill>
              <a:schemeClr val="accent5"/>
            </a:solidFill>
          </p:grpSpPr>
          <p:sp>
            <p:nvSpPr>
              <p:cNvPr id="35" name="Rectangle 34">
                <a:extLst>
                  <a:ext uri="{FF2B5EF4-FFF2-40B4-BE49-F238E27FC236}">
                    <a16:creationId xmlns:a16="http://schemas.microsoft.com/office/drawing/2014/main" id="{36DED566-0412-437D-AAB2-C4090D57ED60}"/>
                  </a:ext>
                </a:extLst>
              </p:cNvPr>
              <p:cNvSpPr/>
              <p:nvPr/>
            </p:nvSpPr>
            <p:spPr>
              <a:xfrm>
                <a:off x="58737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1</a:t>
                </a:r>
              </a:p>
            </p:txBody>
          </p:sp>
          <p:sp>
            <p:nvSpPr>
              <p:cNvPr id="36" name="Rectangle 35">
                <a:extLst>
                  <a:ext uri="{FF2B5EF4-FFF2-40B4-BE49-F238E27FC236}">
                    <a16:creationId xmlns:a16="http://schemas.microsoft.com/office/drawing/2014/main" id="{0D1F735D-D641-4573-B834-7E529CCDAEDB}"/>
                  </a:ext>
                </a:extLst>
              </p:cNvPr>
              <p:cNvSpPr/>
              <p:nvPr/>
            </p:nvSpPr>
            <p:spPr>
              <a:xfrm>
                <a:off x="1569737"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2</a:t>
                </a:r>
              </a:p>
            </p:txBody>
          </p:sp>
          <p:sp>
            <p:nvSpPr>
              <p:cNvPr id="37" name="Rectangle 36">
                <a:extLst>
                  <a:ext uri="{FF2B5EF4-FFF2-40B4-BE49-F238E27FC236}">
                    <a16:creationId xmlns:a16="http://schemas.microsoft.com/office/drawing/2014/main" id="{2443442B-A757-44CC-9578-6BD20777C6A7}"/>
                  </a:ext>
                </a:extLst>
              </p:cNvPr>
              <p:cNvSpPr/>
              <p:nvPr/>
            </p:nvSpPr>
            <p:spPr>
              <a:xfrm>
                <a:off x="255210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3</a:t>
                </a:r>
              </a:p>
            </p:txBody>
          </p:sp>
          <p:sp>
            <p:nvSpPr>
              <p:cNvPr id="38" name="Rectangle 37">
                <a:extLst>
                  <a:ext uri="{FF2B5EF4-FFF2-40B4-BE49-F238E27FC236}">
                    <a16:creationId xmlns:a16="http://schemas.microsoft.com/office/drawing/2014/main" id="{38EC92A3-503A-4BC3-B512-EB9664793EDC}"/>
                  </a:ext>
                </a:extLst>
              </p:cNvPr>
              <p:cNvSpPr/>
              <p:nvPr/>
            </p:nvSpPr>
            <p:spPr>
              <a:xfrm>
                <a:off x="3534467"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4</a:t>
                </a:r>
              </a:p>
            </p:txBody>
          </p:sp>
          <p:sp>
            <p:nvSpPr>
              <p:cNvPr id="39" name="Rectangle 38">
                <a:extLst>
                  <a:ext uri="{FF2B5EF4-FFF2-40B4-BE49-F238E27FC236}">
                    <a16:creationId xmlns:a16="http://schemas.microsoft.com/office/drawing/2014/main" id="{35BB905B-9707-4E2D-837D-C93DE4ECBF1D}"/>
                  </a:ext>
                </a:extLst>
              </p:cNvPr>
              <p:cNvSpPr/>
              <p:nvPr/>
            </p:nvSpPr>
            <p:spPr>
              <a:xfrm>
                <a:off x="4516831"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5</a:t>
                </a:r>
              </a:p>
            </p:txBody>
          </p:sp>
        </p:grpSp>
        <p:sp>
          <p:nvSpPr>
            <p:cNvPr id="28" name="Rectangle 27">
              <a:extLst>
                <a:ext uri="{FF2B5EF4-FFF2-40B4-BE49-F238E27FC236}">
                  <a16:creationId xmlns:a16="http://schemas.microsoft.com/office/drawing/2014/main" id="{7BFE86CE-803C-4D38-B150-2EA00AE02710}"/>
                </a:ext>
              </a:extLst>
            </p:cNvPr>
            <p:cNvSpPr/>
            <p:nvPr/>
          </p:nvSpPr>
          <p:spPr>
            <a:xfrm>
              <a:off x="8301055" y="3926583"/>
              <a:ext cx="1297457" cy="349596"/>
            </a:xfrm>
            <a:prstGeom prst="rect">
              <a:avLst/>
            </a:prstGeom>
            <a:solidFill>
              <a:schemeClr val="accent5"/>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6</a:t>
              </a:r>
            </a:p>
          </p:txBody>
        </p:sp>
        <p:sp>
          <p:nvSpPr>
            <p:cNvPr id="51" name="Rectangle 50">
              <a:extLst>
                <a:ext uri="{FF2B5EF4-FFF2-40B4-BE49-F238E27FC236}">
                  <a16:creationId xmlns:a16="http://schemas.microsoft.com/office/drawing/2014/main" id="{594FCA77-B135-4511-ABDE-A2D9E6044E68}"/>
                </a:ext>
              </a:extLst>
            </p:cNvPr>
            <p:cNvSpPr/>
            <p:nvPr/>
          </p:nvSpPr>
          <p:spPr>
            <a:xfrm>
              <a:off x="9685148" y="3926583"/>
              <a:ext cx="1297457" cy="349596"/>
            </a:xfrm>
            <a:prstGeom prst="rect">
              <a:avLst/>
            </a:prstGeom>
            <a:solidFill>
              <a:schemeClr val="accent5"/>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esign principle 7</a:t>
              </a:r>
            </a:p>
          </p:txBody>
        </p:sp>
      </p:grpSp>
      <p:sp>
        <p:nvSpPr>
          <p:cNvPr id="48" name="Flowchart: Preparation 47">
            <a:extLst>
              <a:ext uri="{FF2B5EF4-FFF2-40B4-BE49-F238E27FC236}">
                <a16:creationId xmlns:a16="http://schemas.microsoft.com/office/drawing/2014/main" id="{FC49A94A-45F7-43E7-92FE-C3236A37F24D}"/>
              </a:ext>
            </a:extLst>
          </p:cNvPr>
          <p:cNvSpPr/>
          <p:nvPr/>
        </p:nvSpPr>
        <p:spPr>
          <a:xfrm rot="20421027">
            <a:off x="951211" y="3567250"/>
            <a:ext cx="576000" cy="360000"/>
          </a:xfrm>
          <a:prstGeom prst="flowChartPreparation">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draft</a:t>
            </a:r>
          </a:p>
        </p:txBody>
      </p:sp>
      <p:sp>
        <p:nvSpPr>
          <p:cNvPr id="42" name="Flowchart: Preparation 41">
            <a:extLst>
              <a:ext uri="{FF2B5EF4-FFF2-40B4-BE49-F238E27FC236}">
                <a16:creationId xmlns:a16="http://schemas.microsoft.com/office/drawing/2014/main" id="{4D656F6A-61C3-499D-A119-C0C3B237FEAD}"/>
              </a:ext>
            </a:extLst>
          </p:cNvPr>
          <p:cNvSpPr/>
          <p:nvPr/>
        </p:nvSpPr>
        <p:spPr>
          <a:xfrm rot="20421027">
            <a:off x="1044743" y="4534828"/>
            <a:ext cx="525497" cy="280228"/>
          </a:xfrm>
          <a:prstGeom prst="flowChartPreparation">
            <a:avLst/>
          </a:prstGeom>
          <a:solidFill>
            <a:schemeClr val="accent4"/>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WIP</a:t>
            </a:r>
          </a:p>
        </p:txBody>
      </p:sp>
    </p:spTree>
    <p:extLst>
      <p:ext uri="{BB962C8B-B14F-4D97-AF65-F5344CB8AC3E}">
        <p14:creationId xmlns:p14="http://schemas.microsoft.com/office/powerpoint/2010/main" val="26166239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B8CA2DB3-7294-4BD4-8FA1-50315122608D}"/>
              </a:ext>
            </a:extLst>
          </p:cNvPr>
          <p:cNvSpPr>
            <a:spLocks noGrp="1"/>
          </p:cNvSpPr>
          <p:nvPr>
            <p:ph type="pic" sz="quarter" idx="12"/>
          </p:nvPr>
        </p:nvSpPr>
        <p:spPr/>
      </p:sp>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a:lstStyle/>
          <a:p>
            <a:r>
              <a:rPr lang="en-US"/>
              <a:t>Data Strategy Summary</a:t>
            </a:r>
            <a:endParaRPr lang="nl-NL"/>
          </a:p>
        </p:txBody>
      </p:sp>
      <p:sp>
        <p:nvSpPr>
          <p:cNvPr id="4" name="Text Placeholder 3">
            <a:extLst>
              <a:ext uri="{FF2B5EF4-FFF2-40B4-BE49-F238E27FC236}">
                <a16:creationId xmlns:a16="http://schemas.microsoft.com/office/drawing/2014/main" id="{4465BC45-AA7C-4490-BFD0-C33888A744F3}"/>
              </a:ext>
            </a:extLst>
          </p:cNvPr>
          <p:cNvSpPr>
            <a:spLocks noGrp="1"/>
          </p:cNvSpPr>
          <p:nvPr>
            <p:ph type="body" sz="quarter" idx="13"/>
          </p:nvPr>
        </p:nvSpPr>
        <p:spPr/>
        <p:txBody>
          <a:bodyPr/>
          <a:lstStyle/>
          <a:p>
            <a:endParaRPr lang="nl-NL"/>
          </a:p>
        </p:txBody>
      </p:sp>
    </p:spTree>
    <p:extLst>
      <p:ext uri="{BB962C8B-B14F-4D97-AF65-F5344CB8AC3E}">
        <p14:creationId xmlns:p14="http://schemas.microsoft.com/office/powerpoint/2010/main" val="16506691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5">
            <a:extLst>
              <a:ext uri="{FF2B5EF4-FFF2-40B4-BE49-F238E27FC236}">
                <a16:creationId xmlns:a16="http://schemas.microsoft.com/office/drawing/2014/main" id="{D4EACE78-4A8F-49B2-AA26-14770517D968}"/>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tab pos="9505950" algn="l"/>
              </a:tabLst>
              <a:defRPr/>
            </a:pPr>
            <a:r>
              <a:rPr lang="en-US" sz="2400">
                <a:solidFill>
                  <a:srgbClr val="0069B4"/>
                </a:solidFill>
                <a:latin typeface="Calibri Light" panose="020F0302020204030204"/>
              </a:rPr>
              <a:t>AAM Data Strategy Disclaimer</a:t>
            </a:r>
            <a:endParaRPr kumimoji="0" lang="en-US" sz="2400" i="0" strike="noStrike" kern="1200" cap="none" spc="0" normalizeH="0" baseline="0" noProof="0">
              <a:ln>
                <a:noFill/>
              </a:ln>
              <a:solidFill>
                <a:srgbClr val="0069B4"/>
              </a:solidFill>
              <a:effectLst/>
              <a:uLnTx/>
              <a:uFillTx/>
              <a:latin typeface="Calibri Light" panose="020F0302020204030204"/>
              <a:ea typeface="+mj-ea"/>
              <a:cs typeface="+mj-cs"/>
            </a:endParaRPr>
          </a:p>
        </p:txBody>
      </p:sp>
      <p:sp>
        <p:nvSpPr>
          <p:cNvPr id="2" name="Rounded Rectangle 1">
            <a:extLst>
              <a:ext uri="{FF2B5EF4-FFF2-40B4-BE49-F238E27FC236}">
                <a16:creationId xmlns:a16="http://schemas.microsoft.com/office/drawing/2014/main" id="{C8E1F6B9-B287-4B74-888F-3BBBD62A684C}"/>
              </a:ext>
            </a:extLst>
          </p:cNvPr>
          <p:cNvSpPr/>
          <p:nvPr/>
        </p:nvSpPr>
        <p:spPr>
          <a:xfrm>
            <a:off x="1570022" y="1548143"/>
            <a:ext cx="3784348" cy="3431263"/>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a:p>
            <a:pPr algn="ctr"/>
            <a:endParaRPr lang="en-US"/>
          </a:p>
          <a:p>
            <a:r>
              <a:rPr lang="en-US"/>
              <a:t>Data is an enabler at AAM that is driving the client conversations and therefore we first commit to strengthening its foundation while improving the roles and responsibilities to define clear ownerships in order to ensure integrity, accuracy and compliance.</a:t>
            </a:r>
          </a:p>
        </p:txBody>
      </p:sp>
      <p:sp>
        <p:nvSpPr>
          <p:cNvPr id="41" name="Rounded Rectangle 1">
            <a:extLst>
              <a:ext uri="{FF2B5EF4-FFF2-40B4-BE49-F238E27FC236}">
                <a16:creationId xmlns:a16="http://schemas.microsoft.com/office/drawing/2014/main" id="{967C6AF6-7E4A-49D2-A475-E2AEACEFFEA0}"/>
              </a:ext>
            </a:extLst>
          </p:cNvPr>
          <p:cNvSpPr/>
          <p:nvPr/>
        </p:nvSpPr>
        <p:spPr>
          <a:xfrm>
            <a:off x="6819523" y="1548142"/>
            <a:ext cx="3784348" cy="3431263"/>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a:p>
            <a:endParaRPr lang="en-US"/>
          </a:p>
          <a:p>
            <a:r>
              <a:rPr lang="en-US"/>
              <a:t>AAM leverages data-driven solutions by enabling advanced analytics in the full value chain to create insights for building better investment products for clients and to drive cost-efficiencies on serving to the clients on the front-line. </a:t>
            </a:r>
          </a:p>
        </p:txBody>
      </p:sp>
      <p:sp>
        <p:nvSpPr>
          <p:cNvPr id="7" name="Isosceles Triangle 6">
            <a:extLst>
              <a:ext uri="{FF2B5EF4-FFF2-40B4-BE49-F238E27FC236}">
                <a16:creationId xmlns:a16="http://schemas.microsoft.com/office/drawing/2014/main" id="{2B7E06A7-F9BC-42FA-B96C-CB45C7D1A9A9}"/>
              </a:ext>
            </a:extLst>
          </p:cNvPr>
          <p:cNvSpPr/>
          <p:nvPr/>
        </p:nvSpPr>
        <p:spPr>
          <a:xfrm rot="5400000">
            <a:off x="4851149" y="3159658"/>
            <a:ext cx="2471596" cy="208230"/>
          </a:xfrm>
          <a:prstGeom prst="triangle">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7A5D484C-36F9-4D95-843C-10E10DC8073B}"/>
              </a:ext>
            </a:extLst>
          </p:cNvPr>
          <p:cNvSpPr txBox="1"/>
          <p:nvPr/>
        </p:nvSpPr>
        <p:spPr>
          <a:xfrm>
            <a:off x="588817" y="1019445"/>
            <a:ext cx="5168979" cy="215444"/>
          </a:xfrm>
          <a:prstGeom prst="rect">
            <a:avLst/>
          </a:prstGeom>
        </p:spPr>
        <p:txBody>
          <a:bodyPr wrap="none" lIns="0" tIns="0" rIns="0" bIns="0" rtlCol="0" anchor="t" anchorCtr="0">
            <a:spAutoFit/>
          </a:bodyPr>
          <a:lstStyle/>
          <a:p>
            <a:r>
              <a:rPr lang="en-US" sz="1400"/>
              <a:t>AAM will follow a 2-step approach to excel with the new data strategy. </a:t>
            </a:r>
            <a:endParaRPr lang="en-US" sz="1400">
              <a:solidFill>
                <a:schemeClr val="tx1"/>
              </a:solidFill>
            </a:endParaRPr>
          </a:p>
        </p:txBody>
      </p:sp>
      <p:sp>
        <p:nvSpPr>
          <p:cNvPr id="60" name="TextBox 59">
            <a:extLst>
              <a:ext uri="{FF2B5EF4-FFF2-40B4-BE49-F238E27FC236}">
                <a16:creationId xmlns:a16="http://schemas.microsoft.com/office/drawing/2014/main" id="{A8A8BE57-39EB-42DA-80EC-A53C0C082A82}"/>
              </a:ext>
            </a:extLst>
          </p:cNvPr>
          <p:cNvSpPr txBox="1"/>
          <p:nvPr/>
        </p:nvSpPr>
        <p:spPr>
          <a:xfrm>
            <a:off x="2405832" y="1647659"/>
            <a:ext cx="2474866" cy="646331"/>
          </a:xfrm>
          <a:prstGeom prst="rect">
            <a:avLst/>
          </a:prstGeom>
          <a:noFill/>
        </p:spPr>
        <p:txBody>
          <a:bodyPr wrap="square">
            <a:spAutoFit/>
          </a:bodyPr>
          <a:lstStyle/>
          <a:p>
            <a:r>
              <a:rPr lang="en-US">
                <a:solidFill>
                  <a:schemeClr val="bg1"/>
                </a:solidFill>
              </a:rPr>
              <a:t>Step-1: Reinforced data foundation</a:t>
            </a:r>
          </a:p>
        </p:txBody>
      </p:sp>
      <p:pic>
        <p:nvPicPr>
          <p:cNvPr id="10" name="Picture 9">
            <a:extLst>
              <a:ext uri="{FF2B5EF4-FFF2-40B4-BE49-F238E27FC236}">
                <a16:creationId xmlns:a16="http://schemas.microsoft.com/office/drawing/2014/main" id="{38BD36E6-C633-419E-ACC9-01A3AA922B71}"/>
              </a:ext>
            </a:extLst>
          </p:cNvPr>
          <p:cNvPicPr>
            <a:picLocks noChangeAspect="1"/>
          </p:cNvPicPr>
          <p:nvPr/>
        </p:nvPicPr>
        <p:blipFill>
          <a:blip r:embed="rId2"/>
          <a:stretch>
            <a:fillRect/>
          </a:stretch>
        </p:blipFill>
        <p:spPr>
          <a:xfrm>
            <a:off x="7091127" y="1647659"/>
            <a:ext cx="565088" cy="681133"/>
          </a:xfrm>
          <a:prstGeom prst="rect">
            <a:avLst/>
          </a:prstGeom>
        </p:spPr>
      </p:pic>
      <p:sp>
        <p:nvSpPr>
          <p:cNvPr id="92" name="TextBox 91">
            <a:extLst>
              <a:ext uri="{FF2B5EF4-FFF2-40B4-BE49-F238E27FC236}">
                <a16:creationId xmlns:a16="http://schemas.microsoft.com/office/drawing/2014/main" id="{77ABE1FE-BFC3-439A-BF29-778A484118F5}"/>
              </a:ext>
            </a:extLst>
          </p:cNvPr>
          <p:cNvSpPr txBox="1"/>
          <p:nvPr/>
        </p:nvSpPr>
        <p:spPr>
          <a:xfrm>
            <a:off x="7656215" y="1672485"/>
            <a:ext cx="2599853" cy="646331"/>
          </a:xfrm>
          <a:prstGeom prst="rect">
            <a:avLst/>
          </a:prstGeom>
          <a:noFill/>
        </p:spPr>
        <p:txBody>
          <a:bodyPr wrap="square">
            <a:spAutoFit/>
          </a:bodyPr>
          <a:lstStyle>
            <a:defPPr>
              <a:defRPr lang="en-US"/>
            </a:defPPr>
            <a:lvl1pPr>
              <a:defRPr>
                <a:solidFill>
                  <a:schemeClr val="bg1"/>
                </a:solidFill>
              </a:defRPr>
            </a:lvl1pPr>
          </a:lstStyle>
          <a:p>
            <a:r>
              <a:rPr lang="en-US"/>
              <a:t>Step-2: Data-driven client focus</a:t>
            </a:r>
          </a:p>
        </p:txBody>
      </p:sp>
      <p:grpSp>
        <p:nvGrpSpPr>
          <p:cNvPr id="13" name="Group 12">
            <a:extLst>
              <a:ext uri="{FF2B5EF4-FFF2-40B4-BE49-F238E27FC236}">
                <a16:creationId xmlns:a16="http://schemas.microsoft.com/office/drawing/2014/main" id="{B0A1DA12-721F-4CA1-AA30-E5090BF63546}"/>
              </a:ext>
            </a:extLst>
          </p:cNvPr>
          <p:cNvGrpSpPr/>
          <p:nvPr/>
        </p:nvGrpSpPr>
        <p:grpSpPr>
          <a:xfrm>
            <a:off x="1802267" y="1742225"/>
            <a:ext cx="558800" cy="571500"/>
            <a:chOff x="1847032" y="1822006"/>
            <a:chExt cx="558800" cy="571500"/>
          </a:xfrm>
        </p:grpSpPr>
        <p:sp>
          <p:nvSpPr>
            <p:cNvPr id="43" name="Freeform 40">
              <a:extLst>
                <a:ext uri="{FF2B5EF4-FFF2-40B4-BE49-F238E27FC236}">
                  <a16:creationId xmlns:a16="http://schemas.microsoft.com/office/drawing/2014/main" id="{9B2BDFCC-7921-4ABC-B1B8-B4C91C8A1CE3}"/>
                </a:ext>
              </a:extLst>
            </p:cNvPr>
            <p:cNvSpPr>
              <a:spLocks/>
            </p:cNvSpPr>
            <p:nvPr/>
          </p:nvSpPr>
          <p:spPr bwMode="auto">
            <a:xfrm>
              <a:off x="2037532" y="2085531"/>
              <a:ext cx="368300" cy="219075"/>
            </a:xfrm>
            <a:custGeom>
              <a:avLst/>
              <a:gdLst>
                <a:gd name="T0" fmla="*/ 0 w 232"/>
                <a:gd name="T1" fmla="*/ 138 h 138"/>
                <a:gd name="T2" fmla="*/ 0 w 232"/>
                <a:gd name="T3" fmla="*/ 138 h 138"/>
                <a:gd name="T4" fmla="*/ 6 w 232"/>
                <a:gd name="T5" fmla="*/ 132 h 138"/>
                <a:gd name="T6" fmla="*/ 10 w 232"/>
                <a:gd name="T7" fmla="*/ 130 h 138"/>
                <a:gd name="T8" fmla="*/ 16 w 232"/>
                <a:gd name="T9" fmla="*/ 130 h 138"/>
                <a:gd name="T10" fmla="*/ 16 w 232"/>
                <a:gd name="T11" fmla="*/ 130 h 138"/>
                <a:gd name="T12" fmla="*/ 128 w 232"/>
                <a:gd name="T13" fmla="*/ 130 h 138"/>
                <a:gd name="T14" fmla="*/ 128 w 232"/>
                <a:gd name="T15" fmla="*/ 130 h 138"/>
                <a:gd name="T16" fmla="*/ 134 w 232"/>
                <a:gd name="T17" fmla="*/ 128 h 138"/>
                <a:gd name="T18" fmla="*/ 140 w 232"/>
                <a:gd name="T19" fmla="*/ 122 h 138"/>
                <a:gd name="T20" fmla="*/ 162 w 232"/>
                <a:gd name="T21" fmla="*/ 104 h 138"/>
                <a:gd name="T22" fmla="*/ 192 w 232"/>
                <a:gd name="T23" fmla="*/ 74 h 138"/>
                <a:gd name="T24" fmla="*/ 192 w 232"/>
                <a:gd name="T25" fmla="*/ 74 h 138"/>
                <a:gd name="T26" fmla="*/ 212 w 232"/>
                <a:gd name="T27" fmla="*/ 46 h 138"/>
                <a:gd name="T28" fmla="*/ 224 w 232"/>
                <a:gd name="T29" fmla="*/ 26 h 138"/>
                <a:gd name="T30" fmla="*/ 232 w 232"/>
                <a:gd name="T31" fmla="*/ 10 h 138"/>
                <a:gd name="T32" fmla="*/ 232 w 232"/>
                <a:gd name="T33" fmla="*/ 10 h 138"/>
                <a:gd name="T34" fmla="*/ 228 w 232"/>
                <a:gd name="T35" fmla="*/ 6 h 138"/>
                <a:gd name="T36" fmla="*/ 220 w 232"/>
                <a:gd name="T37" fmla="*/ 2 h 138"/>
                <a:gd name="T38" fmla="*/ 210 w 232"/>
                <a:gd name="T39" fmla="*/ 0 h 138"/>
                <a:gd name="T40" fmla="*/ 200 w 232"/>
                <a:gd name="T41" fmla="*/ 2 h 138"/>
                <a:gd name="T42" fmla="*/ 200 w 232"/>
                <a:gd name="T43" fmla="*/ 2 h 138"/>
                <a:gd name="T44" fmla="*/ 190 w 232"/>
                <a:gd name="T45" fmla="*/ 6 h 138"/>
                <a:gd name="T46" fmla="*/ 182 w 232"/>
                <a:gd name="T47" fmla="*/ 12 h 138"/>
                <a:gd name="T48" fmla="*/ 176 w 232"/>
                <a:gd name="T49" fmla="*/ 22 h 138"/>
                <a:gd name="T50" fmla="*/ 168 w 232"/>
                <a:gd name="T51" fmla="*/ 34 h 138"/>
                <a:gd name="T52" fmla="*/ 132 w 232"/>
                <a:gd name="T53" fmla="*/ 5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2" h="138">
                  <a:moveTo>
                    <a:pt x="0" y="138"/>
                  </a:moveTo>
                  <a:lnTo>
                    <a:pt x="0" y="138"/>
                  </a:lnTo>
                  <a:lnTo>
                    <a:pt x="6" y="132"/>
                  </a:lnTo>
                  <a:lnTo>
                    <a:pt x="10" y="130"/>
                  </a:lnTo>
                  <a:lnTo>
                    <a:pt x="16" y="130"/>
                  </a:lnTo>
                  <a:lnTo>
                    <a:pt x="16" y="130"/>
                  </a:lnTo>
                  <a:lnTo>
                    <a:pt x="128" y="130"/>
                  </a:lnTo>
                  <a:lnTo>
                    <a:pt x="128" y="130"/>
                  </a:lnTo>
                  <a:lnTo>
                    <a:pt x="134" y="128"/>
                  </a:lnTo>
                  <a:lnTo>
                    <a:pt x="140" y="122"/>
                  </a:lnTo>
                  <a:lnTo>
                    <a:pt x="162" y="104"/>
                  </a:lnTo>
                  <a:lnTo>
                    <a:pt x="192" y="74"/>
                  </a:lnTo>
                  <a:lnTo>
                    <a:pt x="192" y="74"/>
                  </a:lnTo>
                  <a:lnTo>
                    <a:pt x="212" y="46"/>
                  </a:lnTo>
                  <a:lnTo>
                    <a:pt x="224" y="26"/>
                  </a:lnTo>
                  <a:lnTo>
                    <a:pt x="232" y="10"/>
                  </a:lnTo>
                  <a:lnTo>
                    <a:pt x="232" y="10"/>
                  </a:lnTo>
                  <a:lnTo>
                    <a:pt x="228" y="6"/>
                  </a:lnTo>
                  <a:lnTo>
                    <a:pt x="220" y="2"/>
                  </a:lnTo>
                  <a:lnTo>
                    <a:pt x="210" y="0"/>
                  </a:lnTo>
                  <a:lnTo>
                    <a:pt x="200" y="2"/>
                  </a:lnTo>
                  <a:lnTo>
                    <a:pt x="200" y="2"/>
                  </a:lnTo>
                  <a:lnTo>
                    <a:pt x="190" y="6"/>
                  </a:lnTo>
                  <a:lnTo>
                    <a:pt x="182" y="12"/>
                  </a:lnTo>
                  <a:lnTo>
                    <a:pt x="176" y="22"/>
                  </a:lnTo>
                  <a:lnTo>
                    <a:pt x="168" y="34"/>
                  </a:lnTo>
                  <a:lnTo>
                    <a:pt x="132" y="54"/>
                  </a:lnTo>
                </a:path>
              </a:pathLst>
            </a:custGeom>
            <a:solidFill>
              <a:srgbClr val="FFFFFF"/>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41">
              <a:extLst>
                <a:ext uri="{FF2B5EF4-FFF2-40B4-BE49-F238E27FC236}">
                  <a16:creationId xmlns:a16="http://schemas.microsoft.com/office/drawing/2014/main" id="{4DB7B6D2-A1A9-4E90-81C9-42759AF18E1B}"/>
                </a:ext>
              </a:extLst>
            </p:cNvPr>
            <p:cNvSpPr>
              <a:spLocks/>
            </p:cNvSpPr>
            <p:nvPr/>
          </p:nvSpPr>
          <p:spPr bwMode="auto">
            <a:xfrm>
              <a:off x="1935932" y="2126806"/>
              <a:ext cx="317500" cy="88900"/>
            </a:xfrm>
            <a:custGeom>
              <a:avLst/>
              <a:gdLst>
                <a:gd name="T0" fmla="*/ 112 w 200"/>
                <a:gd name="T1" fmla="*/ 56 h 56"/>
                <a:gd name="T2" fmla="*/ 112 w 200"/>
                <a:gd name="T3" fmla="*/ 56 h 56"/>
                <a:gd name="T4" fmla="*/ 176 w 200"/>
                <a:gd name="T5" fmla="*/ 56 h 56"/>
                <a:gd name="T6" fmla="*/ 176 w 200"/>
                <a:gd name="T7" fmla="*/ 56 h 56"/>
                <a:gd name="T8" fmla="*/ 186 w 200"/>
                <a:gd name="T9" fmla="*/ 54 h 56"/>
                <a:gd name="T10" fmla="*/ 194 w 200"/>
                <a:gd name="T11" fmla="*/ 50 h 56"/>
                <a:gd name="T12" fmla="*/ 198 w 200"/>
                <a:gd name="T13" fmla="*/ 44 h 56"/>
                <a:gd name="T14" fmla="*/ 200 w 200"/>
                <a:gd name="T15" fmla="*/ 36 h 56"/>
                <a:gd name="T16" fmla="*/ 198 w 200"/>
                <a:gd name="T17" fmla="*/ 28 h 56"/>
                <a:gd name="T18" fmla="*/ 194 w 200"/>
                <a:gd name="T19" fmla="*/ 22 h 56"/>
                <a:gd name="T20" fmla="*/ 186 w 200"/>
                <a:gd name="T21" fmla="*/ 18 h 56"/>
                <a:gd name="T22" fmla="*/ 176 w 200"/>
                <a:gd name="T23" fmla="*/ 16 h 56"/>
                <a:gd name="T24" fmla="*/ 176 w 200"/>
                <a:gd name="T25" fmla="*/ 16 h 56"/>
                <a:gd name="T26" fmla="*/ 134 w 200"/>
                <a:gd name="T27" fmla="*/ 16 h 56"/>
                <a:gd name="T28" fmla="*/ 134 w 200"/>
                <a:gd name="T29" fmla="*/ 16 h 56"/>
                <a:gd name="T30" fmla="*/ 128 w 200"/>
                <a:gd name="T31" fmla="*/ 14 h 56"/>
                <a:gd name="T32" fmla="*/ 120 w 200"/>
                <a:gd name="T33" fmla="*/ 8 h 56"/>
                <a:gd name="T34" fmla="*/ 112 w 200"/>
                <a:gd name="T35" fmla="*/ 2 h 56"/>
                <a:gd name="T36" fmla="*/ 104 w 200"/>
                <a:gd name="T37" fmla="*/ 0 h 56"/>
                <a:gd name="T38" fmla="*/ 104 w 200"/>
                <a:gd name="T39" fmla="*/ 0 h 56"/>
                <a:gd name="T40" fmla="*/ 64 w 200"/>
                <a:gd name="T41" fmla="*/ 0 h 56"/>
                <a:gd name="T42" fmla="*/ 64 w 200"/>
                <a:gd name="T43" fmla="*/ 0 h 56"/>
                <a:gd name="T44" fmla="*/ 56 w 200"/>
                <a:gd name="T45" fmla="*/ 2 h 56"/>
                <a:gd name="T46" fmla="*/ 46 w 200"/>
                <a:gd name="T47" fmla="*/ 6 h 56"/>
                <a:gd name="T48" fmla="*/ 38 w 200"/>
                <a:gd name="T49" fmla="*/ 10 h 56"/>
                <a:gd name="T50" fmla="*/ 32 w 200"/>
                <a:gd name="T51" fmla="*/ 16 h 56"/>
                <a:gd name="T52" fmla="*/ 32 w 200"/>
                <a:gd name="T53" fmla="*/ 16 h 56"/>
                <a:gd name="T54" fmla="*/ 0 w 200"/>
                <a:gd name="T5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56">
                  <a:moveTo>
                    <a:pt x="112" y="56"/>
                  </a:moveTo>
                  <a:lnTo>
                    <a:pt x="112" y="56"/>
                  </a:lnTo>
                  <a:lnTo>
                    <a:pt x="176" y="56"/>
                  </a:lnTo>
                  <a:lnTo>
                    <a:pt x="176" y="56"/>
                  </a:lnTo>
                  <a:lnTo>
                    <a:pt x="186" y="54"/>
                  </a:lnTo>
                  <a:lnTo>
                    <a:pt x="194" y="50"/>
                  </a:lnTo>
                  <a:lnTo>
                    <a:pt x="198" y="44"/>
                  </a:lnTo>
                  <a:lnTo>
                    <a:pt x="200" y="36"/>
                  </a:lnTo>
                  <a:lnTo>
                    <a:pt x="198" y="28"/>
                  </a:lnTo>
                  <a:lnTo>
                    <a:pt x="194" y="22"/>
                  </a:lnTo>
                  <a:lnTo>
                    <a:pt x="186" y="18"/>
                  </a:lnTo>
                  <a:lnTo>
                    <a:pt x="176" y="16"/>
                  </a:lnTo>
                  <a:lnTo>
                    <a:pt x="176" y="16"/>
                  </a:lnTo>
                  <a:lnTo>
                    <a:pt x="134" y="16"/>
                  </a:lnTo>
                  <a:lnTo>
                    <a:pt x="134" y="16"/>
                  </a:lnTo>
                  <a:lnTo>
                    <a:pt x="128" y="14"/>
                  </a:lnTo>
                  <a:lnTo>
                    <a:pt x="120" y="8"/>
                  </a:lnTo>
                  <a:lnTo>
                    <a:pt x="112" y="2"/>
                  </a:lnTo>
                  <a:lnTo>
                    <a:pt x="104" y="0"/>
                  </a:lnTo>
                  <a:lnTo>
                    <a:pt x="104" y="0"/>
                  </a:lnTo>
                  <a:lnTo>
                    <a:pt x="64" y="0"/>
                  </a:lnTo>
                  <a:lnTo>
                    <a:pt x="64" y="0"/>
                  </a:lnTo>
                  <a:lnTo>
                    <a:pt x="56" y="2"/>
                  </a:lnTo>
                  <a:lnTo>
                    <a:pt x="46" y="6"/>
                  </a:lnTo>
                  <a:lnTo>
                    <a:pt x="38" y="10"/>
                  </a:lnTo>
                  <a:lnTo>
                    <a:pt x="32" y="16"/>
                  </a:lnTo>
                  <a:lnTo>
                    <a:pt x="32" y="16"/>
                  </a:lnTo>
                  <a:lnTo>
                    <a:pt x="0" y="48"/>
                  </a:lnTo>
                </a:path>
              </a:pathLst>
            </a:custGeom>
            <a:solidFill>
              <a:srgbClr val="FFFFFF"/>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42">
              <a:extLst>
                <a:ext uri="{FF2B5EF4-FFF2-40B4-BE49-F238E27FC236}">
                  <a16:creationId xmlns:a16="http://schemas.microsoft.com/office/drawing/2014/main" id="{328872C4-E64D-454A-8704-3A3187C3F636}"/>
                </a:ext>
              </a:extLst>
            </p:cNvPr>
            <p:cNvSpPr>
              <a:spLocks/>
            </p:cNvSpPr>
            <p:nvPr/>
          </p:nvSpPr>
          <p:spPr bwMode="auto">
            <a:xfrm>
              <a:off x="1847032" y="2177606"/>
              <a:ext cx="215900" cy="215900"/>
            </a:xfrm>
            <a:custGeom>
              <a:avLst/>
              <a:gdLst>
                <a:gd name="T0" fmla="*/ 96 w 136"/>
                <a:gd name="T1" fmla="*/ 136 h 136"/>
                <a:gd name="T2" fmla="*/ 136 w 136"/>
                <a:gd name="T3" fmla="*/ 96 h 136"/>
                <a:gd name="T4" fmla="*/ 40 w 136"/>
                <a:gd name="T5" fmla="*/ 0 h 136"/>
                <a:gd name="T6" fmla="*/ 0 w 136"/>
                <a:gd name="T7" fmla="*/ 40 h 136"/>
                <a:gd name="T8" fmla="*/ 96 w 136"/>
                <a:gd name="T9" fmla="*/ 136 h 136"/>
              </a:gdLst>
              <a:ahLst/>
              <a:cxnLst>
                <a:cxn ang="0">
                  <a:pos x="T0" y="T1"/>
                </a:cxn>
                <a:cxn ang="0">
                  <a:pos x="T2" y="T3"/>
                </a:cxn>
                <a:cxn ang="0">
                  <a:pos x="T4" y="T5"/>
                </a:cxn>
                <a:cxn ang="0">
                  <a:pos x="T6" y="T7"/>
                </a:cxn>
                <a:cxn ang="0">
                  <a:pos x="T8" y="T9"/>
                </a:cxn>
              </a:cxnLst>
              <a:rect l="0" t="0" r="r" b="b"/>
              <a:pathLst>
                <a:path w="136" h="136">
                  <a:moveTo>
                    <a:pt x="96" y="136"/>
                  </a:moveTo>
                  <a:lnTo>
                    <a:pt x="136" y="96"/>
                  </a:lnTo>
                  <a:lnTo>
                    <a:pt x="40" y="0"/>
                  </a:lnTo>
                  <a:lnTo>
                    <a:pt x="0" y="40"/>
                  </a:lnTo>
                  <a:lnTo>
                    <a:pt x="96" y="136"/>
                  </a:lnTo>
                  <a:close/>
                </a:path>
              </a:pathLst>
            </a:custGeom>
            <a:solidFill>
              <a:schemeClr val="bg2"/>
            </a:solidFill>
            <a:ln w="254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Line 43">
              <a:extLst>
                <a:ext uri="{FF2B5EF4-FFF2-40B4-BE49-F238E27FC236}">
                  <a16:creationId xmlns:a16="http://schemas.microsoft.com/office/drawing/2014/main" id="{70D3E36E-3B1E-4A08-BCA7-712AD40A86E3}"/>
                </a:ext>
              </a:extLst>
            </p:cNvPr>
            <p:cNvSpPr>
              <a:spLocks noChangeShapeType="1"/>
            </p:cNvSpPr>
            <p:nvPr/>
          </p:nvSpPr>
          <p:spPr bwMode="auto">
            <a:xfrm>
              <a:off x="1910532" y="2241106"/>
              <a:ext cx="25400" cy="2540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4" name="Freeform 44">
              <a:extLst>
                <a:ext uri="{FF2B5EF4-FFF2-40B4-BE49-F238E27FC236}">
                  <a16:creationId xmlns:a16="http://schemas.microsoft.com/office/drawing/2014/main" id="{8EE24E10-92B0-4065-9305-1FB8E9DF0B05}"/>
                </a:ext>
              </a:extLst>
            </p:cNvPr>
            <p:cNvSpPr>
              <a:spLocks/>
            </p:cNvSpPr>
            <p:nvPr/>
          </p:nvSpPr>
          <p:spPr bwMode="auto">
            <a:xfrm>
              <a:off x="2037532" y="1822006"/>
              <a:ext cx="279400" cy="304800"/>
            </a:xfrm>
            <a:custGeom>
              <a:avLst/>
              <a:gdLst>
                <a:gd name="T0" fmla="*/ 0 w 176"/>
                <a:gd name="T1" fmla="*/ 192 h 192"/>
                <a:gd name="T2" fmla="*/ 0 w 176"/>
                <a:gd name="T3" fmla="*/ 0 h 192"/>
                <a:gd name="T4" fmla="*/ 176 w 176"/>
                <a:gd name="T5" fmla="*/ 0 h 192"/>
                <a:gd name="T6" fmla="*/ 176 w 176"/>
                <a:gd name="T7" fmla="*/ 184 h 192"/>
              </a:gdLst>
              <a:ahLst/>
              <a:cxnLst>
                <a:cxn ang="0">
                  <a:pos x="T0" y="T1"/>
                </a:cxn>
                <a:cxn ang="0">
                  <a:pos x="T2" y="T3"/>
                </a:cxn>
                <a:cxn ang="0">
                  <a:pos x="T4" y="T5"/>
                </a:cxn>
                <a:cxn ang="0">
                  <a:pos x="T6" y="T7"/>
                </a:cxn>
              </a:cxnLst>
              <a:rect l="0" t="0" r="r" b="b"/>
              <a:pathLst>
                <a:path w="176" h="192">
                  <a:moveTo>
                    <a:pt x="0" y="192"/>
                  </a:moveTo>
                  <a:lnTo>
                    <a:pt x="0" y="0"/>
                  </a:lnTo>
                  <a:lnTo>
                    <a:pt x="176" y="0"/>
                  </a:lnTo>
                  <a:lnTo>
                    <a:pt x="176" y="184"/>
                  </a:lnTo>
                </a:path>
              </a:pathLst>
            </a:custGeom>
            <a:noFill/>
            <a:ln w="25400">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 name="Line 45">
              <a:extLst>
                <a:ext uri="{FF2B5EF4-FFF2-40B4-BE49-F238E27FC236}">
                  <a16:creationId xmlns:a16="http://schemas.microsoft.com/office/drawing/2014/main" id="{D9963ACC-6FBE-4542-B4F4-7C2BD7DB8303}"/>
                </a:ext>
              </a:extLst>
            </p:cNvPr>
            <p:cNvSpPr>
              <a:spLocks noChangeShapeType="1"/>
            </p:cNvSpPr>
            <p:nvPr/>
          </p:nvSpPr>
          <p:spPr bwMode="auto">
            <a:xfrm>
              <a:off x="2037532" y="1936306"/>
              <a:ext cx="2794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 name="Line 46">
              <a:extLst>
                <a:ext uri="{FF2B5EF4-FFF2-40B4-BE49-F238E27FC236}">
                  <a16:creationId xmlns:a16="http://schemas.microsoft.com/office/drawing/2014/main" id="{EA899A5C-75D1-47AA-AC65-8E28021A4151}"/>
                </a:ext>
              </a:extLst>
            </p:cNvPr>
            <p:cNvSpPr>
              <a:spLocks noChangeShapeType="1"/>
            </p:cNvSpPr>
            <p:nvPr/>
          </p:nvSpPr>
          <p:spPr bwMode="auto">
            <a:xfrm>
              <a:off x="2037532" y="2050606"/>
              <a:ext cx="2794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 name="Line 47">
              <a:extLst>
                <a:ext uri="{FF2B5EF4-FFF2-40B4-BE49-F238E27FC236}">
                  <a16:creationId xmlns:a16="http://schemas.microsoft.com/office/drawing/2014/main" id="{D4687F0C-E5FD-4FD7-A47D-CD8935845C08}"/>
                </a:ext>
              </a:extLst>
            </p:cNvPr>
            <p:cNvSpPr>
              <a:spLocks noChangeShapeType="1"/>
            </p:cNvSpPr>
            <p:nvPr/>
          </p:nvSpPr>
          <p:spPr bwMode="auto">
            <a:xfrm>
              <a:off x="2075632" y="1885506"/>
              <a:ext cx="381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 name="Line 48">
              <a:extLst>
                <a:ext uri="{FF2B5EF4-FFF2-40B4-BE49-F238E27FC236}">
                  <a16:creationId xmlns:a16="http://schemas.microsoft.com/office/drawing/2014/main" id="{4B3373D5-4695-4799-97C2-C8BAF1308817}"/>
                </a:ext>
              </a:extLst>
            </p:cNvPr>
            <p:cNvSpPr>
              <a:spLocks noChangeShapeType="1"/>
            </p:cNvSpPr>
            <p:nvPr/>
          </p:nvSpPr>
          <p:spPr bwMode="auto">
            <a:xfrm>
              <a:off x="2075632" y="1999806"/>
              <a:ext cx="38100" cy="0"/>
            </a:xfrm>
            <a:prstGeom prst="line">
              <a:avLst/>
            </a:prstGeom>
            <a:noFill/>
            <a:ln w="254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 name="Oval 11">
              <a:extLst>
                <a:ext uri="{FF2B5EF4-FFF2-40B4-BE49-F238E27FC236}">
                  <a16:creationId xmlns:a16="http://schemas.microsoft.com/office/drawing/2014/main" id="{7B4FA638-303E-431D-A477-CA7BF3BB05D8}"/>
                </a:ext>
              </a:extLst>
            </p:cNvPr>
            <p:cNvSpPr/>
            <p:nvPr/>
          </p:nvSpPr>
          <p:spPr>
            <a:xfrm>
              <a:off x="1921692" y="2198414"/>
              <a:ext cx="257428" cy="9572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Rectangle 13">
            <a:extLst>
              <a:ext uri="{FF2B5EF4-FFF2-40B4-BE49-F238E27FC236}">
                <a16:creationId xmlns:a16="http://schemas.microsoft.com/office/drawing/2014/main" id="{3792E0BD-E35F-4890-8871-0BB42A40BEFC}"/>
              </a:ext>
            </a:extLst>
          </p:cNvPr>
          <p:cNvSpPr/>
          <p:nvPr/>
        </p:nvSpPr>
        <p:spPr>
          <a:xfrm>
            <a:off x="1053217" y="5233876"/>
            <a:ext cx="10040293" cy="603826"/>
          </a:xfrm>
          <a:prstGeom prst="rect">
            <a:avLst/>
          </a:prstGeom>
          <a:solidFill>
            <a:schemeClr val="bg2">
              <a:lumMod val="95000"/>
            </a:schemeClr>
          </a:solidFill>
          <a:ln w="381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The AAM Data Strategy will be re-evaluated in 18-24 months.</a:t>
            </a:r>
          </a:p>
        </p:txBody>
      </p:sp>
      <p:grpSp>
        <p:nvGrpSpPr>
          <p:cNvPr id="93" name="Group 92">
            <a:extLst>
              <a:ext uri="{FF2B5EF4-FFF2-40B4-BE49-F238E27FC236}">
                <a16:creationId xmlns:a16="http://schemas.microsoft.com/office/drawing/2014/main" id="{E7407E0A-58B4-42EF-8BED-CA0F6678D3C4}"/>
              </a:ext>
            </a:extLst>
          </p:cNvPr>
          <p:cNvGrpSpPr/>
          <p:nvPr/>
        </p:nvGrpSpPr>
        <p:grpSpPr>
          <a:xfrm>
            <a:off x="770407" y="5303159"/>
            <a:ext cx="565620" cy="465260"/>
            <a:chOff x="2538413" y="2465388"/>
            <a:chExt cx="660400" cy="574675"/>
          </a:xfrm>
        </p:grpSpPr>
        <p:sp>
          <p:nvSpPr>
            <p:cNvPr id="95" name="Freeform 60">
              <a:extLst>
                <a:ext uri="{FF2B5EF4-FFF2-40B4-BE49-F238E27FC236}">
                  <a16:creationId xmlns:a16="http://schemas.microsoft.com/office/drawing/2014/main" id="{12CFF70B-0785-4C01-8006-3381CF539021}"/>
                </a:ext>
              </a:extLst>
            </p:cNvPr>
            <p:cNvSpPr>
              <a:spLocks/>
            </p:cNvSpPr>
            <p:nvPr/>
          </p:nvSpPr>
          <p:spPr bwMode="auto">
            <a:xfrm>
              <a:off x="2538413" y="2465388"/>
              <a:ext cx="660400" cy="523875"/>
            </a:xfrm>
            <a:custGeom>
              <a:avLst/>
              <a:gdLst>
                <a:gd name="T0" fmla="*/ 410 w 416"/>
                <a:gd name="T1" fmla="*/ 280 h 330"/>
                <a:gd name="T2" fmla="*/ 238 w 416"/>
                <a:gd name="T3" fmla="*/ 22 h 330"/>
                <a:gd name="T4" fmla="*/ 238 w 416"/>
                <a:gd name="T5" fmla="*/ 22 h 330"/>
                <a:gd name="T6" fmla="*/ 230 w 416"/>
                <a:gd name="T7" fmla="*/ 12 h 330"/>
                <a:gd name="T8" fmla="*/ 224 w 416"/>
                <a:gd name="T9" fmla="*/ 6 h 330"/>
                <a:gd name="T10" fmla="*/ 216 w 416"/>
                <a:gd name="T11" fmla="*/ 2 h 330"/>
                <a:gd name="T12" fmla="*/ 208 w 416"/>
                <a:gd name="T13" fmla="*/ 0 h 330"/>
                <a:gd name="T14" fmla="*/ 200 w 416"/>
                <a:gd name="T15" fmla="*/ 2 h 330"/>
                <a:gd name="T16" fmla="*/ 192 w 416"/>
                <a:gd name="T17" fmla="*/ 6 h 330"/>
                <a:gd name="T18" fmla="*/ 186 w 416"/>
                <a:gd name="T19" fmla="*/ 12 h 330"/>
                <a:gd name="T20" fmla="*/ 180 w 416"/>
                <a:gd name="T21" fmla="*/ 22 h 330"/>
                <a:gd name="T22" fmla="*/ 6 w 416"/>
                <a:gd name="T23" fmla="*/ 280 h 330"/>
                <a:gd name="T24" fmla="*/ 6 w 416"/>
                <a:gd name="T25" fmla="*/ 280 h 330"/>
                <a:gd name="T26" fmla="*/ 2 w 416"/>
                <a:gd name="T27" fmla="*/ 290 h 330"/>
                <a:gd name="T28" fmla="*/ 0 w 416"/>
                <a:gd name="T29" fmla="*/ 300 h 330"/>
                <a:gd name="T30" fmla="*/ 0 w 416"/>
                <a:gd name="T31" fmla="*/ 308 h 330"/>
                <a:gd name="T32" fmla="*/ 4 w 416"/>
                <a:gd name="T33" fmla="*/ 316 h 330"/>
                <a:gd name="T34" fmla="*/ 8 w 416"/>
                <a:gd name="T35" fmla="*/ 322 h 330"/>
                <a:gd name="T36" fmla="*/ 16 w 416"/>
                <a:gd name="T37" fmla="*/ 326 h 330"/>
                <a:gd name="T38" fmla="*/ 24 w 416"/>
                <a:gd name="T39" fmla="*/ 328 h 330"/>
                <a:gd name="T40" fmla="*/ 36 w 416"/>
                <a:gd name="T41" fmla="*/ 330 h 330"/>
                <a:gd name="T42" fmla="*/ 380 w 416"/>
                <a:gd name="T43" fmla="*/ 330 h 330"/>
                <a:gd name="T44" fmla="*/ 380 w 416"/>
                <a:gd name="T45" fmla="*/ 330 h 330"/>
                <a:gd name="T46" fmla="*/ 392 w 416"/>
                <a:gd name="T47" fmla="*/ 328 h 330"/>
                <a:gd name="T48" fmla="*/ 402 w 416"/>
                <a:gd name="T49" fmla="*/ 326 h 330"/>
                <a:gd name="T50" fmla="*/ 408 w 416"/>
                <a:gd name="T51" fmla="*/ 322 h 330"/>
                <a:gd name="T52" fmla="*/ 414 w 416"/>
                <a:gd name="T53" fmla="*/ 316 h 330"/>
                <a:gd name="T54" fmla="*/ 416 w 416"/>
                <a:gd name="T55" fmla="*/ 308 h 330"/>
                <a:gd name="T56" fmla="*/ 416 w 416"/>
                <a:gd name="T57" fmla="*/ 300 h 330"/>
                <a:gd name="T58" fmla="*/ 414 w 416"/>
                <a:gd name="T59" fmla="*/ 290 h 330"/>
                <a:gd name="T60" fmla="*/ 410 w 416"/>
                <a:gd name="T61" fmla="*/ 280 h 330"/>
                <a:gd name="T62" fmla="*/ 410 w 416"/>
                <a:gd name="T63" fmla="*/ 28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6" h="330">
                  <a:moveTo>
                    <a:pt x="410" y="280"/>
                  </a:moveTo>
                  <a:lnTo>
                    <a:pt x="238" y="22"/>
                  </a:lnTo>
                  <a:lnTo>
                    <a:pt x="238" y="22"/>
                  </a:lnTo>
                  <a:lnTo>
                    <a:pt x="230" y="12"/>
                  </a:lnTo>
                  <a:lnTo>
                    <a:pt x="224" y="6"/>
                  </a:lnTo>
                  <a:lnTo>
                    <a:pt x="216" y="2"/>
                  </a:lnTo>
                  <a:lnTo>
                    <a:pt x="208" y="0"/>
                  </a:lnTo>
                  <a:lnTo>
                    <a:pt x="200" y="2"/>
                  </a:lnTo>
                  <a:lnTo>
                    <a:pt x="192" y="6"/>
                  </a:lnTo>
                  <a:lnTo>
                    <a:pt x="186" y="12"/>
                  </a:lnTo>
                  <a:lnTo>
                    <a:pt x="180" y="22"/>
                  </a:lnTo>
                  <a:lnTo>
                    <a:pt x="6" y="280"/>
                  </a:lnTo>
                  <a:lnTo>
                    <a:pt x="6" y="280"/>
                  </a:lnTo>
                  <a:lnTo>
                    <a:pt x="2" y="290"/>
                  </a:lnTo>
                  <a:lnTo>
                    <a:pt x="0" y="300"/>
                  </a:lnTo>
                  <a:lnTo>
                    <a:pt x="0" y="308"/>
                  </a:lnTo>
                  <a:lnTo>
                    <a:pt x="4" y="316"/>
                  </a:lnTo>
                  <a:lnTo>
                    <a:pt x="8" y="322"/>
                  </a:lnTo>
                  <a:lnTo>
                    <a:pt x="16" y="326"/>
                  </a:lnTo>
                  <a:lnTo>
                    <a:pt x="24" y="328"/>
                  </a:lnTo>
                  <a:lnTo>
                    <a:pt x="36" y="330"/>
                  </a:lnTo>
                  <a:lnTo>
                    <a:pt x="380" y="330"/>
                  </a:lnTo>
                  <a:lnTo>
                    <a:pt x="380" y="330"/>
                  </a:lnTo>
                  <a:lnTo>
                    <a:pt x="392" y="328"/>
                  </a:lnTo>
                  <a:lnTo>
                    <a:pt x="402" y="326"/>
                  </a:lnTo>
                  <a:lnTo>
                    <a:pt x="408" y="322"/>
                  </a:lnTo>
                  <a:lnTo>
                    <a:pt x="414" y="316"/>
                  </a:lnTo>
                  <a:lnTo>
                    <a:pt x="416" y="308"/>
                  </a:lnTo>
                  <a:lnTo>
                    <a:pt x="416" y="300"/>
                  </a:lnTo>
                  <a:lnTo>
                    <a:pt x="414" y="290"/>
                  </a:lnTo>
                  <a:lnTo>
                    <a:pt x="410" y="280"/>
                  </a:lnTo>
                  <a:lnTo>
                    <a:pt x="410" y="280"/>
                  </a:lnTo>
                  <a:close/>
                </a:path>
              </a:pathLst>
            </a:custGeom>
            <a:solidFill>
              <a:srgbClr val="FFFFFF"/>
            </a:solidFill>
            <a:ln w="254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9" name="Line 64">
              <a:extLst>
                <a:ext uri="{FF2B5EF4-FFF2-40B4-BE49-F238E27FC236}">
                  <a16:creationId xmlns:a16="http://schemas.microsoft.com/office/drawing/2014/main" id="{11DD46E8-781D-460B-B482-B7F3A6AC0D3E}"/>
                </a:ext>
              </a:extLst>
            </p:cNvPr>
            <p:cNvSpPr>
              <a:spLocks noChangeShapeType="1"/>
            </p:cNvSpPr>
            <p:nvPr/>
          </p:nvSpPr>
          <p:spPr bwMode="auto">
            <a:xfrm>
              <a:off x="2938463" y="3040063"/>
              <a:ext cx="25400" cy="0"/>
            </a:xfrm>
            <a:prstGeom prst="line">
              <a:avLst/>
            </a:prstGeom>
            <a:noFill/>
            <a:ln w="25400">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0" name="Line 65">
              <a:extLst>
                <a:ext uri="{FF2B5EF4-FFF2-40B4-BE49-F238E27FC236}">
                  <a16:creationId xmlns:a16="http://schemas.microsoft.com/office/drawing/2014/main" id="{75078A53-8E44-432F-901D-C252C1E7B9AF}"/>
                </a:ext>
              </a:extLst>
            </p:cNvPr>
            <p:cNvSpPr>
              <a:spLocks noChangeShapeType="1"/>
            </p:cNvSpPr>
            <p:nvPr/>
          </p:nvSpPr>
          <p:spPr bwMode="auto">
            <a:xfrm>
              <a:off x="2887663" y="3040063"/>
              <a:ext cx="25400" cy="0"/>
            </a:xfrm>
            <a:prstGeom prst="line">
              <a:avLst/>
            </a:prstGeom>
            <a:noFill/>
            <a:ln w="25400">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1" name="Line 66">
              <a:extLst>
                <a:ext uri="{FF2B5EF4-FFF2-40B4-BE49-F238E27FC236}">
                  <a16:creationId xmlns:a16="http://schemas.microsoft.com/office/drawing/2014/main" id="{6CC1B864-836B-4B50-BDE0-F00A22A55D01}"/>
                </a:ext>
              </a:extLst>
            </p:cNvPr>
            <p:cNvSpPr>
              <a:spLocks noChangeShapeType="1"/>
            </p:cNvSpPr>
            <p:nvPr/>
          </p:nvSpPr>
          <p:spPr bwMode="auto">
            <a:xfrm>
              <a:off x="2836863" y="3040063"/>
              <a:ext cx="25400" cy="0"/>
            </a:xfrm>
            <a:prstGeom prst="line">
              <a:avLst/>
            </a:prstGeom>
            <a:noFill/>
            <a:ln w="25400">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2" name="Line 67">
              <a:extLst>
                <a:ext uri="{FF2B5EF4-FFF2-40B4-BE49-F238E27FC236}">
                  <a16:creationId xmlns:a16="http://schemas.microsoft.com/office/drawing/2014/main" id="{B178EC1A-8701-460E-B250-02ABEE2A3DF7}"/>
                </a:ext>
              </a:extLst>
            </p:cNvPr>
            <p:cNvSpPr>
              <a:spLocks noChangeShapeType="1"/>
            </p:cNvSpPr>
            <p:nvPr/>
          </p:nvSpPr>
          <p:spPr bwMode="auto">
            <a:xfrm>
              <a:off x="2786063" y="3040063"/>
              <a:ext cx="25400" cy="0"/>
            </a:xfrm>
            <a:prstGeom prst="line">
              <a:avLst/>
            </a:prstGeom>
            <a:noFill/>
            <a:ln w="25400">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3" name="Freeform 68">
              <a:extLst>
                <a:ext uri="{FF2B5EF4-FFF2-40B4-BE49-F238E27FC236}">
                  <a16:creationId xmlns:a16="http://schemas.microsoft.com/office/drawing/2014/main" id="{700B074A-AAA9-4EBB-B2E6-02C54004A714}"/>
                </a:ext>
              </a:extLst>
            </p:cNvPr>
            <p:cNvSpPr>
              <a:spLocks/>
            </p:cNvSpPr>
            <p:nvPr/>
          </p:nvSpPr>
          <p:spPr bwMode="auto">
            <a:xfrm>
              <a:off x="2824163" y="2586038"/>
              <a:ext cx="88900" cy="212725"/>
            </a:xfrm>
            <a:custGeom>
              <a:avLst/>
              <a:gdLst>
                <a:gd name="T0" fmla="*/ 28 w 56"/>
                <a:gd name="T1" fmla="*/ 0 h 134"/>
                <a:gd name="T2" fmla="*/ 28 w 56"/>
                <a:gd name="T3" fmla="*/ 0 h 134"/>
                <a:gd name="T4" fmla="*/ 34 w 56"/>
                <a:gd name="T5" fmla="*/ 0 h 134"/>
                <a:gd name="T6" fmla="*/ 40 w 56"/>
                <a:gd name="T7" fmla="*/ 2 h 134"/>
                <a:gd name="T8" fmla="*/ 50 w 56"/>
                <a:gd name="T9" fmla="*/ 8 h 134"/>
                <a:gd name="T10" fmla="*/ 54 w 56"/>
                <a:gd name="T11" fmla="*/ 16 h 134"/>
                <a:gd name="T12" fmla="*/ 56 w 56"/>
                <a:gd name="T13" fmla="*/ 26 h 134"/>
                <a:gd name="T14" fmla="*/ 50 w 56"/>
                <a:gd name="T15" fmla="*/ 118 h 134"/>
                <a:gd name="T16" fmla="*/ 50 w 56"/>
                <a:gd name="T17" fmla="*/ 118 h 134"/>
                <a:gd name="T18" fmla="*/ 48 w 56"/>
                <a:gd name="T19" fmla="*/ 124 h 134"/>
                <a:gd name="T20" fmla="*/ 44 w 56"/>
                <a:gd name="T21" fmla="*/ 130 h 134"/>
                <a:gd name="T22" fmla="*/ 38 w 56"/>
                <a:gd name="T23" fmla="*/ 134 h 134"/>
                <a:gd name="T24" fmla="*/ 28 w 56"/>
                <a:gd name="T25" fmla="*/ 134 h 134"/>
                <a:gd name="T26" fmla="*/ 28 w 56"/>
                <a:gd name="T27" fmla="*/ 134 h 134"/>
                <a:gd name="T28" fmla="*/ 18 w 56"/>
                <a:gd name="T29" fmla="*/ 134 h 134"/>
                <a:gd name="T30" fmla="*/ 12 w 56"/>
                <a:gd name="T31" fmla="*/ 130 h 134"/>
                <a:gd name="T32" fmla="*/ 8 w 56"/>
                <a:gd name="T33" fmla="*/ 124 h 134"/>
                <a:gd name="T34" fmla="*/ 8 w 56"/>
                <a:gd name="T35" fmla="*/ 118 h 134"/>
                <a:gd name="T36" fmla="*/ 0 w 56"/>
                <a:gd name="T37" fmla="*/ 26 h 134"/>
                <a:gd name="T38" fmla="*/ 0 w 56"/>
                <a:gd name="T39" fmla="*/ 26 h 134"/>
                <a:gd name="T40" fmla="*/ 2 w 56"/>
                <a:gd name="T41" fmla="*/ 16 h 134"/>
                <a:gd name="T42" fmla="*/ 8 w 56"/>
                <a:gd name="T43" fmla="*/ 8 h 134"/>
                <a:gd name="T44" fmla="*/ 16 w 56"/>
                <a:gd name="T45" fmla="*/ 2 h 134"/>
                <a:gd name="T46" fmla="*/ 22 w 56"/>
                <a:gd name="T47" fmla="*/ 0 h 134"/>
                <a:gd name="T48" fmla="*/ 28 w 56"/>
                <a:gd name="T49" fmla="*/ 0 h 134"/>
                <a:gd name="T50" fmla="*/ 28 w 56"/>
                <a:gd name="T5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134">
                  <a:moveTo>
                    <a:pt x="28" y="0"/>
                  </a:moveTo>
                  <a:lnTo>
                    <a:pt x="28" y="0"/>
                  </a:lnTo>
                  <a:lnTo>
                    <a:pt x="34" y="0"/>
                  </a:lnTo>
                  <a:lnTo>
                    <a:pt x="40" y="2"/>
                  </a:lnTo>
                  <a:lnTo>
                    <a:pt x="50" y="8"/>
                  </a:lnTo>
                  <a:lnTo>
                    <a:pt x="54" y="16"/>
                  </a:lnTo>
                  <a:lnTo>
                    <a:pt x="56" y="26"/>
                  </a:lnTo>
                  <a:lnTo>
                    <a:pt x="50" y="118"/>
                  </a:lnTo>
                  <a:lnTo>
                    <a:pt x="50" y="118"/>
                  </a:lnTo>
                  <a:lnTo>
                    <a:pt x="48" y="124"/>
                  </a:lnTo>
                  <a:lnTo>
                    <a:pt x="44" y="130"/>
                  </a:lnTo>
                  <a:lnTo>
                    <a:pt x="38" y="134"/>
                  </a:lnTo>
                  <a:lnTo>
                    <a:pt x="28" y="134"/>
                  </a:lnTo>
                  <a:lnTo>
                    <a:pt x="28" y="134"/>
                  </a:lnTo>
                  <a:lnTo>
                    <a:pt x="18" y="134"/>
                  </a:lnTo>
                  <a:lnTo>
                    <a:pt x="12" y="130"/>
                  </a:lnTo>
                  <a:lnTo>
                    <a:pt x="8" y="124"/>
                  </a:lnTo>
                  <a:lnTo>
                    <a:pt x="8" y="118"/>
                  </a:lnTo>
                  <a:lnTo>
                    <a:pt x="0" y="26"/>
                  </a:lnTo>
                  <a:lnTo>
                    <a:pt x="0" y="26"/>
                  </a:lnTo>
                  <a:lnTo>
                    <a:pt x="2" y="16"/>
                  </a:lnTo>
                  <a:lnTo>
                    <a:pt x="8" y="8"/>
                  </a:lnTo>
                  <a:lnTo>
                    <a:pt x="16" y="2"/>
                  </a:lnTo>
                  <a:lnTo>
                    <a:pt x="22" y="0"/>
                  </a:lnTo>
                  <a:lnTo>
                    <a:pt x="28" y="0"/>
                  </a:lnTo>
                  <a:lnTo>
                    <a:pt x="28" y="0"/>
                  </a:lnTo>
                  <a:close/>
                </a:path>
              </a:pathLst>
            </a:custGeom>
            <a:solidFill>
              <a:schemeClr val="tx2"/>
            </a:solidFill>
            <a:ln w="254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 name="Freeform 69">
              <a:extLst>
                <a:ext uri="{FF2B5EF4-FFF2-40B4-BE49-F238E27FC236}">
                  <a16:creationId xmlns:a16="http://schemas.microsoft.com/office/drawing/2014/main" id="{9EE63C6B-45D6-4D69-A843-74B582BB1DB3}"/>
                </a:ext>
              </a:extLst>
            </p:cNvPr>
            <p:cNvSpPr>
              <a:spLocks/>
            </p:cNvSpPr>
            <p:nvPr/>
          </p:nvSpPr>
          <p:spPr bwMode="auto">
            <a:xfrm>
              <a:off x="2824163" y="2849563"/>
              <a:ext cx="88900" cy="88900"/>
            </a:xfrm>
            <a:custGeom>
              <a:avLst/>
              <a:gdLst>
                <a:gd name="T0" fmla="*/ 56 w 56"/>
                <a:gd name="T1" fmla="*/ 28 h 56"/>
                <a:gd name="T2" fmla="*/ 56 w 56"/>
                <a:gd name="T3" fmla="*/ 28 h 56"/>
                <a:gd name="T4" fmla="*/ 54 w 56"/>
                <a:gd name="T5" fmla="*/ 38 h 56"/>
                <a:gd name="T6" fmla="*/ 48 w 56"/>
                <a:gd name="T7" fmla="*/ 48 h 56"/>
                <a:gd name="T8" fmla="*/ 38 w 56"/>
                <a:gd name="T9" fmla="*/ 54 h 56"/>
                <a:gd name="T10" fmla="*/ 28 w 56"/>
                <a:gd name="T11" fmla="*/ 56 h 56"/>
                <a:gd name="T12" fmla="*/ 28 w 56"/>
                <a:gd name="T13" fmla="*/ 56 h 56"/>
                <a:gd name="T14" fmla="*/ 18 w 56"/>
                <a:gd name="T15" fmla="*/ 54 h 56"/>
                <a:gd name="T16" fmla="*/ 8 w 56"/>
                <a:gd name="T17" fmla="*/ 48 h 56"/>
                <a:gd name="T18" fmla="*/ 2 w 56"/>
                <a:gd name="T19" fmla="*/ 38 h 56"/>
                <a:gd name="T20" fmla="*/ 0 w 56"/>
                <a:gd name="T21" fmla="*/ 28 h 56"/>
                <a:gd name="T22" fmla="*/ 0 w 56"/>
                <a:gd name="T23" fmla="*/ 28 h 56"/>
                <a:gd name="T24" fmla="*/ 2 w 56"/>
                <a:gd name="T25" fmla="*/ 18 h 56"/>
                <a:gd name="T26" fmla="*/ 8 w 56"/>
                <a:gd name="T27" fmla="*/ 8 h 56"/>
                <a:gd name="T28" fmla="*/ 18 w 56"/>
                <a:gd name="T29" fmla="*/ 2 h 56"/>
                <a:gd name="T30" fmla="*/ 28 w 56"/>
                <a:gd name="T31" fmla="*/ 0 h 56"/>
                <a:gd name="T32" fmla="*/ 28 w 56"/>
                <a:gd name="T33" fmla="*/ 0 h 56"/>
                <a:gd name="T34" fmla="*/ 38 w 56"/>
                <a:gd name="T35" fmla="*/ 2 h 56"/>
                <a:gd name="T36" fmla="*/ 48 w 56"/>
                <a:gd name="T37" fmla="*/ 8 h 56"/>
                <a:gd name="T38" fmla="*/ 54 w 56"/>
                <a:gd name="T39" fmla="*/ 18 h 56"/>
                <a:gd name="T40" fmla="*/ 56 w 56"/>
                <a:gd name="T41" fmla="*/ 28 h 56"/>
                <a:gd name="T42" fmla="*/ 56 w 56"/>
                <a:gd name="T43"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56">
                  <a:moveTo>
                    <a:pt x="56" y="28"/>
                  </a:moveTo>
                  <a:lnTo>
                    <a:pt x="56" y="28"/>
                  </a:lnTo>
                  <a:lnTo>
                    <a:pt x="54" y="38"/>
                  </a:lnTo>
                  <a:lnTo>
                    <a:pt x="48" y="48"/>
                  </a:lnTo>
                  <a:lnTo>
                    <a:pt x="38" y="54"/>
                  </a:lnTo>
                  <a:lnTo>
                    <a:pt x="28" y="56"/>
                  </a:lnTo>
                  <a:lnTo>
                    <a:pt x="28" y="56"/>
                  </a:lnTo>
                  <a:lnTo>
                    <a:pt x="18" y="54"/>
                  </a:lnTo>
                  <a:lnTo>
                    <a:pt x="8" y="48"/>
                  </a:lnTo>
                  <a:lnTo>
                    <a:pt x="2" y="38"/>
                  </a:lnTo>
                  <a:lnTo>
                    <a:pt x="0" y="28"/>
                  </a:lnTo>
                  <a:lnTo>
                    <a:pt x="0" y="28"/>
                  </a:lnTo>
                  <a:lnTo>
                    <a:pt x="2" y="18"/>
                  </a:lnTo>
                  <a:lnTo>
                    <a:pt x="8" y="8"/>
                  </a:lnTo>
                  <a:lnTo>
                    <a:pt x="18" y="2"/>
                  </a:lnTo>
                  <a:lnTo>
                    <a:pt x="28" y="0"/>
                  </a:lnTo>
                  <a:lnTo>
                    <a:pt x="28" y="0"/>
                  </a:lnTo>
                  <a:lnTo>
                    <a:pt x="38" y="2"/>
                  </a:lnTo>
                  <a:lnTo>
                    <a:pt x="48" y="8"/>
                  </a:lnTo>
                  <a:lnTo>
                    <a:pt x="54" y="18"/>
                  </a:lnTo>
                  <a:lnTo>
                    <a:pt x="56" y="28"/>
                  </a:lnTo>
                  <a:lnTo>
                    <a:pt x="56" y="28"/>
                  </a:lnTo>
                  <a:close/>
                </a:path>
              </a:pathLst>
            </a:custGeom>
            <a:solidFill>
              <a:schemeClr val="tx2"/>
            </a:solidFill>
            <a:ln w="254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35246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5">
            <a:extLst>
              <a:ext uri="{FF2B5EF4-FFF2-40B4-BE49-F238E27FC236}">
                <a16:creationId xmlns:a16="http://schemas.microsoft.com/office/drawing/2014/main" id="{D4EACE78-4A8F-49B2-AA26-14770517D968}"/>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tab pos="9505950" algn="l"/>
              </a:tabLst>
              <a:defRPr/>
            </a:pPr>
            <a:r>
              <a:rPr kumimoji="0" lang="en-US" sz="2400" b="1" i="0" u="sng" strike="noStrike" kern="1200" cap="none" spc="0" normalizeH="0" baseline="0" noProof="0">
                <a:ln>
                  <a:noFill/>
                </a:ln>
                <a:solidFill>
                  <a:srgbClr val="0069B4"/>
                </a:solidFill>
                <a:effectLst/>
                <a:uLnTx/>
                <a:uFillTx/>
                <a:latin typeface="Calibri Light" panose="020F0302020204030204"/>
                <a:ea typeface="+mj-ea"/>
                <a:cs typeface="+mj-cs"/>
              </a:rPr>
              <a:t>Summary</a:t>
            </a:r>
            <a:r>
              <a:rPr kumimoji="0" lang="en-US" sz="2400" b="0" i="0" u="none" strike="noStrike" kern="1200" cap="none" spc="0" normalizeH="0" baseline="0" noProof="0">
                <a:ln>
                  <a:noFill/>
                </a:ln>
                <a:solidFill>
                  <a:srgbClr val="0069B4"/>
                </a:solidFill>
                <a:effectLst/>
                <a:uLnTx/>
                <a:uFillTx/>
                <a:latin typeface="Calibri Light" panose="020F0302020204030204"/>
                <a:ea typeface="+mj-ea"/>
                <a:cs typeface="+mj-cs"/>
              </a:rPr>
              <a:t> of the AAM Data strategy</a:t>
            </a:r>
          </a:p>
        </p:txBody>
      </p:sp>
      <p:sp>
        <p:nvSpPr>
          <p:cNvPr id="26" name="Rectangle 25">
            <a:extLst>
              <a:ext uri="{FF2B5EF4-FFF2-40B4-BE49-F238E27FC236}">
                <a16:creationId xmlns:a16="http://schemas.microsoft.com/office/drawing/2014/main" id="{5D65B6C3-ECED-425F-86CD-55A91F7DDDFC}"/>
              </a:ext>
            </a:extLst>
          </p:cNvPr>
          <p:cNvSpPr/>
          <p:nvPr/>
        </p:nvSpPr>
        <p:spPr>
          <a:xfrm rot="16200000">
            <a:off x="3754661" y="-2325562"/>
            <a:ext cx="4637409" cy="10969095"/>
          </a:xfrm>
          <a:prstGeom prst="rect">
            <a:avLst/>
          </a:prstGeom>
          <a:solidFill>
            <a:schemeClr val="bg2">
              <a:lumMod val="95000"/>
            </a:schemeClr>
          </a:solid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strategy</a:t>
            </a:r>
          </a:p>
        </p:txBody>
      </p:sp>
      <p:sp>
        <p:nvSpPr>
          <p:cNvPr id="27" name="Rectangle 26">
            <a:extLst>
              <a:ext uri="{FF2B5EF4-FFF2-40B4-BE49-F238E27FC236}">
                <a16:creationId xmlns:a16="http://schemas.microsoft.com/office/drawing/2014/main" id="{B2FBC2D6-9179-436B-8491-230A60BE74EB}"/>
              </a:ext>
            </a:extLst>
          </p:cNvPr>
          <p:cNvSpPr/>
          <p:nvPr/>
        </p:nvSpPr>
        <p:spPr>
          <a:xfrm>
            <a:off x="1242041" y="963591"/>
            <a:ext cx="9858350" cy="1551445"/>
          </a:xfrm>
          <a:prstGeom prst="rect">
            <a:avLst/>
          </a:prstGeom>
          <a:solidFill>
            <a:srgbClr val="764AA0"/>
          </a:solidFill>
          <a:ln w="25400" cap="flat" cmpd="sng" algn="ctr">
            <a:noFill/>
            <a:prstDash val="solid"/>
          </a:ln>
          <a:effectLst/>
        </p:spPr>
        <p:txBody>
          <a:bodyPr numCol="1" rtlCol="0" anchor="t"/>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Strategy statement</a:t>
            </a:r>
          </a:p>
          <a:p>
            <a:pPr marL="0" marR="0" lvl="0" indent="0" algn="l" defTabSz="45699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AAM needs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ignificant investment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to catch up to its competitors’ data capabilities in order to realize its business strategy of helping its clients live their best lives by becoming their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trusted partner</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 The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hared ambition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among AAM business units’ is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get in control and understand what is currently happening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in each of the business data domains to move from gut-feel management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driven decision-making</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 The first step is to move from the current data silos to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enterprise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incl.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ingle source of truth for operational and investment data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to gain control (trust &amp; access to the relevant data)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free up the capacity to dream about applied analytics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in business processes. This will make AAM an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attractive employer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for knowledge workers scarce in the market. When the foundational work is done, the data strategy should be evaluated and updated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keep on growing and accelerating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the use of data &amp; analytics.</a:t>
            </a:r>
          </a:p>
        </p:txBody>
      </p:sp>
      <p:sp>
        <p:nvSpPr>
          <p:cNvPr id="47" name="Rectangle 46">
            <a:extLst>
              <a:ext uri="{FF2B5EF4-FFF2-40B4-BE49-F238E27FC236}">
                <a16:creationId xmlns:a16="http://schemas.microsoft.com/office/drawing/2014/main" id="{B5AE2846-A471-4E1E-9A3C-C1EDB50C65AF}"/>
              </a:ext>
            </a:extLst>
          </p:cNvPr>
          <p:cNvSpPr/>
          <p:nvPr/>
        </p:nvSpPr>
        <p:spPr>
          <a:xfrm>
            <a:off x="1240381" y="4973369"/>
            <a:ext cx="9858350" cy="456460"/>
          </a:xfrm>
          <a:prstGeom prst="rect">
            <a:avLst/>
          </a:prstGeom>
          <a:solidFill>
            <a:schemeClr val="tx2"/>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Use cases</a:t>
            </a:r>
          </a:p>
        </p:txBody>
      </p:sp>
      <p:pic>
        <p:nvPicPr>
          <p:cNvPr id="57" name="Picture 56">
            <a:extLst>
              <a:ext uri="{FF2B5EF4-FFF2-40B4-BE49-F238E27FC236}">
                <a16:creationId xmlns:a16="http://schemas.microsoft.com/office/drawing/2014/main" id="{4B7A39FD-6A61-4C3E-9D00-F677C9F0612E}"/>
              </a:ext>
            </a:extLst>
          </p:cNvPr>
          <p:cNvPicPr>
            <a:picLocks noChangeAspect="1"/>
          </p:cNvPicPr>
          <p:nvPr/>
        </p:nvPicPr>
        <p:blipFill>
          <a:blip r:embed="rId3"/>
          <a:stretch>
            <a:fillRect/>
          </a:stretch>
        </p:blipFill>
        <p:spPr>
          <a:xfrm>
            <a:off x="10851866" y="585207"/>
            <a:ext cx="691942" cy="644606"/>
          </a:xfrm>
          <a:prstGeom prst="rect">
            <a:avLst/>
          </a:prstGeom>
        </p:spPr>
      </p:pic>
      <p:sp>
        <p:nvSpPr>
          <p:cNvPr id="6" name="Flowchart: Preparation 5">
            <a:extLst>
              <a:ext uri="{FF2B5EF4-FFF2-40B4-BE49-F238E27FC236}">
                <a16:creationId xmlns:a16="http://schemas.microsoft.com/office/drawing/2014/main" id="{D6ED2BE0-B348-4336-858E-FBC744ABB955}"/>
              </a:ext>
            </a:extLst>
          </p:cNvPr>
          <p:cNvSpPr/>
          <p:nvPr/>
        </p:nvSpPr>
        <p:spPr>
          <a:xfrm rot="20421027">
            <a:off x="943961" y="938657"/>
            <a:ext cx="525497" cy="248232"/>
          </a:xfrm>
          <a:prstGeom prst="flowChartPreparation">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draft</a:t>
            </a:r>
          </a:p>
        </p:txBody>
      </p:sp>
      <p:pic>
        <p:nvPicPr>
          <p:cNvPr id="54" name="Picture 53">
            <a:extLst>
              <a:ext uri="{FF2B5EF4-FFF2-40B4-BE49-F238E27FC236}">
                <a16:creationId xmlns:a16="http://schemas.microsoft.com/office/drawing/2014/main" id="{17CE633C-FD6A-486E-BE3A-EAF206B7C0B2}"/>
              </a:ext>
            </a:extLst>
          </p:cNvPr>
          <p:cNvPicPr>
            <a:picLocks noChangeAspect="1"/>
          </p:cNvPicPr>
          <p:nvPr/>
        </p:nvPicPr>
        <p:blipFill>
          <a:blip r:embed="rId4">
            <a:alphaModFix/>
          </a:blip>
          <a:stretch>
            <a:fillRect/>
          </a:stretch>
        </p:blipFill>
        <p:spPr>
          <a:xfrm>
            <a:off x="574714" y="5573395"/>
            <a:ext cx="3526342" cy="637025"/>
          </a:xfrm>
          <a:prstGeom prst="rect">
            <a:avLst/>
          </a:prstGeom>
        </p:spPr>
      </p:pic>
      <p:sp>
        <p:nvSpPr>
          <p:cNvPr id="55" name="Flowchart: Preparation 54">
            <a:extLst>
              <a:ext uri="{FF2B5EF4-FFF2-40B4-BE49-F238E27FC236}">
                <a16:creationId xmlns:a16="http://schemas.microsoft.com/office/drawing/2014/main" id="{F1EFEFBA-E632-401E-961E-CC8918475A76}"/>
              </a:ext>
            </a:extLst>
          </p:cNvPr>
          <p:cNvSpPr/>
          <p:nvPr/>
        </p:nvSpPr>
        <p:spPr>
          <a:xfrm rot="20421027">
            <a:off x="3928402" y="5659758"/>
            <a:ext cx="576000" cy="360000"/>
          </a:xfrm>
          <a:prstGeom prst="flowChartPreparation">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draft</a:t>
            </a:r>
          </a:p>
        </p:txBody>
      </p:sp>
      <p:grpSp>
        <p:nvGrpSpPr>
          <p:cNvPr id="7" name="Group 6">
            <a:extLst>
              <a:ext uri="{FF2B5EF4-FFF2-40B4-BE49-F238E27FC236}">
                <a16:creationId xmlns:a16="http://schemas.microsoft.com/office/drawing/2014/main" id="{62DC005F-7132-4199-B6F1-785597515763}"/>
              </a:ext>
            </a:extLst>
          </p:cNvPr>
          <p:cNvGrpSpPr/>
          <p:nvPr/>
        </p:nvGrpSpPr>
        <p:grpSpPr>
          <a:xfrm>
            <a:off x="1140301" y="3262027"/>
            <a:ext cx="10067638" cy="1699625"/>
            <a:chOff x="1140300" y="2844013"/>
            <a:chExt cx="10064250" cy="1423095"/>
          </a:xfrm>
        </p:grpSpPr>
        <p:sp>
          <p:nvSpPr>
            <p:cNvPr id="62" name="Down Arrow 61">
              <a:extLst>
                <a:ext uri="{FF2B5EF4-FFF2-40B4-BE49-F238E27FC236}">
                  <a16:creationId xmlns:a16="http://schemas.microsoft.com/office/drawing/2014/main" id="{9F4F2FF7-0E74-452F-8492-F85B59E770F0}"/>
                </a:ext>
              </a:extLst>
            </p:cNvPr>
            <p:cNvSpPr/>
            <p:nvPr/>
          </p:nvSpPr>
          <p:spPr>
            <a:xfrm>
              <a:off x="1140300"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Down Arrow 63">
              <a:extLst>
                <a:ext uri="{FF2B5EF4-FFF2-40B4-BE49-F238E27FC236}">
                  <a16:creationId xmlns:a16="http://schemas.microsoft.com/office/drawing/2014/main" id="{5277AB8D-6E34-4680-BBD6-37A7CE833DA9}"/>
                </a:ext>
              </a:extLst>
            </p:cNvPr>
            <p:cNvSpPr/>
            <p:nvPr/>
          </p:nvSpPr>
          <p:spPr>
            <a:xfrm>
              <a:off x="2747418"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Down Arrow 64">
              <a:extLst>
                <a:ext uri="{FF2B5EF4-FFF2-40B4-BE49-F238E27FC236}">
                  <a16:creationId xmlns:a16="http://schemas.microsoft.com/office/drawing/2014/main" id="{59327B6E-5898-42E1-99F7-75C9876FC0EC}"/>
                </a:ext>
              </a:extLst>
            </p:cNvPr>
            <p:cNvSpPr/>
            <p:nvPr/>
          </p:nvSpPr>
          <p:spPr>
            <a:xfrm>
              <a:off x="4354536"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Down Arrow 65">
              <a:extLst>
                <a:ext uri="{FF2B5EF4-FFF2-40B4-BE49-F238E27FC236}">
                  <a16:creationId xmlns:a16="http://schemas.microsoft.com/office/drawing/2014/main" id="{A0533511-8A45-4CF7-B767-AA6D69E42C18}"/>
                </a:ext>
              </a:extLst>
            </p:cNvPr>
            <p:cNvSpPr/>
            <p:nvPr/>
          </p:nvSpPr>
          <p:spPr>
            <a:xfrm>
              <a:off x="5961654"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Down Arrow 66">
              <a:extLst>
                <a:ext uri="{FF2B5EF4-FFF2-40B4-BE49-F238E27FC236}">
                  <a16:creationId xmlns:a16="http://schemas.microsoft.com/office/drawing/2014/main" id="{2DB714B5-3078-46C0-AE32-240A3EF559D8}"/>
                </a:ext>
              </a:extLst>
            </p:cNvPr>
            <p:cNvSpPr/>
            <p:nvPr/>
          </p:nvSpPr>
          <p:spPr>
            <a:xfrm>
              <a:off x="7568772"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Down Arrow 67">
              <a:extLst>
                <a:ext uri="{FF2B5EF4-FFF2-40B4-BE49-F238E27FC236}">
                  <a16:creationId xmlns:a16="http://schemas.microsoft.com/office/drawing/2014/main" id="{DFA94B9A-2FFE-4490-919A-F5D58BDCBB38}"/>
                </a:ext>
              </a:extLst>
            </p:cNvPr>
            <p:cNvSpPr/>
            <p:nvPr/>
          </p:nvSpPr>
          <p:spPr>
            <a:xfrm>
              <a:off x="9175890"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Down Arrow 67">
              <a:extLst>
                <a:ext uri="{FF2B5EF4-FFF2-40B4-BE49-F238E27FC236}">
                  <a16:creationId xmlns:a16="http://schemas.microsoft.com/office/drawing/2014/main" id="{B9F51C16-FFB4-407C-85A4-22FB7E3AC560}"/>
                </a:ext>
              </a:extLst>
            </p:cNvPr>
            <p:cNvSpPr/>
            <p:nvPr/>
          </p:nvSpPr>
          <p:spPr>
            <a:xfrm>
              <a:off x="10783007" y="2844013"/>
              <a:ext cx="421543" cy="1423095"/>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 name="Group 4">
            <a:extLst>
              <a:ext uri="{FF2B5EF4-FFF2-40B4-BE49-F238E27FC236}">
                <a16:creationId xmlns:a16="http://schemas.microsoft.com/office/drawing/2014/main" id="{6EC736A9-CEAE-46B6-BFBA-8B76173CB850}"/>
              </a:ext>
            </a:extLst>
          </p:cNvPr>
          <p:cNvGrpSpPr/>
          <p:nvPr/>
        </p:nvGrpSpPr>
        <p:grpSpPr>
          <a:xfrm>
            <a:off x="1242087" y="2610663"/>
            <a:ext cx="9861650" cy="1063984"/>
            <a:chOff x="1242087" y="2706286"/>
            <a:chExt cx="9861650" cy="888928"/>
          </a:xfrm>
        </p:grpSpPr>
        <p:sp>
          <p:nvSpPr>
            <p:cNvPr id="29" name="Rectangle 28">
              <a:extLst>
                <a:ext uri="{FF2B5EF4-FFF2-40B4-BE49-F238E27FC236}">
                  <a16:creationId xmlns:a16="http://schemas.microsoft.com/office/drawing/2014/main" id="{589FFB6A-1B84-4F57-9F23-6117B717798B}"/>
                </a:ext>
              </a:extLst>
            </p:cNvPr>
            <p:cNvSpPr/>
            <p:nvPr/>
          </p:nvSpPr>
          <p:spPr>
            <a:xfrm>
              <a:off x="1242087" y="2706287"/>
              <a:ext cx="1799464" cy="888927"/>
            </a:xfrm>
            <a:prstGeom prst="rect">
              <a:avLst/>
            </a:prstGeom>
            <a:solidFill>
              <a:srgbClr val="FFFFFF">
                <a:lumMod val="50000"/>
              </a:srgbClr>
            </a:solidFill>
            <a:ln w="25400" cap="flat" cmpd="sng" algn="ctr">
              <a:noFill/>
              <a:prstDash val="solid"/>
            </a:ln>
            <a:effectLst/>
          </p:spPr>
          <p:txBody>
            <a:bodyPr numCol="1" rtlCol="0" anchor="ctr"/>
            <a:lstStyle/>
            <a:p>
              <a:pPr lvl="0" algn="ctr" defTabSz="456999">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1: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Improving Data Governance and </a:t>
              </a:r>
              <a:r>
                <a:rPr kumimoji="0" lang="en-US" sz="1200" b="0" i="0" u="none" strike="noStrike" kern="0" cap="none" spc="0" normalizeH="0" baseline="0" noProof="0">
                  <a:ln>
                    <a:noFill/>
                  </a:ln>
                  <a:solidFill>
                    <a:schemeClr val="bg1"/>
                  </a:solidFill>
                  <a:effectLst/>
                  <a:uLnTx/>
                  <a:uFillTx/>
                  <a:latin typeface="Calibri" panose="020F0502020204030204"/>
                  <a:ea typeface="+mn-ea"/>
                  <a:cs typeface="+mn-cs"/>
                </a:rPr>
                <a:t>integrating Data Management for ensuring </a:t>
              </a:r>
              <a:r>
                <a:rPr lang="en-US" sz="1200" kern="0">
                  <a:solidFill>
                    <a:schemeClr val="bg1"/>
                  </a:solidFill>
                </a:rPr>
                <a:t> and </a:t>
              </a:r>
              <a:r>
                <a:rPr lang="en-US" sz="1200" kern="0">
                  <a:solidFill>
                    <a:schemeClr val="bg1"/>
                  </a:solidFill>
                  <a:latin typeface="Calibri" panose="020F0502020204030204"/>
                </a:rPr>
                <a:t>easy/timely data access</a:t>
              </a:r>
              <a:endParaRPr kumimoji="0" lang="en-US" sz="1200" b="0" i="0" u="none" strike="noStrike" kern="0" cap="none" spc="0" normalizeH="0" baseline="0" noProof="0">
                <a:ln>
                  <a:noFill/>
                </a:ln>
                <a:solidFill>
                  <a:schemeClr val="bg1"/>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4D3E383-06C1-49C4-9ABD-8978EC7173CD}"/>
                </a:ext>
              </a:extLst>
            </p:cNvPr>
            <p:cNvSpPr/>
            <p:nvPr/>
          </p:nvSpPr>
          <p:spPr>
            <a:xfrm>
              <a:off x="3257634" y="2706287"/>
              <a:ext cx="1799464" cy="888926"/>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2: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Integration of data requirements in one enterprise </a:t>
              </a: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data </a:t>
              </a:r>
              <a:r>
                <a:rPr kumimoji="0" lang="en-US" sz="1200" i="0" u="none" strike="noStrike" kern="0" cap="none" spc="0" normalizeH="0" baseline="0" noProof="0">
                  <a:ln>
                    <a:noFill/>
                  </a:ln>
                  <a:solidFill>
                    <a:schemeClr val="bg1"/>
                  </a:solidFill>
                  <a:effectLst/>
                  <a:uLnTx/>
                  <a:uFillTx/>
                  <a:latin typeface="Calibri" panose="020F0502020204030204"/>
                  <a:ea typeface="+mn-ea"/>
                  <a:cs typeface="+mn-cs"/>
                </a:rPr>
                <a:t>model </a:t>
              </a:r>
              <a:r>
                <a:rPr kumimoji="0" lang="en-US" sz="1200" i="0" u="none" strike="noStrike" kern="1200" cap="none" spc="20" normalizeH="0" baseline="0" noProof="0">
                  <a:ln>
                    <a:noFill/>
                  </a:ln>
                  <a:solidFill>
                    <a:schemeClr val="bg1"/>
                  </a:solidFill>
                  <a:effectLst/>
                  <a:uLnTx/>
                  <a:uFillTx/>
                  <a:latin typeface="Calibri Light" panose="020F0302020204030204"/>
                  <a:ea typeface="Times New Roman" panose="02020603050405020304" pitchFamily="18" charset="0"/>
                  <a:cs typeface="Times New Roman" panose="02020603050405020304" pitchFamily="18" charset="0"/>
                </a:rPr>
                <a:t>to better serve our clients  </a:t>
              </a:r>
              <a:endParaRPr kumimoji="0" lang="en-US" sz="1200" i="0" u="none" strike="noStrike" kern="0" cap="none" spc="0" normalizeH="0" baseline="0" noProof="0">
                <a:ln>
                  <a:noFill/>
                </a:ln>
                <a:solidFill>
                  <a:schemeClr val="bg1"/>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64CA730A-072B-4418-81AC-8D9C9D277206}"/>
                </a:ext>
              </a:extLst>
            </p:cNvPr>
            <p:cNvSpPr/>
            <p:nvPr/>
          </p:nvSpPr>
          <p:spPr>
            <a:xfrm>
              <a:off x="5273181" y="2706289"/>
              <a:ext cx="1799464" cy="888924"/>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3: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Global and </a:t>
              </a:r>
              <a:r>
                <a:rPr lang="en-US" sz="1200" kern="0">
                  <a:solidFill>
                    <a:prstClr val="white"/>
                  </a:solidFill>
                  <a:latin typeface="Calibri" panose="020F0502020204030204"/>
                </a:rPr>
                <a:t>consistent</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 reporting for operations</a:t>
              </a:r>
            </a:p>
          </p:txBody>
        </p:sp>
        <p:sp>
          <p:nvSpPr>
            <p:cNvPr id="32" name="Rectangle 31">
              <a:extLst>
                <a:ext uri="{FF2B5EF4-FFF2-40B4-BE49-F238E27FC236}">
                  <a16:creationId xmlns:a16="http://schemas.microsoft.com/office/drawing/2014/main" id="{C787732E-4D85-4314-B9CD-8E069DB7DB26}"/>
                </a:ext>
              </a:extLst>
            </p:cNvPr>
            <p:cNvSpPr/>
            <p:nvPr/>
          </p:nvSpPr>
          <p:spPr>
            <a:xfrm>
              <a:off x="7288728" y="2706289"/>
              <a:ext cx="1799464" cy="888924"/>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4: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Building a global way of working for innovation and analytics to improve investments and client experience</a:t>
              </a:r>
            </a:p>
          </p:txBody>
        </p:sp>
        <p:sp>
          <p:nvSpPr>
            <p:cNvPr id="33" name="Rectangle 32">
              <a:extLst>
                <a:ext uri="{FF2B5EF4-FFF2-40B4-BE49-F238E27FC236}">
                  <a16:creationId xmlns:a16="http://schemas.microsoft.com/office/drawing/2014/main" id="{383F8BD7-ADD4-45DB-92EC-7F4A6962DC66}"/>
                </a:ext>
              </a:extLst>
            </p:cNvPr>
            <p:cNvSpPr/>
            <p:nvPr/>
          </p:nvSpPr>
          <p:spPr>
            <a:xfrm>
              <a:off x="9304273" y="2706286"/>
              <a:ext cx="1799464" cy="888924"/>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5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AAM as preferred Responsible Investment provider</a:t>
              </a:r>
            </a:p>
          </p:txBody>
        </p:sp>
      </p:grpSp>
      <p:grpSp>
        <p:nvGrpSpPr>
          <p:cNvPr id="4" name="Group 3">
            <a:extLst>
              <a:ext uri="{FF2B5EF4-FFF2-40B4-BE49-F238E27FC236}">
                <a16:creationId xmlns:a16="http://schemas.microsoft.com/office/drawing/2014/main" id="{36E33D07-0027-453D-86B9-A4306C912C46}"/>
              </a:ext>
            </a:extLst>
          </p:cNvPr>
          <p:cNvGrpSpPr/>
          <p:nvPr/>
        </p:nvGrpSpPr>
        <p:grpSpPr>
          <a:xfrm>
            <a:off x="1242075" y="3850255"/>
            <a:ext cx="9861663" cy="995254"/>
            <a:chOff x="1399993" y="3963907"/>
            <a:chExt cx="9790401" cy="349596"/>
          </a:xfrm>
        </p:grpSpPr>
        <p:grpSp>
          <p:nvGrpSpPr>
            <p:cNvPr id="34" name="Group 33">
              <a:extLst>
                <a:ext uri="{FF2B5EF4-FFF2-40B4-BE49-F238E27FC236}">
                  <a16:creationId xmlns:a16="http://schemas.microsoft.com/office/drawing/2014/main" id="{3CDB58D9-24C3-45F9-9A38-EAB2BCB4109B}"/>
                </a:ext>
              </a:extLst>
            </p:cNvPr>
            <p:cNvGrpSpPr/>
            <p:nvPr/>
          </p:nvGrpSpPr>
          <p:grpSpPr>
            <a:xfrm>
              <a:off x="1399993" y="3963907"/>
              <a:ext cx="6966898" cy="349596"/>
              <a:chOff x="587372" y="3938694"/>
              <a:chExt cx="4853572" cy="511425"/>
            </a:xfrm>
            <a:solidFill>
              <a:schemeClr val="accent5"/>
            </a:solidFill>
          </p:grpSpPr>
          <p:sp>
            <p:nvSpPr>
              <p:cNvPr id="35" name="Rectangle 34">
                <a:extLst>
                  <a:ext uri="{FF2B5EF4-FFF2-40B4-BE49-F238E27FC236}">
                    <a16:creationId xmlns:a16="http://schemas.microsoft.com/office/drawing/2014/main" id="{36DED566-0412-437D-AAB2-C4090D57ED60}"/>
                  </a:ext>
                </a:extLst>
              </p:cNvPr>
              <p:cNvSpPr/>
              <p:nvPr/>
            </p:nvSpPr>
            <p:spPr>
              <a:xfrm>
                <a:off x="58737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Commitment to data-driven operations </a:t>
                </a:r>
              </a:p>
            </p:txBody>
          </p:sp>
          <p:sp>
            <p:nvSpPr>
              <p:cNvPr id="36" name="Rectangle 35">
                <a:extLst>
                  <a:ext uri="{FF2B5EF4-FFF2-40B4-BE49-F238E27FC236}">
                    <a16:creationId xmlns:a16="http://schemas.microsoft.com/office/drawing/2014/main" id="{0D1F735D-D641-4573-B834-7E529CCDAEDB}"/>
                  </a:ext>
                </a:extLst>
              </p:cNvPr>
              <p:cNvSpPr/>
              <p:nvPr/>
            </p:nvSpPr>
            <p:spPr>
              <a:xfrm>
                <a:off x="1569737"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lang="en-US" sz="1200" kern="0">
                    <a:solidFill>
                      <a:prstClr val="white"/>
                    </a:solidFill>
                    <a:latin typeface="Calibri" panose="020F0502020204030204"/>
                  </a:rPr>
                  <a:t>Data enterprise with one global, integrated data model</a:t>
                </a:r>
                <a:endParaRPr kumimoji="0" lang="en-US" sz="120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2443442B-A757-44CC-9578-6BD20777C6A7}"/>
                  </a:ext>
                </a:extLst>
              </p:cNvPr>
              <p:cNvSpPr/>
              <p:nvPr/>
            </p:nvSpPr>
            <p:spPr>
              <a:xfrm>
                <a:off x="255210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Global data management framework</a:t>
                </a:r>
              </a:p>
            </p:txBody>
          </p:sp>
          <p:sp>
            <p:nvSpPr>
              <p:cNvPr id="38" name="Rectangle 37">
                <a:extLst>
                  <a:ext uri="{FF2B5EF4-FFF2-40B4-BE49-F238E27FC236}">
                    <a16:creationId xmlns:a16="http://schemas.microsoft.com/office/drawing/2014/main" id="{38EC92A3-503A-4BC3-B512-EB9664793EDC}"/>
                  </a:ext>
                </a:extLst>
              </p:cNvPr>
              <p:cNvSpPr/>
              <p:nvPr/>
            </p:nvSpPr>
            <p:spPr>
              <a:xfrm>
                <a:off x="3534467" y="3938694"/>
                <a:ext cx="924113" cy="511425"/>
              </a:xfrm>
              <a:prstGeom prst="rect">
                <a:avLst/>
              </a:prstGeom>
              <a:grpFill/>
              <a:ln w="25400" cap="flat" cmpd="sng" algn="ctr">
                <a:noFill/>
                <a:prstDash val="solid"/>
              </a:ln>
              <a:effectLst/>
            </p:spPr>
            <p:txBody>
              <a:bodyPr numCol="1" rtlCol="0" anchor="ctr"/>
              <a:lstStyle/>
              <a:p>
                <a:pPr algn="ctr" defTabSz="913943">
                  <a:buClr>
                    <a:srgbClr val="001F5B"/>
                  </a:buClr>
                  <a:buSzPct val="100000"/>
                  <a:defRPr/>
                </a:pPr>
                <a:r>
                  <a:rPr lang="en-US" sz="1200" kern="0">
                    <a:solidFill>
                      <a:prstClr val="white"/>
                    </a:solidFill>
                    <a:latin typeface="Calibri" panose="020F0502020204030204"/>
                  </a:rPr>
                  <a:t>Data ownership as a business responsibility</a:t>
                </a:r>
              </a:p>
            </p:txBody>
          </p:sp>
          <p:sp>
            <p:nvSpPr>
              <p:cNvPr id="39" name="Rectangle 38">
                <a:extLst>
                  <a:ext uri="{FF2B5EF4-FFF2-40B4-BE49-F238E27FC236}">
                    <a16:creationId xmlns:a16="http://schemas.microsoft.com/office/drawing/2014/main" id="{35BB905B-9707-4E2D-837D-C93DE4ECBF1D}"/>
                  </a:ext>
                </a:extLst>
              </p:cNvPr>
              <p:cNvSpPr/>
              <p:nvPr/>
            </p:nvSpPr>
            <p:spPr>
              <a:xfrm>
                <a:off x="4516831"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Simplified and standardized activities by automation</a:t>
                </a:r>
              </a:p>
            </p:txBody>
          </p:sp>
        </p:grpSp>
        <p:sp>
          <p:nvSpPr>
            <p:cNvPr id="28" name="Rectangle 27">
              <a:extLst>
                <a:ext uri="{FF2B5EF4-FFF2-40B4-BE49-F238E27FC236}">
                  <a16:creationId xmlns:a16="http://schemas.microsoft.com/office/drawing/2014/main" id="{7BFE86CE-803C-4D38-B150-2EA00AE02710}"/>
                </a:ext>
              </a:extLst>
            </p:cNvPr>
            <p:cNvSpPr/>
            <p:nvPr/>
          </p:nvSpPr>
          <p:spPr>
            <a:xfrm>
              <a:off x="8455465" y="3963907"/>
              <a:ext cx="1326488" cy="349596"/>
            </a:xfrm>
            <a:prstGeom prst="rect">
              <a:avLst/>
            </a:prstGeom>
            <a:solidFill>
              <a:schemeClr val="accent5"/>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Facilitating and enabling business driven analytics</a:t>
              </a:r>
            </a:p>
          </p:txBody>
        </p:sp>
        <p:sp>
          <p:nvSpPr>
            <p:cNvPr id="44" name="Rectangle 43">
              <a:extLst>
                <a:ext uri="{FF2B5EF4-FFF2-40B4-BE49-F238E27FC236}">
                  <a16:creationId xmlns:a16="http://schemas.microsoft.com/office/drawing/2014/main" id="{D09B02EA-DDE9-403C-804A-F109603731BC}"/>
                </a:ext>
              </a:extLst>
            </p:cNvPr>
            <p:cNvSpPr/>
            <p:nvPr/>
          </p:nvSpPr>
          <p:spPr>
            <a:xfrm>
              <a:off x="9863906" y="3963907"/>
              <a:ext cx="1326488" cy="349596"/>
            </a:xfrm>
            <a:prstGeom prst="rect">
              <a:avLst/>
            </a:prstGeom>
            <a:solidFill>
              <a:schemeClr val="accent5"/>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Holistic approach to utilizing trusted ESG data &amp; analytics</a:t>
              </a:r>
            </a:p>
          </p:txBody>
        </p:sp>
      </p:grpSp>
      <p:pic>
        <p:nvPicPr>
          <p:cNvPr id="56" name="Graphic 55" descr="Muscular arm">
            <a:extLst>
              <a:ext uri="{FF2B5EF4-FFF2-40B4-BE49-F238E27FC236}">
                <a16:creationId xmlns:a16="http://schemas.microsoft.com/office/drawing/2014/main" id="{9C1BDCCE-8758-4AA5-86FF-B5E31115508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69034" y="4550463"/>
            <a:ext cx="295145" cy="295046"/>
          </a:xfrm>
          <a:prstGeom prst="rect">
            <a:avLst/>
          </a:prstGeom>
        </p:spPr>
      </p:pic>
      <p:pic>
        <p:nvPicPr>
          <p:cNvPr id="58" name="Graphic 57" descr="Puzzle pieces">
            <a:extLst>
              <a:ext uri="{FF2B5EF4-FFF2-40B4-BE49-F238E27FC236}">
                <a16:creationId xmlns:a16="http://schemas.microsoft.com/office/drawing/2014/main" id="{D745C472-CADB-4610-A400-FE3C6316B023}"/>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10937" y="4552241"/>
            <a:ext cx="320983" cy="320875"/>
          </a:xfrm>
          <a:prstGeom prst="rect">
            <a:avLst/>
          </a:prstGeom>
        </p:spPr>
      </p:pic>
      <p:pic>
        <p:nvPicPr>
          <p:cNvPr id="59" name="Graphic 58" descr="Gears">
            <a:extLst>
              <a:ext uri="{FF2B5EF4-FFF2-40B4-BE49-F238E27FC236}">
                <a16:creationId xmlns:a16="http://schemas.microsoft.com/office/drawing/2014/main" id="{46D85C86-B2C3-49B2-B3D9-CD6202B9385D}"/>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161701" y="4568063"/>
            <a:ext cx="289327" cy="289230"/>
          </a:xfrm>
          <a:prstGeom prst="rect">
            <a:avLst/>
          </a:prstGeom>
        </p:spPr>
      </p:pic>
      <p:pic>
        <p:nvPicPr>
          <p:cNvPr id="60" name="Graphic 59" descr="Professor">
            <a:extLst>
              <a:ext uri="{FF2B5EF4-FFF2-40B4-BE49-F238E27FC236}">
                <a16:creationId xmlns:a16="http://schemas.microsoft.com/office/drawing/2014/main" id="{074494F0-FAA1-4191-8D46-1F32DAD8EA87}"/>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548167" y="4550321"/>
            <a:ext cx="311804" cy="311699"/>
          </a:xfrm>
          <a:prstGeom prst="rect">
            <a:avLst/>
          </a:prstGeom>
        </p:spPr>
      </p:pic>
      <p:pic>
        <p:nvPicPr>
          <p:cNvPr id="61" name="Graphic 60" descr="Forest scene">
            <a:extLst>
              <a:ext uri="{FF2B5EF4-FFF2-40B4-BE49-F238E27FC236}">
                <a16:creationId xmlns:a16="http://schemas.microsoft.com/office/drawing/2014/main" id="{F311CDC7-02EF-41BA-9CD0-E8BBC672E6CF}"/>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810678" y="4546363"/>
            <a:ext cx="285153" cy="285057"/>
          </a:xfrm>
          <a:prstGeom prst="rect">
            <a:avLst/>
          </a:prstGeom>
        </p:spPr>
      </p:pic>
      <p:pic>
        <p:nvPicPr>
          <p:cNvPr id="63" name="Graphic 62" descr="Boardroom">
            <a:extLst>
              <a:ext uri="{FF2B5EF4-FFF2-40B4-BE49-F238E27FC236}">
                <a16:creationId xmlns:a16="http://schemas.microsoft.com/office/drawing/2014/main" id="{C74FC39F-43A5-4154-84BD-28706B897754}"/>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347781" y="4531815"/>
            <a:ext cx="338336" cy="361725"/>
          </a:xfrm>
          <a:prstGeom prst="rect">
            <a:avLst/>
          </a:prstGeom>
        </p:spPr>
      </p:pic>
      <p:pic>
        <p:nvPicPr>
          <p:cNvPr id="104" name="Graphic 103" descr="Tools">
            <a:extLst>
              <a:ext uri="{FF2B5EF4-FFF2-40B4-BE49-F238E27FC236}">
                <a16:creationId xmlns:a16="http://schemas.microsoft.com/office/drawing/2014/main" id="{56423792-D2FB-4F76-B93A-671C7F2E0709}"/>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988292" y="4580637"/>
            <a:ext cx="256416" cy="255038"/>
          </a:xfrm>
          <a:prstGeom prst="rect">
            <a:avLst/>
          </a:prstGeom>
        </p:spPr>
      </p:pic>
      <p:sp>
        <p:nvSpPr>
          <p:cNvPr id="45" name="TextBox 44">
            <a:extLst>
              <a:ext uri="{FF2B5EF4-FFF2-40B4-BE49-F238E27FC236}">
                <a16:creationId xmlns:a16="http://schemas.microsoft.com/office/drawing/2014/main" id="{A94C314A-6809-4B75-BB87-F10BA4F0FBCC}"/>
              </a:ext>
            </a:extLst>
          </p:cNvPr>
          <p:cNvSpPr txBox="1"/>
          <p:nvPr/>
        </p:nvSpPr>
        <p:spPr>
          <a:xfrm rot="5400000">
            <a:off x="10883418" y="2888801"/>
            <a:ext cx="873701" cy="369332"/>
          </a:xfrm>
          <a:prstGeom prst="rect">
            <a:avLst/>
          </a:prstGeom>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Strategic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 objectives</a:t>
            </a:r>
          </a:p>
        </p:txBody>
      </p:sp>
      <p:sp>
        <p:nvSpPr>
          <p:cNvPr id="46" name="TextBox 45">
            <a:extLst>
              <a:ext uri="{FF2B5EF4-FFF2-40B4-BE49-F238E27FC236}">
                <a16:creationId xmlns:a16="http://schemas.microsoft.com/office/drawing/2014/main" id="{80F89A6B-1304-4739-B131-B6917A067996}"/>
              </a:ext>
            </a:extLst>
          </p:cNvPr>
          <p:cNvSpPr txBox="1"/>
          <p:nvPr/>
        </p:nvSpPr>
        <p:spPr>
          <a:xfrm rot="5400000">
            <a:off x="10868376" y="4137089"/>
            <a:ext cx="873702" cy="369332"/>
          </a:xfrm>
          <a:prstGeom prst="rect">
            <a:avLst/>
          </a:prstGeom>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Data design principles</a:t>
            </a:r>
          </a:p>
        </p:txBody>
      </p:sp>
      <p:sp>
        <p:nvSpPr>
          <p:cNvPr id="51" name="Flowchart: Preparation 50">
            <a:extLst>
              <a:ext uri="{FF2B5EF4-FFF2-40B4-BE49-F238E27FC236}">
                <a16:creationId xmlns:a16="http://schemas.microsoft.com/office/drawing/2014/main" id="{81DC673E-87B0-4CE6-A779-5BE44D554C76}"/>
              </a:ext>
            </a:extLst>
          </p:cNvPr>
          <p:cNvSpPr/>
          <p:nvPr/>
        </p:nvSpPr>
        <p:spPr>
          <a:xfrm rot="20421027">
            <a:off x="943961" y="2635977"/>
            <a:ext cx="525497" cy="248232"/>
          </a:xfrm>
          <a:prstGeom prst="flowChartPreparation">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draft</a:t>
            </a:r>
          </a:p>
        </p:txBody>
      </p:sp>
      <p:sp>
        <p:nvSpPr>
          <p:cNvPr id="52" name="Flowchart: Preparation 51">
            <a:extLst>
              <a:ext uri="{FF2B5EF4-FFF2-40B4-BE49-F238E27FC236}">
                <a16:creationId xmlns:a16="http://schemas.microsoft.com/office/drawing/2014/main" id="{35D25773-71AE-4E82-AB85-2E19B96084C5}"/>
              </a:ext>
            </a:extLst>
          </p:cNvPr>
          <p:cNvSpPr/>
          <p:nvPr/>
        </p:nvSpPr>
        <p:spPr>
          <a:xfrm rot="20421027">
            <a:off x="943961" y="3681893"/>
            <a:ext cx="525497" cy="248232"/>
          </a:xfrm>
          <a:prstGeom prst="flowChartPreparation">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draft</a:t>
            </a:r>
          </a:p>
        </p:txBody>
      </p:sp>
      <p:sp>
        <p:nvSpPr>
          <p:cNvPr id="53" name="Flowchart: Preparation 52">
            <a:extLst>
              <a:ext uri="{FF2B5EF4-FFF2-40B4-BE49-F238E27FC236}">
                <a16:creationId xmlns:a16="http://schemas.microsoft.com/office/drawing/2014/main" id="{F79BEDF5-90B5-4313-9F9C-631CCA9B0258}"/>
              </a:ext>
            </a:extLst>
          </p:cNvPr>
          <p:cNvSpPr/>
          <p:nvPr/>
        </p:nvSpPr>
        <p:spPr>
          <a:xfrm rot="20421027">
            <a:off x="943960" y="4846733"/>
            <a:ext cx="525497" cy="248232"/>
          </a:xfrm>
          <a:prstGeom prst="flowChartPreparation">
            <a:avLst/>
          </a:prstGeom>
          <a:solidFill>
            <a:schemeClr val="accent4"/>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WIP</a:t>
            </a:r>
          </a:p>
        </p:txBody>
      </p:sp>
    </p:spTree>
    <p:extLst>
      <p:ext uri="{BB962C8B-B14F-4D97-AF65-F5344CB8AC3E}">
        <p14:creationId xmlns:p14="http://schemas.microsoft.com/office/powerpoint/2010/main" val="3775035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5">
            <a:extLst>
              <a:ext uri="{FF2B5EF4-FFF2-40B4-BE49-F238E27FC236}">
                <a16:creationId xmlns:a16="http://schemas.microsoft.com/office/drawing/2014/main" id="{D4EACE78-4A8F-49B2-AA26-14770517D968}"/>
              </a:ext>
            </a:extLst>
          </p:cNvPr>
          <p:cNvSpPr txBox="1">
            <a:spLocks/>
          </p:cNvSpPr>
          <p:nvPr/>
        </p:nvSpPr>
        <p:spPr>
          <a:xfrm>
            <a:off x="588817" y="221950"/>
            <a:ext cx="10969095" cy="467894"/>
          </a:xfrm>
          <a:prstGeom prst="rect">
            <a:avLst/>
          </a:prstGeom>
        </p:spPr>
        <p:txBody>
          <a:bodyPr lIns="0" tIns="0" rIns="0" bIns="72000" anchor="t" anchorCtr="0"/>
          <a:lstStyle>
            <a:lvl1pPr algn="l" defTabSz="913943" rtl="0" eaLnBrk="1" latinLnBrk="0" hangingPunct="1">
              <a:lnSpc>
                <a:spcPct val="90000"/>
              </a:lnSpc>
              <a:spcBef>
                <a:spcPct val="0"/>
              </a:spcBef>
              <a:buNone/>
              <a:defRPr sz="3598" kern="1200">
                <a:solidFill>
                  <a:schemeClr val="accent1"/>
                </a:solidFill>
                <a:latin typeface="+mj-lt"/>
                <a:ea typeface="+mj-ea"/>
                <a:cs typeface="+mj-cs"/>
              </a:defRPr>
            </a:lvl1pPr>
          </a:lstStyle>
          <a:p>
            <a:pPr marL="0" marR="0" lvl="0" indent="0" algn="l" defTabSz="913943" rtl="0" eaLnBrk="1" fontAlgn="auto" latinLnBrk="0" hangingPunct="1">
              <a:lnSpc>
                <a:spcPct val="90000"/>
              </a:lnSpc>
              <a:spcBef>
                <a:spcPct val="0"/>
              </a:spcBef>
              <a:spcAft>
                <a:spcPts val="0"/>
              </a:spcAft>
              <a:buClrTx/>
              <a:buSzTx/>
              <a:buFontTx/>
              <a:buNone/>
              <a:tabLst>
                <a:tab pos="9505950" algn="l"/>
              </a:tabLst>
              <a:defRPr/>
            </a:pPr>
            <a:r>
              <a:rPr kumimoji="0" lang="en-US" sz="2400" b="1" i="0" u="sng" strike="noStrike" kern="1200" cap="none" spc="0" normalizeH="0" baseline="0" noProof="0">
                <a:ln>
                  <a:noFill/>
                </a:ln>
                <a:solidFill>
                  <a:srgbClr val="0069B4"/>
                </a:solidFill>
                <a:effectLst/>
                <a:uLnTx/>
                <a:uFillTx/>
                <a:latin typeface="Calibri Light" panose="020F0302020204030204"/>
                <a:ea typeface="+mj-ea"/>
                <a:cs typeface="+mj-cs"/>
              </a:rPr>
              <a:t>Extensive Summary</a:t>
            </a:r>
            <a:r>
              <a:rPr kumimoji="0" lang="en-US" sz="2400" b="0" i="0" u="none" strike="noStrike" kern="1200" cap="none" spc="0" normalizeH="0" baseline="0" noProof="0">
                <a:ln>
                  <a:noFill/>
                </a:ln>
                <a:solidFill>
                  <a:srgbClr val="0069B4"/>
                </a:solidFill>
                <a:effectLst/>
                <a:uLnTx/>
                <a:uFillTx/>
                <a:latin typeface="Calibri Light" panose="020F0302020204030204"/>
                <a:ea typeface="+mj-ea"/>
                <a:cs typeface="+mj-cs"/>
              </a:rPr>
              <a:t> of the AAM Data strategy</a:t>
            </a:r>
          </a:p>
        </p:txBody>
      </p:sp>
      <p:sp>
        <p:nvSpPr>
          <p:cNvPr id="26" name="Rectangle 25">
            <a:extLst>
              <a:ext uri="{FF2B5EF4-FFF2-40B4-BE49-F238E27FC236}">
                <a16:creationId xmlns:a16="http://schemas.microsoft.com/office/drawing/2014/main" id="{5D65B6C3-ECED-425F-86CD-55A91F7DDDFC}"/>
              </a:ext>
            </a:extLst>
          </p:cNvPr>
          <p:cNvSpPr/>
          <p:nvPr/>
        </p:nvSpPr>
        <p:spPr>
          <a:xfrm rot="16200000">
            <a:off x="3264736" y="-1835639"/>
            <a:ext cx="5617257" cy="10969095"/>
          </a:xfrm>
          <a:prstGeom prst="rect">
            <a:avLst/>
          </a:prstGeom>
          <a:solidFill>
            <a:schemeClr val="bg2">
              <a:lumMod val="95000"/>
            </a:schemeClr>
          </a:solid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ata strategy</a:t>
            </a:r>
          </a:p>
        </p:txBody>
      </p:sp>
      <p:sp>
        <p:nvSpPr>
          <p:cNvPr id="27" name="Rectangle 26">
            <a:extLst>
              <a:ext uri="{FF2B5EF4-FFF2-40B4-BE49-F238E27FC236}">
                <a16:creationId xmlns:a16="http://schemas.microsoft.com/office/drawing/2014/main" id="{B2FBC2D6-9179-436B-8491-230A60BE74EB}"/>
              </a:ext>
            </a:extLst>
          </p:cNvPr>
          <p:cNvSpPr/>
          <p:nvPr/>
        </p:nvSpPr>
        <p:spPr>
          <a:xfrm>
            <a:off x="1242041" y="865935"/>
            <a:ext cx="9858350" cy="1511128"/>
          </a:xfrm>
          <a:prstGeom prst="rect">
            <a:avLst/>
          </a:prstGeom>
          <a:solidFill>
            <a:srgbClr val="764AA0"/>
          </a:solidFill>
          <a:ln w="25400" cap="flat" cmpd="sng" algn="ctr">
            <a:noFill/>
            <a:prstDash val="solid"/>
          </a:ln>
          <a:effectLst/>
        </p:spPr>
        <p:txBody>
          <a:bodyPr numCol="1" rtlCol="0" anchor="t"/>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Strategy statement</a:t>
            </a:r>
          </a:p>
          <a:p>
            <a:pPr marL="0" marR="0" lvl="0" indent="0" algn="l" defTabSz="45699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AAM needs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ignificant investment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to catch up to its competitors’ data capabilities in order to realize its business strategy of helping its clients live their best lives by becoming their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trusted partner</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 The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hared ambition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among AAM business units’ is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get in control and understand what is currently happening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in each of the business data domains to move from gut-feel management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driven decision-making</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 The first step is to move from the current data silos to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data enterprise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incl. a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single source of truth for operational and investment data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to gain control (trust &amp; access to the relevant data)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free up the capacity to dream about applied analytics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in business processes. This will make AAM an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attractive employer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for knowledge workers scarce in the market. When the foundational work is done, the data strategy should be evaluated and updated to </a:t>
            </a: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keep on growing and accelerating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the use of data &amp; analytics.</a:t>
            </a:r>
          </a:p>
        </p:txBody>
      </p:sp>
      <p:sp>
        <p:nvSpPr>
          <p:cNvPr id="47" name="Rectangle 46">
            <a:extLst>
              <a:ext uri="{FF2B5EF4-FFF2-40B4-BE49-F238E27FC236}">
                <a16:creationId xmlns:a16="http://schemas.microsoft.com/office/drawing/2014/main" id="{B5AE2846-A471-4E1E-9A3C-C1EDB50C65AF}"/>
              </a:ext>
            </a:extLst>
          </p:cNvPr>
          <p:cNvSpPr/>
          <p:nvPr/>
        </p:nvSpPr>
        <p:spPr>
          <a:xfrm>
            <a:off x="1242041" y="6137642"/>
            <a:ext cx="9858350" cy="231215"/>
          </a:xfrm>
          <a:prstGeom prst="rect">
            <a:avLst/>
          </a:prstGeom>
          <a:solidFill>
            <a:schemeClr val="tx2"/>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Use cases</a:t>
            </a:r>
          </a:p>
        </p:txBody>
      </p:sp>
      <p:pic>
        <p:nvPicPr>
          <p:cNvPr id="57" name="Picture 56">
            <a:extLst>
              <a:ext uri="{FF2B5EF4-FFF2-40B4-BE49-F238E27FC236}">
                <a16:creationId xmlns:a16="http://schemas.microsoft.com/office/drawing/2014/main" id="{4B7A39FD-6A61-4C3E-9D00-F677C9F0612E}"/>
              </a:ext>
            </a:extLst>
          </p:cNvPr>
          <p:cNvPicPr>
            <a:picLocks noChangeAspect="1"/>
          </p:cNvPicPr>
          <p:nvPr/>
        </p:nvPicPr>
        <p:blipFill>
          <a:blip r:embed="rId3"/>
          <a:stretch>
            <a:fillRect/>
          </a:stretch>
        </p:blipFill>
        <p:spPr>
          <a:xfrm>
            <a:off x="10851866" y="585207"/>
            <a:ext cx="691942" cy="644606"/>
          </a:xfrm>
          <a:prstGeom prst="rect">
            <a:avLst/>
          </a:prstGeom>
        </p:spPr>
      </p:pic>
      <p:sp>
        <p:nvSpPr>
          <p:cNvPr id="62" name="Down Arrow 61">
            <a:extLst>
              <a:ext uri="{FF2B5EF4-FFF2-40B4-BE49-F238E27FC236}">
                <a16:creationId xmlns:a16="http://schemas.microsoft.com/office/drawing/2014/main" id="{9F4F2FF7-0E74-452F-8492-F85B59E770F0}"/>
              </a:ext>
            </a:extLst>
          </p:cNvPr>
          <p:cNvSpPr/>
          <p:nvPr/>
        </p:nvSpPr>
        <p:spPr>
          <a:xfrm>
            <a:off x="1488652" y="3602479"/>
            <a:ext cx="421543" cy="2617568"/>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Down Arrow 63">
            <a:extLst>
              <a:ext uri="{FF2B5EF4-FFF2-40B4-BE49-F238E27FC236}">
                <a16:creationId xmlns:a16="http://schemas.microsoft.com/office/drawing/2014/main" id="{5277AB8D-6E34-4680-BBD6-37A7CE833DA9}"/>
              </a:ext>
            </a:extLst>
          </p:cNvPr>
          <p:cNvSpPr/>
          <p:nvPr/>
        </p:nvSpPr>
        <p:spPr>
          <a:xfrm>
            <a:off x="2997069" y="3602479"/>
            <a:ext cx="421543" cy="2617568"/>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Down Arrow 64">
            <a:extLst>
              <a:ext uri="{FF2B5EF4-FFF2-40B4-BE49-F238E27FC236}">
                <a16:creationId xmlns:a16="http://schemas.microsoft.com/office/drawing/2014/main" id="{59327B6E-5898-42E1-99F7-75C9876FC0EC}"/>
              </a:ext>
            </a:extLst>
          </p:cNvPr>
          <p:cNvSpPr/>
          <p:nvPr/>
        </p:nvSpPr>
        <p:spPr>
          <a:xfrm>
            <a:off x="4505486" y="3602479"/>
            <a:ext cx="421543" cy="2617568"/>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Down Arrow 65">
            <a:extLst>
              <a:ext uri="{FF2B5EF4-FFF2-40B4-BE49-F238E27FC236}">
                <a16:creationId xmlns:a16="http://schemas.microsoft.com/office/drawing/2014/main" id="{A0533511-8A45-4CF7-B767-AA6D69E42C18}"/>
              </a:ext>
            </a:extLst>
          </p:cNvPr>
          <p:cNvSpPr/>
          <p:nvPr/>
        </p:nvSpPr>
        <p:spPr>
          <a:xfrm>
            <a:off x="6013903" y="3602479"/>
            <a:ext cx="421543" cy="2617568"/>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Down Arrow 66">
            <a:extLst>
              <a:ext uri="{FF2B5EF4-FFF2-40B4-BE49-F238E27FC236}">
                <a16:creationId xmlns:a16="http://schemas.microsoft.com/office/drawing/2014/main" id="{2DB714B5-3078-46C0-AE32-240A3EF559D8}"/>
              </a:ext>
            </a:extLst>
          </p:cNvPr>
          <p:cNvSpPr/>
          <p:nvPr/>
        </p:nvSpPr>
        <p:spPr>
          <a:xfrm>
            <a:off x="7522320" y="3602479"/>
            <a:ext cx="421543" cy="2617568"/>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Down Arrow 67">
            <a:extLst>
              <a:ext uri="{FF2B5EF4-FFF2-40B4-BE49-F238E27FC236}">
                <a16:creationId xmlns:a16="http://schemas.microsoft.com/office/drawing/2014/main" id="{DFA94B9A-2FFE-4490-919A-F5D58BDCBB38}"/>
              </a:ext>
            </a:extLst>
          </p:cNvPr>
          <p:cNvSpPr/>
          <p:nvPr/>
        </p:nvSpPr>
        <p:spPr>
          <a:xfrm>
            <a:off x="9030737" y="3602479"/>
            <a:ext cx="421543" cy="2617568"/>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owchart: Preparation 5">
            <a:extLst>
              <a:ext uri="{FF2B5EF4-FFF2-40B4-BE49-F238E27FC236}">
                <a16:creationId xmlns:a16="http://schemas.microsoft.com/office/drawing/2014/main" id="{D6ED2BE0-B348-4336-858E-FBC744ABB955}"/>
              </a:ext>
            </a:extLst>
          </p:cNvPr>
          <p:cNvSpPr/>
          <p:nvPr/>
        </p:nvSpPr>
        <p:spPr>
          <a:xfrm rot="20421027">
            <a:off x="943961" y="841001"/>
            <a:ext cx="525497" cy="248232"/>
          </a:xfrm>
          <a:prstGeom prst="flowChartPreparation">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draft</a:t>
            </a:r>
          </a:p>
        </p:txBody>
      </p:sp>
      <p:sp>
        <p:nvSpPr>
          <p:cNvPr id="43" name="Down Arrow 67">
            <a:extLst>
              <a:ext uri="{FF2B5EF4-FFF2-40B4-BE49-F238E27FC236}">
                <a16:creationId xmlns:a16="http://schemas.microsoft.com/office/drawing/2014/main" id="{B9F51C16-FFB4-407C-85A4-22FB7E3AC560}"/>
              </a:ext>
            </a:extLst>
          </p:cNvPr>
          <p:cNvSpPr/>
          <p:nvPr/>
        </p:nvSpPr>
        <p:spPr>
          <a:xfrm>
            <a:off x="10539155" y="3602479"/>
            <a:ext cx="421543" cy="2617568"/>
          </a:xfrm>
          <a:prstGeom prst="downArrow">
            <a:avLst/>
          </a:prstGeom>
          <a:solidFill>
            <a:schemeClr val="accent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A04ED067-347C-4CAA-A6FF-2CC4B5C3E822}"/>
              </a:ext>
            </a:extLst>
          </p:cNvPr>
          <p:cNvGrpSpPr/>
          <p:nvPr/>
        </p:nvGrpSpPr>
        <p:grpSpPr>
          <a:xfrm>
            <a:off x="1242052" y="2433327"/>
            <a:ext cx="9858339" cy="1340925"/>
            <a:chOff x="1242052" y="2542680"/>
            <a:chExt cx="9858339" cy="1231572"/>
          </a:xfrm>
        </p:grpSpPr>
        <p:sp>
          <p:nvSpPr>
            <p:cNvPr id="29" name="Rectangle 28">
              <a:extLst>
                <a:ext uri="{FF2B5EF4-FFF2-40B4-BE49-F238E27FC236}">
                  <a16:creationId xmlns:a16="http://schemas.microsoft.com/office/drawing/2014/main" id="{589FFB6A-1B84-4F57-9F23-6117B717798B}"/>
                </a:ext>
              </a:extLst>
            </p:cNvPr>
            <p:cNvSpPr/>
            <p:nvPr/>
          </p:nvSpPr>
          <p:spPr>
            <a:xfrm>
              <a:off x="1242052" y="2542682"/>
              <a:ext cx="1883081" cy="1231566"/>
            </a:xfrm>
            <a:prstGeom prst="rect">
              <a:avLst/>
            </a:prstGeom>
            <a:solidFill>
              <a:srgbClr val="FFFFFF">
                <a:lumMod val="50000"/>
              </a:srgbClr>
            </a:solidFill>
            <a:ln w="25400" cap="flat" cmpd="sng" algn="ctr">
              <a:noFill/>
              <a:prstDash val="solid"/>
            </a:ln>
            <a:effectLst/>
          </p:spPr>
          <p:txBody>
            <a:bodyPr numCol="1" rtlCol="0" anchor="ctr"/>
            <a:lstStyle/>
            <a:p>
              <a:pPr lvl="0" algn="ctr" defTabSz="456999">
                <a:defRPr/>
              </a:pPr>
              <a:r>
                <a:rPr kumimoji="0" lang="en-US" sz="1200" i="0" u="none" strike="noStrike" kern="0" cap="none" spc="0" normalizeH="0" baseline="0" noProof="0">
                  <a:ln>
                    <a:noFill/>
                  </a:ln>
                  <a:solidFill>
                    <a:prstClr val="white"/>
                  </a:solidFill>
                  <a:effectLst/>
                  <a:uLnTx/>
                  <a:uFillTx/>
                  <a:latin typeface="Calibri" panose="020F0502020204030204"/>
                  <a:ea typeface="+mn-ea"/>
                  <a:cs typeface="+mn-cs"/>
                </a:rPr>
                <a:t>#1 Improving Data Governance and integrating Data Management into our business for ensuring regulatory compliance and easy/timely access to data</a:t>
              </a:r>
            </a:p>
          </p:txBody>
        </p:sp>
        <p:sp>
          <p:nvSpPr>
            <p:cNvPr id="30" name="Rectangle 29">
              <a:extLst>
                <a:ext uri="{FF2B5EF4-FFF2-40B4-BE49-F238E27FC236}">
                  <a16:creationId xmlns:a16="http://schemas.microsoft.com/office/drawing/2014/main" id="{24D3E383-06C1-49C4-9ABD-8978EC7173CD}"/>
                </a:ext>
              </a:extLst>
            </p:cNvPr>
            <p:cNvSpPr/>
            <p:nvPr/>
          </p:nvSpPr>
          <p:spPr>
            <a:xfrm>
              <a:off x="3235868" y="2542680"/>
              <a:ext cx="1883080" cy="1231572"/>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2: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Integration of data requirements in one enterprise data model across current and future demands to better serve our clients</a:t>
              </a:r>
            </a:p>
          </p:txBody>
        </p:sp>
        <p:sp>
          <p:nvSpPr>
            <p:cNvPr id="31" name="Rectangle 30">
              <a:extLst>
                <a:ext uri="{FF2B5EF4-FFF2-40B4-BE49-F238E27FC236}">
                  <a16:creationId xmlns:a16="http://schemas.microsoft.com/office/drawing/2014/main" id="{64CA730A-072B-4418-81AC-8D9C9D277206}"/>
                </a:ext>
              </a:extLst>
            </p:cNvPr>
            <p:cNvSpPr/>
            <p:nvPr/>
          </p:nvSpPr>
          <p:spPr>
            <a:xfrm>
              <a:off x="5229683" y="2542682"/>
              <a:ext cx="1883080" cy="1231569"/>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3: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Global and consistent </a:t>
              </a:r>
              <a:r>
                <a:rPr lang="en-US" sz="1200" kern="0">
                  <a:solidFill>
                    <a:prstClr val="white"/>
                  </a:solidFill>
                  <a:latin typeface="Calibri" panose="020F0502020204030204"/>
                </a:rPr>
                <a:t>reporting</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 for operational management and using data to run the firm by underpinning all decision-making</a:t>
              </a:r>
            </a:p>
          </p:txBody>
        </p:sp>
        <p:sp>
          <p:nvSpPr>
            <p:cNvPr id="32" name="Rectangle 31">
              <a:extLst>
                <a:ext uri="{FF2B5EF4-FFF2-40B4-BE49-F238E27FC236}">
                  <a16:creationId xmlns:a16="http://schemas.microsoft.com/office/drawing/2014/main" id="{C787732E-4D85-4314-B9CD-8E069DB7DB26}"/>
                </a:ext>
              </a:extLst>
            </p:cNvPr>
            <p:cNvSpPr/>
            <p:nvPr/>
          </p:nvSpPr>
          <p:spPr>
            <a:xfrm>
              <a:off x="7223498" y="2542682"/>
              <a:ext cx="1883079" cy="1231568"/>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4: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Building a global way of working </a:t>
              </a:r>
              <a:r>
                <a:rPr lang="en-US" sz="1200" kern="0">
                  <a:solidFill>
                    <a:prstClr val="white"/>
                  </a:solidFill>
                  <a:latin typeface="Calibri" panose="020F0502020204030204"/>
                </a:rPr>
                <a:t>in</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 enabling the business to use analytics and data innovation techniques to improve  investment decisions and client experience</a:t>
              </a:r>
            </a:p>
          </p:txBody>
        </p:sp>
        <p:sp>
          <p:nvSpPr>
            <p:cNvPr id="33" name="Rectangle 32">
              <a:extLst>
                <a:ext uri="{FF2B5EF4-FFF2-40B4-BE49-F238E27FC236}">
                  <a16:creationId xmlns:a16="http://schemas.microsoft.com/office/drawing/2014/main" id="{383F8BD7-ADD4-45DB-92EC-7F4A6962DC66}"/>
                </a:ext>
              </a:extLst>
            </p:cNvPr>
            <p:cNvSpPr/>
            <p:nvPr/>
          </p:nvSpPr>
          <p:spPr>
            <a:xfrm>
              <a:off x="9217311" y="2542681"/>
              <a:ext cx="1883080" cy="1231565"/>
            </a:xfrm>
            <a:prstGeom prst="rect">
              <a:avLst/>
            </a:prstGeom>
            <a:solidFill>
              <a:srgbClr val="FFFFFF">
                <a:lumMod val="50000"/>
              </a:srgbClr>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Calibri" panose="020F0502020204030204"/>
                  <a:ea typeface="+mn-ea"/>
                  <a:cs typeface="+mn-cs"/>
                </a:rPr>
                <a:t>#5 </a:t>
              </a:r>
              <a:r>
                <a:rPr kumimoji="0" lang="en-US" sz="1200" b="0" i="0" u="none" strike="noStrike" kern="0" cap="none" spc="0" normalizeH="0" baseline="0" noProof="0">
                  <a:ln>
                    <a:noFill/>
                  </a:ln>
                  <a:solidFill>
                    <a:prstClr val="white"/>
                  </a:solidFill>
                  <a:effectLst/>
                  <a:uLnTx/>
                  <a:uFillTx/>
                  <a:latin typeface="Calibri" panose="020F0502020204030204"/>
                  <a:ea typeface="+mn-ea"/>
                  <a:cs typeface="+mn-cs"/>
                </a:rPr>
                <a:t>AAM as user of data-driven technologies to become the preferred Responsible Investment provider</a:t>
              </a:r>
            </a:p>
          </p:txBody>
        </p:sp>
      </p:grpSp>
      <p:sp>
        <p:nvSpPr>
          <p:cNvPr id="3" name="TextBox 2">
            <a:extLst>
              <a:ext uri="{FF2B5EF4-FFF2-40B4-BE49-F238E27FC236}">
                <a16:creationId xmlns:a16="http://schemas.microsoft.com/office/drawing/2014/main" id="{909E697D-4093-447F-BA2E-4788AD5DD05D}"/>
              </a:ext>
            </a:extLst>
          </p:cNvPr>
          <p:cNvSpPr txBox="1"/>
          <p:nvPr/>
        </p:nvSpPr>
        <p:spPr>
          <a:xfrm rot="5400000">
            <a:off x="10883418" y="2958473"/>
            <a:ext cx="873701" cy="369332"/>
          </a:xfrm>
          <a:prstGeom prst="rect">
            <a:avLst/>
          </a:prstGeom>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Strategic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 objectives</a:t>
            </a:r>
          </a:p>
        </p:txBody>
      </p:sp>
      <p:grpSp>
        <p:nvGrpSpPr>
          <p:cNvPr id="4" name="Group 3">
            <a:extLst>
              <a:ext uri="{FF2B5EF4-FFF2-40B4-BE49-F238E27FC236}">
                <a16:creationId xmlns:a16="http://schemas.microsoft.com/office/drawing/2014/main" id="{36E33D07-0027-453D-86B9-A4306C912C46}"/>
              </a:ext>
            </a:extLst>
          </p:cNvPr>
          <p:cNvGrpSpPr/>
          <p:nvPr/>
        </p:nvGrpSpPr>
        <p:grpSpPr>
          <a:xfrm>
            <a:off x="1242041" y="3918398"/>
            <a:ext cx="9858350" cy="2124000"/>
            <a:chOff x="1399993" y="3963907"/>
            <a:chExt cx="9790401" cy="349596"/>
          </a:xfrm>
        </p:grpSpPr>
        <p:grpSp>
          <p:nvGrpSpPr>
            <p:cNvPr id="34" name="Group 33">
              <a:extLst>
                <a:ext uri="{FF2B5EF4-FFF2-40B4-BE49-F238E27FC236}">
                  <a16:creationId xmlns:a16="http://schemas.microsoft.com/office/drawing/2014/main" id="{3CDB58D9-24C3-45F9-9A38-EAB2BCB4109B}"/>
                </a:ext>
              </a:extLst>
            </p:cNvPr>
            <p:cNvGrpSpPr/>
            <p:nvPr/>
          </p:nvGrpSpPr>
          <p:grpSpPr>
            <a:xfrm>
              <a:off x="1399993" y="3963907"/>
              <a:ext cx="6966898" cy="349596"/>
              <a:chOff x="587372" y="3938694"/>
              <a:chExt cx="4853572" cy="511425"/>
            </a:xfrm>
            <a:solidFill>
              <a:schemeClr val="accent5"/>
            </a:solidFill>
          </p:grpSpPr>
          <p:sp>
            <p:nvSpPr>
              <p:cNvPr id="35" name="Rectangle 34">
                <a:extLst>
                  <a:ext uri="{FF2B5EF4-FFF2-40B4-BE49-F238E27FC236}">
                    <a16:creationId xmlns:a16="http://schemas.microsoft.com/office/drawing/2014/main" id="{36DED566-0412-437D-AAB2-C4090D57ED60}"/>
                  </a:ext>
                </a:extLst>
              </p:cNvPr>
              <p:cNvSpPr/>
              <p:nvPr/>
            </p:nvSpPr>
            <p:spPr>
              <a:xfrm>
                <a:off x="58737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prstClr val="white"/>
                    </a:solidFill>
                    <a:effectLst/>
                    <a:uLnTx/>
                    <a:uFillTx/>
                    <a:latin typeface="Calibri" panose="020F0502020204030204"/>
                    <a:ea typeface="+mn-ea"/>
                    <a:cs typeface="+mn-cs"/>
                  </a:rPr>
                  <a:t>Data is at the heart of our </a:t>
                </a:r>
                <a:r>
                  <a:rPr lang="en-US" sz="1000" kern="0">
                    <a:solidFill>
                      <a:prstClr val="white"/>
                    </a:solidFill>
                    <a:latin typeface="Calibri" panose="020F0502020204030204"/>
                  </a:rPr>
                  <a:t>business</a:t>
                </a:r>
                <a:r>
                  <a:rPr kumimoji="0" lang="en-US" sz="1000" i="0" u="none" strike="noStrike" kern="0" cap="none" spc="0" normalizeH="0" baseline="0" noProof="0">
                    <a:ln>
                      <a:noFill/>
                    </a:ln>
                    <a:solidFill>
                      <a:prstClr val="white"/>
                    </a:solidFill>
                    <a:effectLst/>
                    <a:uLnTx/>
                    <a:uFillTx/>
                    <a:latin typeface="Calibri" panose="020F0502020204030204"/>
                    <a:ea typeface="+mn-ea"/>
                    <a:cs typeface="+mn-cs"/>
                  </a:rPr>
                  <a:t> and we invest in the organizational and technological enablers to increase our </a:t>
                </a:r>
                <a:r>
                  <a:rPr kumimoji="0" lang="en-US" sz="1000" i="0" u="none" strike="noStrike" kern="0" cap="none" spc="0" normalizeH="0" baseline="0" noProof="0" err="1">
                    <a:ln>
                      <a:noFill/>
                    </a:ln>
                    <a:solidFill>
                      <a:prstClr val="white"/>
                    </a:solidFill>
                    <a:effectLst/>
                    <a:uLnTx/>
                    <a:uFillTx/>
                    <a:latin typeface="Calibri" panose="020F0502020204030204"/>
                    <a:ea typeface="+mn-ea"/>
                    <a:cs typeface="+mn-cs"/>
                  </a:rPr>
                  <a:t>AuM</a:t>
                </a:r>
                <a:r>
                  <a:rPr kumimoji="0" lang="en-US" sz="1000" i="0" u="none" strike="noStrike" kern="0" cap="none" spc="0" normalizeH="0" baseline="0" noProof="0">
                    <a:ln>
                      <a:noFill/>
                    </a:ln>
                    <a:solidFill>
                      <a:prstClr val="white"/>
                    </a:solidFill>
                    <a:effectLst/>
                    <a:uLnTx/>
                    <a:uFillTx/>
                    <a:latin typeface="Calibri" panose="020F0502020204030204"/>
                    <a:ea typeface="+mn-ea"/>
                    <a:cs typeface="+mn-cs"/>
                  </a:rPr>
                  <a:t> and improve operational excellence </a:t>
                </a:r>
              </a:p>
            </p:txBody>
          </p:sp>
          <p:sp>
            <p:nvSpPr>
              <p:cNvPr id="36" name="Rectangle 35">
                <a:extLst>
                  <a:ext uri="{FF2B5EF4-FFF2-40B4-BE49-F238E27FC236}">
                    <a16:creationId xmlns:a16="http://schemas.microsoft.com/office/drawing/2014/main" id="{0D1F735D-D641-4573-B834-7E529CCDAEDB}"/>
                  </a:ext>
                </a:extLst>
              </p:cNvPr>
              <p:cNvSpPr/>
              <p:nvPr/>
            </p:nvSpPr>
            <p:spPr>
              <a:xfrm>
                <a:off x="1569737"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prstClr val="white"/>
                    </a:solidFill>
                    <a:effectLst/>
                    <a:uLnTx/>
                    <a:uFillTx/>
                    <a:latin typeface="Calibri" panose="020F0502020204030204"/>
                    <a:ea typeface="+mn-ea"/>
                    <a:cs typeface="+mn-cs"/>
                  </a:rPr>
                  <a:t>We are a data enterprise with one global, integrated data model providing a unified information view to serve our clients better in everything we do</a:t>
                </a:r>
              </a:p>
            </p:txBody>
          </p:sp>
          <p:sp>
            <p:nvSpPr>
              <p:cNvPr id="37" name="Rectangle 36">
                <a:extLst>
                  <a:ext uri="{FF2B5EF4-FFF2-40B4-BE49-F238E27FC236}">
                    <a16:creationId xmlns:a16="http://schemas.microsoft.com/office/drawing/2014/main" id="{2443442B-A757-44CC-9578-6BD20777C6A7}"/>
                  </a:ext>
                </a:extLst>
              </p:cNvPr>
              <p:cNvSpPr/>
              <p:nvPr/>
            </p:nvSpPr>
            <p:spPr>
              <a:xfrm>
                <a:off x="2552102"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prstClr val="white"/>
                    </a:solidFill>
                    <a:effectLst/>
                    <a:uLnTx/>
                    <a:uFillTx/>
                    <a:latin typeface="Calibri" panose="020F0502020204030204"/>
                    <a:ea typeface="+mn-ea"/>
                    <a:cs typeface="+mn-cs"/>
                  </a:rPr>
                  <a:t>Our global data management framework provides data quality, privacy and compliance by design and ensures data is always shared in a secured manner</a:t>
                </a:r>
              </a:p>
            </p:txBody>
          </p:sp>
          <p:sp>
            <p:nvSpPr>
              <p:cNvPr id="38" name="Rectangle 37">
                <a:extLst>
                  <a:ext uri="{FF2B5EF4-FFF2-40B4-BE49-F238E27FC236}">
                    <a16:creationId xmlns:a16="http://schemas.microsoft.com/office/drawing/2014/main" id="{38EC92A3-503A-4BC3-B512-EB9664793EDC}"/>
                  </a:ext>
                </a:extLst>
              </p:cNvPr>
              <p:cNvSpPr/>
              <p:nvPr/>
            </p:nvSpPr>
            <p:spPr>
              <a:xfrm>
                <a:off x="3534467"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prstClr val="white"/>
                    </a:solidFill>
                    <a:effectLst/>
                    <a:uLnTx/>
                    <a:uFillTx/>
                    <a:latin typeface="Calibri" panose="020F0502020204030204"/>
                    <a:ea typeface="+mn-ea"/>
                    <a:cs typeface="+mn-cs"/>
                  </a:rPr>
                  <a:t>Data ownership is a business responsibility and the data owner is always accountable for data quality</a:t>
                </a:r>
              </a:p>
            </p:txBody>
          </p:sp>
          <p:sp>
            <p:nvSpPr>
              <p:cNvPr id="39" name="Rectangle 38">
                <a:extLst>
                  <a:ext uri="{FF2B5EF4-FFF2-40B4-BE49-F238E27FC236}">
                    <a16:creationId xmlns:a16="http://schemas.microsoft.com/office/drawing/2014/main" id="{35BB905B-9707-4E2D-837D-C93DE4ECBF1D}"/>
                  </a:ext>
                </a:extLst>
              </p:cNvPr>
              <p:cNvSpPr/>
              <p:nvPr/>
            </p:nvSpPr>
            <p:spPr>
              <a:xfrm>
                <a:off x="4516831" y="3938694"/>
                <a:ext cx="924113" cy="511425"/>
              </a:xfrm>
              <a:prstGeom prst="rect">
                <a:avLst/>
              </a:prstGeom>
              <a:grp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prstClr val="white"/>
                    </a:solidFill>
                    <a:effectLst/>
                    <a:uLnTx/>
                    <a:uFillTx/>
                    <a:latin typeface="Calibri" panose="020F0502020204030204"/>
                    <a:ea typeface="+mn-ea"/>
                    <a:cs typeface="+mn-cs"/>
                  </a:rPr>
                  <a:t>We simplify and standardize our activities by automating data processing (calculate it once, use it by many) where possible in order to enhance first-time right (straight-through-processing) and therefore creating cost efficiencies</a:t>
                </a:r>
              </a:p>
            </p:txBody>
          </p:sp>
        </p:grpSp>
        <p:sp>
          <p:nvSpPr>
            <p:cNvPr id="28" name="Rectangle 27">
              <a:extLst>
                <a:ext uri="{FF2B5EF4-FFF2-40B4-BE49-F238E27FC236}">
                  <a16:creationId xmlns:a16="http://schemas.microsoft.com/office/drawing/2014/main" id="{7BFE86CE-803C-4D38-B150-2EA00AE02710}"/>
                </a:ext>
              </a:extLst>
            </p:cNvPr>
            <p:cNvSpPr/>
            <p:nvPr/>
          </p:nvSpPr>
          <p:spPr>
            <a:xfrm>
              <a:off x="8455465" y="3963907"/>
              <a:ext cx="1326488" cy="349596"/>
            </a:xfrm>
            <a:prstGeom prst="rect">
              <a:avLst/>
            </a:prstGeom>
            <a:solidFill>
              <a:schemeClr val="accent5"/>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prstClr val="white"/>
                  </a:solidFill>
                  <a:effectLst/>
                  <a:uLnTx/>
                  <a:uFillTx/>
                  <a:latin typeface="Calibri" panose="020F0502020204030204"/>
                  <a:ea typeface="+mn-ea"/>
                  <a:cs typeface="+mn-cs"/>
                </a:rPr>
                <a:t>We facilitate and enable business driven analytics initiatives with a global way of working and architectural standards</a:t>
              </a:r>
            </a:p>
          </p:txBody>
        </p:sp>
        <p:sp>
          <p:nvSpPr>
            <p:cNvPr id="44" name="Rectangle 43">
              <a:extLst>
                <a:ext uri="{FF2B5EF4-FFF2-40B4-BE49-F238E27FC236}">
                  <a16:creationId xmlns:a16="http://schemas.microsoft.com/office/drawing/2014/main" id="{D09B02EA-DDE9-403C-804A-F109603731BC}"/>
                </a:ext>
              </a:extLst>
            </p:cNvPr>
            <p:cNvSpPr/>
            <p:nvPr/>
          </p:nvSpPr>
          <p:spPr>
            <a:xfrm>
              <a:off x="9863906" y="3963907"/>
              <a:ext cx="1326488" cy="349596"/>
            </a:xfrm>
            <a:prstGeom prst="rect">
              <a:avLst/>
            </a:prstGeom>
            <a:solidFill>
              <a:schemeClr val="accent5"/>
            </a:solidFill>
            <a:ln w="25400" cap="flat" cmpd="sng" algn="ctr">
              <a:noFill/>
              <a:prstDash val="solid"/>
            </a:ln>
            <a:effectLst/>
          </p:spPr>
          <p:txBody>
            <a:bodyPr numCol="1" rtlCol="0" anchor="ctr"/>
            <a:lstStyle/>
            <a:p>
              <a:pPr marL="0" marR="0" lvl="0" indent="0" algn="ctr" defTabSz="456999" rtl="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prstClr val="white"/>
                  </a:solidFill>
                  <a:effectLst/>
                  <a:uLnTx/>
                  <a:uFillTx/>
                  <a:latin typeface="Calibri" panose="020F0502020204030204"/>
                  <a:ea typeface="+mn-ea"/>
                  <a:cs typeface="+mn-cs"/>
                </a:rPr>
                <a:t>We apply a holistic approach to utilizing trusted ESG data &amp; analytics to engage with our prospects and clients to enable them to make responsible investment decisions</a:t>
              </a:r>
            </a:p>
          </p:txBody>
        </p:sp>
      </p:grpSp>
      <p:sp>
        <p:nvSpPr>
          <p:cNvPr id="51" name="Flowchart: Preparation 50">
            <a:extLst>
              <a:ext uri="{FF2B5EF4-FFF2-40B4-BE49-F238E27FC236}">
                <a16:creationId xmlns:a16="http://schemas.microsoft.com/office/drawing/2014/main" id="{81DC673E-87B0-4CE6-A779-5BE44D554C76}"/>
              </a:ext>
            </a:extLst>
          </p:cNvPr>
          <p:cNvSpPr/>
          <p:nvPr/>
        </p:nvSpPr>
        <p:spPr>
          <a:xfrm rot="20421027">
            <a:off x="943961" y="2442485"/>
            <a:ext cx="525497" cy="248232"/>
          </a:xfrm>
          <a:prstGeom prst="flowChartPreparation">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draft</a:t>
            </a:r>
          </a:p>
        </p:txBody>
      </p:sp>
      <p:sp>
        <p:nvSpPr>
          <p:cNvPr id="52" name="Flowchart: Preparation 51">
            <a:extLst>
              <a:ext uri="{FF2B5EF4-FFF2-40B4-BE49-F238E27FC236}">
                <a16:creationId xmlns:a16="http://schemas.microsoft.com/office/drawing/2014/main" id="{35D25773-71AE-4E82-AB85-2E19B96084C5}"/>
              </a:ext>
            </a:extLst>
          </p:cNvPr>
          <p:cNvSpPr/>
          <p:nvPr/>
        </p:nvSpPr>
        <p:spPr>
          <a:xfrm rot="20421027">
            <a:off x="943961" y="3793581"/>
            <a:ext cx="525497" cy="248232"/>
          </a:xfrm>
          <a:prstGeom prst="flowChartPreparation">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draft</a:t>
            </a:r>
          </a:p>
        </p:txBody>
      </p:sp>
      <p:sp>
        <p:nvSpPr>
          <p:cNvPr id="53" name="Flowchart: Preparation 52">
            <a:extLst>
              <a:ext uri="{FF2B5EF4-FFF2-40B4-BE49-F238E27FC236}">
                <a16:creationId xmlns:a16="http://schemas.microsoft.com/office/drawing/2014/main" id="{F79BEDF5-90B5-4313-9F9C-631CCA9B0258}"/>
              </a:ext>
            </a:extLst>
          </p:cNvPr>
          <p:cNvSpPr/>
          <p:nvPr/>
        </p:nvSpPr>
        <p:spPr>
          <a:xfrm rot="20421027">
            <a:off x="943959" y="6128180"/>
            <a:ext cx="525497" cy="248232"/>
          </a:xfrm>
          <a:prstGeom prst="flowChartPreparation">
            <a:avLst/>
          </a:prstGeom>
          <a:solidFill>
            <a:schemeClr val="accent4"/>
          </a:solidFill>
          <a:ln>
            <a:noFill/>
          </a:ln>
        </p:spPr>
        <p:style>
          <a:lnRef idx="2">
            <a:schemeClr val="accent6">
              <a:shade val="50000"/>
            </a:schemeClr>
          </a:lnRef>
          <a:fillRef idx="1">
            <a:schemeClr val="accent6"/>
          </a:fillRef>
          <a:effectRef idx="0">
            <a:schemeClr val="accent6"/>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white"/>
                </a:solidFill>
                <a:effectLst/>
                <a:uLnTx/>
                <a:uFillTx/>
                <a:latin typeface="Calibri" panose="020F0502020204030204"/>
                <a:ea typeface="+mn-ea"/>
                <a:cs typeface="+mn-cs"/>
              </a:rPr>
              <a:t>WIP</a:t>
            </a:r>
          </a:p>
        </p:txBody>
      </p:sp>
      <p:pic>
        <p:nvPicPr>
          <p:cNvPr id="40" name="Graphic 39" descr="Muscular arm">
            <a:extLst>
              <a:ext uri="{FF2B5EF4-FFF2-40B4-BE49-F238E27FC236}">
                <a16:creationId xmlns:a16="http://schemas.microsoft.com/office/drawing/2014/main" id="{53AE0F12-213A-4DE2-8246-660AC669521C}"/>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66466" y="5846520"/>
            <a:ext cx="197234" cy="197234"/>
          </a:xfrm>
          <a:prstGeom prst="rect">
            <a:avLst/>
          </a:prstGeom>
        </p:spPr>
      </p:pic>
      <p:pic>
        <p:nvPicPr>
          <p:cNvPr id="41" name="Graphic 40" descr="Puzzle pieces">
            <a:extLst>
              <a:ext uri="{FF2B5EF4-FFF2-40B4-BE49-F238E27FC236}">
                <a16:creationId xmlns:a16="http://schemas.microsoft.com/office/drawing/2014/main" id="{1AE401C6-BA71-4301-93A1-B5B017C89D1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16449" y="5848298"/>
            <a:ext cx="214500" cy="214500"/>
          </a:xfrm>
          <a:prstGeom prst="rect">
            <a:avLst/>
          </a:prstGeom>
        </p:spPr>
      </p:pic>
      <p:pic>
        <p:nvPicPr>
          <p:cNvPr id="42" name="Graphic 41" descr="Gears">
            <a:extLst>
              <a:ext uri="{FF2B5EF4-FFF2-40B4-BE49-F238E27FC236}">
                <a16:creationId xmlns:a16="http://schemas.microsoft.com/office/drawing/2014/main" id="{BB164DE3-63DC-456F-9945-43EBCDBDA5A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247525" y="5864119"/>
            <a:ext cx="193346" cy="193346"/>
          </a:xfrm>
          <a:prstGeom prst="rect">
            <a:avLst/>
          </a:prstGeom>
        </p:spPr>
      </p:pic>
      <p:pic>
        <p:nvPicPr>
          <p:cNvPr id="45" name="Graphic 44" descr="Professor">
            <a:extLst>
              <a:ext uri="{FF2B5EF4-FFF2-40B4-BE49-F238E27FC236}">
                <a16:creationId xmlns:a16="http://schemas.microsoft.com/office/drawing/2014/main" id="{91A4E4EB-0E14-4C39-9D89-110BB4D3AF4A}"/>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640975" y="5846378"/>
            <a:ext cx="208366" cy="208366"/>
          </a:xfrm>
          <a:prstGeom prst="rect">
            <a:avLst/>
          </a:prstGeom>
        </p:spPr>
      </p:pic>
      <p:pic>
        <p:nvPicPr>
          <p:cNvPr id="46" name="Graphic 45" descr="Forest scene">
            <a:extLst>
              <a:ext uri="{FF2B5EF4-FFF2-40B4-BE49-F238E27FC236}">
                <a16:creationId xmlns:a16="http://schemas.microsoft.com/office/drawing/2014/main" id="{FF6FB25C-6E2F-4BF5-B556-723CB51FB98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901931" y="5842420"/>
            <a:ext cx="190556" cy="190556"/>
          </a:xfrm>
          <a:prstGeom prst="rect">
            <a:avLst/>
          </a:prstGeom>
        </p:spPr>
      </p:pic>
      <p:pic>
        <p:nvPicPr>
          <p:cNvPr id="48" name="Graphic 47" descr="Boardroom">
            <a:extLst>
              <a:ext uri="{FF2B5EF4-FFF2-40B4-BE49-F238E27FC236}">
                <a16:creationId xmlns:a16="http://schemas.microsoft.com/office/drawing/2014/main" id="{C730C0FD-DD4C-4935-9F23-5201414D452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457149" y="5827872"/>
            <a:ext cx="226097" cy="241808"/>
          </a:xfrm>
          <a:prstGeom prst="rect">
            <a:avLst/>
          </a:prstGeom>
        </p:spPr>
      </p:pic>
      <p:pic>
        <p:nvPicPr>
          <p:cNvPr id="49" name="Graphic 48" descr="Tools">
            <a:extLst>
              <a:ext uri="{FF2B5EF4-FFF2-40B4-BE49-F238E27FC236}">
                <a16:creationId xmlns:a16="http://schemas.microsoft.com/office/drawing/2014/main" id="{A48B17F2-E45A-4C9F-B4F5-DFDA11712F28}"/>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070968" y="5876693"/>
            <a:ext cx="171353" cy="170489"/>
          </a:xfrm>
          <a:prstGeom prst="rect">
            <a:avLst/>
          </a:prstGeom>
        </p:spPr>
      </p:pic>
      <p:sp>
        <p:nvSpPr>
          <p:cNvPr id="50" name="TextBox 49">
            <a:extLst>
              <a:ext uri="{FF2B5EF4-FFF2-40B4-BE49-F238E27FC236}">
                <a16:creationId xmlns:a16="http://schemas.microsoft.com/office/drawing/2014/main" id="{D1CA6AC4-0947-47A8-A421-5D4CC82F1212}"/>
              </a:ext>
            </a:extLst>
          </p:cNvPr>
          <p:cNvSpPr txBox="1"/>
          <p:nvPr/>
        </p:nvSpPr>
        <p:spPr>
          <a:xfrm rot="5400000">
            <a:off x="10620029" y="4850045"/>
            <a:ext cx="1407758" cy="184666"/>
          </a:xfrm>
          <a:prstGeom prst="rect">
            <a:avLst/>
          </a:prstGeom>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Data design principles</a:t>
            </a:r>
          </a:p>
        </p:txBody>
      </p:sp>
    </p:spTree>
    <p:extLst>
      <p:ext uri="{BB962C8B-B14F-4D97-AF65-F5344CB8AC3E}">
        <p14:creationId xmlns:p14="http://schemas.microsoft.com/office/powerpoint/2010/main" val="20211222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B8CA2DB3-7294-4BD4-8FA1-50315122608D}"/>
              </a:ext>
            </a:extLst>
          </p:cNvPr>
          <p:cNvSpPr>
            <a:spLocks noGrp="1"/>
          </p:cNvSpPr>
          <p:nvPr>
            <p:ph type="pic" sz="quarter" idx="12"/>
          </p:nvPr>
        </p:nvSpPr>
        <p:spPr/>
      </p:sp>
      <p:sp>
        <p:nvSpPr>
          <p:cNvPr id="3" name="Title 2">
            <a:extLst>
              <a:ext uri="{FF2B5EF4-FFF2-40B4-BE49-F238E27FC236}">
                <a16:creationId xmlns:a16="http://schemas.microsoft.com/office/drawing/2014/main" id="{E07B0696-2898-451B-B718-AF292320B362}"/>
              </a:ext>
            </a:extLst>
          </p:cNvPr>
          <p:cNvSpPr>
            <a:spLocks noGrp="1"/>
          </p:cNvSpPr>
          <p:nvPr>
            <p:ph type="ctrTitle"/>
          </p:nvPr>
        </p:nvSpPr>
        <p:spPr/>
        <p:txBody>
          <a:bodyPr/>
          <a:lstStyle/>
          <a:p>
            <a:r>
              <a:rPr lang="en-US"/>
              <a:t>Strategic Data Objectives</a:t>
            </a:r>
            <a:endParaRPr lang="nl-NL"/>
          </a:p>
        </p:txBody>
      </p:sp>
      <p:sp>
        <p:nvSpPr>
          <p:cNvPr id="4" name="Text Placeholder 3">
            <a:extLst>
              <a:ext uri="{FF2B5EF4-FFF2-40B4-BE49-F238E27FC236}">
                <a16:creationId xmlns:a16="http://schemas.microsoft.com/office/drawing/2014/main" id="{4465BC45-AA7C-4490-BFD0-C33888A744F3}"/>
              </a:ext>
            </a:extLst>
          </p:cNvPr>
          <p:cNvSpPr>
            <a:spLocks noGrp="1"/>
          </p:cNvSpPr>
          <p:nvPr>
            <p:ph type="body" sz="quarter" idx="13"/>
          </p:nvPr>
        </p:nvSpPr>
        <p:spPr/>
        <p:txBody>
          <a:bodyPr/>
          <a:lstStyle/>
          <a:p>
            <a:endParaRPr lang="nl-NL"/>
          </a:p>
        </p:txBody>
      </p:sp>
      <p:sp>
        <p:nvSpPr>
          <p:cNvPr id="5" name="Rectangle 4">
            <a:extLst>
              <a:ext uri="{FF2B5EF4-FFF2-40B4-BE49-F238E27FC236}">
                <a16:creationId xmlns:a16="http://schemas.microsoft.com/office/drawing/2014/main" id="{6480C948-D17D-4E3D-B4EF-CAD52D12190D}"/>
              </a:ext>
            </a:extLst>
          </p:cNvPr>
          <p:cNvSpPr/>
          <p:nvPr/>
        </p:nvSpPr>
        <p:spPr>
          <a:xfrm rot="16200000">
            <a:off x="11168954" y="-225562"/>
            <a:ext cx="552969" cy="1183415"/>
          </a:xfrm>
          <a:prstGeom prst="rect">
            <a:avLst/>
          </a:prstGeom>
          <a:noFill/>
          <a:ln>
            <a:solidFill>
              <a:schemeClr val="accent1"/>
            </a:solid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3C00815F-F61A-4B17-BD07-B98367135955}"/>
              </a:ext>
            </a:extLst>
          </p:cNvPr>
          <p:cNvPicPr>
            <a:picLocks noChangeAspect="1"/>
          </p:cNvPicPr>
          <p:nvPr/>
        </p:nvPicPr>
        <p:blipFill>
          <a:blip r:embed="rId2"/>
          <a:stretch>
            <a:fillRect/>
          </a:stretch>
        </p:blipFill>
        <p:spPr>
          <a:xfrm>
            <a:off x="10853731" y="89663"/>
            <a:ext cx="1183415" cy="552971"/>
          </a:xfrm>
          <a:prstGeom prst="rect">
            <a:avLst/>
          </a:prstGeom>
        </p:spPr>
      </p:pic>
    </p:spTree>
    <p:extLst>
      <p:ext uri="{BB962C8B-B14F-4D97-AF65-F5344CB8AC3E}">
        <p14:creationId xmlns:p14="http://schemas.microsoft.com/office/powerpoint/2010/main" val="1717729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tcS54WGpkWdm5WvaJ2e_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Wezfyy6oEScuJRE9WeC6w"/>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xlAUQwgAUu3EOS_pvbTD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mdbO8MctESziKdkXcO48w"/>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ZXOpXqtikulwYMJmtd_AA"/>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Fx3GESkf0OSMUL4vyHphw"/>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Kwr.UvwMkOrzlbVRS3to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cwzgpM8YUSFHt8H5i87YA"/>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GkJ3KdKUSbEl6HHaU0R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nAeIbTLH0KVh8tknF4dtQ"/>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gH50YZfRUGQyYCNFg2JE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C76YrZ8CrtvLmsSOenwsYw"/>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Ac0ZQlG9LSzbBZ0wJLRhQ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IRG5mirDShCiKxOZiYz72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RG5mirDShCiKxOZiYz7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J4IPE8.UUWdCt8dRLdtB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RG5mirDShCiKxOZiYz72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RG5mirDShCiKxOZiYz7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3Pl_GXTyEC4EnCI4BDl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J4IPE8.UUWdCt8dRLdtB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3Pl_GXTyEC4EnCI4BDld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FAKD9_tFE6ThtMJu1cc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5EIkRbp1UmRahcLYt7R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QjiJUACEmPA2bX9_Rr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nUBFqLVbU.IKyMp1Ck2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w0N74ivSUi1oYoAWLAm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2.Pemai7KkqGjOxHqMzQ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cR.WDQSxUqAHXADUpqf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d7qYw2g0SJFYZkGrfz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rB9xdCUOEySjzlKmiAHr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awNWyboLEGcRgu8zeVC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RiuSdl6p02WqxbrXCCu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1qiucrYXUSl9A1ih9Y9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4KYNFEhEO2AbR8zdyM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Lgb.faCJkef4lr9yX4v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xzJfRm7UqF5H1FHMzv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NAME" val="ACET"/>
</p:tagLst>
</file>

<file path=ppt/tags/tag66.xml><?xml version="1.0" encoding="utf-8"?>
<p:tagLst xmlns:a="http://schemas.openxmlformats.org/drawingml/2006/main" xmlns:r="http://schemas.openxmlformats.org/officeDocument/2006/relationships" xmlns:p="http://schemas.openxmlformats.org/presentationml/2006/main">
  <p:tag name="NAME" val="StrongCallout"/>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37zeTvJB0KFcmYBXZGtNw"/>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ANGLE" val="5"/>
</p:tagLst>
</file>

<file path=ppt/tags/tag73.xml><?xml version="1.0" encoding="utf-8"?>
<p:tagLst xmlns:a="http://schemas.openxmlformats.org/drawingml/2006/main" xmlns:r="http://schemas.openxmlformats.org/officeDocument/2006/relationships" xmlns:p="http://schemas.openxmlformats.org/presentationml/2006/main">
  <p:tag name="ANGLE" val="5"/>
</p:tagLst>
</file>

<file path=ppt/tags/tag74.xml><?xml version="1.0" encoding="utf-8"?>
<p:tagLst xmlns:a="http://schemas.openxmlformats.org/drawingml/2006/main" xmlns:r="http://schemas.openxmlformats.org/officeDocument/2006/relationships" xmlns:p="http://schemas.openxmlformats.org/presentationml/2006/main">
  <p:tag name="ANGLE" val="4"/>
</p:tagLst>
</file>

<file path=ppt/tags/tag75.xml><?xml version="1.0" encoding="utf-8"?>
<p:tagLst xmlns:a="http://schemas.openxmlformats.org/drawingml/2006/main" xmlns:r="http://schemas.openxmlformats.org/officeDocument/2006/relationships" xmlns:p="http://schemas.openxmlformats.org/presentationml/2006/main">
  <p:tag name="ANGLE" val="4"/>
</p:tagLst>
</file>

<file path=ppt/tags/tag76.xml><?xml version="1.0" encoding="utf-8"?>
<p:tagLst xmlns:a="http://schemas.openxmlformats.org/drawingml/2006/main" xmlns:r="http://schemas.openxmlformats.org/officeDocument/2006/relationships" xmlns:p="http://schemas.openxmlformats.org/presentationml/2006/main">
  <p:tag name="ANGLE" val="3"/>
</p:tagLst>
</file>

<file path=ppt/tags/tag77.xml><?xml version="1.0" encoding="utf-8"?>
<p:tagLst xmlns:a="http://schemas.openxmlformats.org/drawingml/2006/main" xmlns:r="http://schemas.openxmlformats.org/officeDocument/2006/relationships" xmlns:p="http://schemas.openxmlformats.org/presentationml/2006/main">
  <p:tag name="ANGLE" val="3"/>
</p:tagLst>
</file>

<file path=ppt/tags/tag78.xml><?xml version="1.0" encoding="utf-8"?>
<p:tagLst xmlns:a="http://schemas.openxmlformats.org/drawingml/2006/main" xmlns:r="http://schemas.openxmlformats.org/officeDocument/2006/relationships" xmlns:p="http://schemas.openxmlformats.org/presentationml/2006/main">
  <p:tag name="ANGLE" val="2"/>
</p:tagLst>
</file>

<file path=ppt/tags/tag79.xml><?xml version="1.0" encoding="utf-8"?>
<p:tagLst xmlns:a="http://schemas.openxmlformats.org/drawingml/2006/main" xmlns:r="http://schemas.openxmlformats.org/officeDocument/2006/relationships" xmlns:p="http://schemas.openxmlformats.org/presentationml/2006/main">
  <p:tag name="ANGLE" val="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CtlHZC4tkOfVOUKdn0Kcw"/>
</p:tagLst>
</file>

<file path=ppt/tags/tag80.xml><?xml version="1.0" encoding="utf-8"?>
<p:tagLst xmlns:a="http://schemas.openxmlformats.org/drawingml/2006/main" xmlns:r="http://schemas.openxmlformats.org/officeDocument/2006/relationships" xmlns:p="http://schemas.openxmlformats.org/presentationml/2006/main">
  <p:tag name="ANGLE" val="1"/>
</p:tagLst>
</file>

<file path=ppt/tags/tag81.xml><?xml version="1.0" encoding="utf-8"?>
<p:tagLst xmlns:a="http://schemas.openxmlformats.org/drawingml/2006/main" xmlns:r="http://schemas.openxmlformats.org/officeDocument/2006/relationships" xmlns:p="http://schemas.openxmlformats.org/presentationml/2006/main">
  <p:tag name="ANGLE"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5.xml><?xml version="1.0" encoding="utf-8"?>
<p:tagLst xmlns:a="http://schemas.openxmlformats.org/drawingml/2006/main" xmlns:r="http://schemas.openxmlformats.org/officeDocument/2006/relationships" xmlns:p="http://schemas.openxmlformats.org/presentationml/2006/main">
  <p:tag name="SHAPENAME" val="Subtitle"/>
</p:tagLst>
</file>

<file path=ppt/tags/tag86.xml><?xml version="1.0" encoding="utf-8"?>
<p:tagLst xmlns:a="http://schemas.openxmlformats.org/drawingml/2006/main" xmlns:r="http://schemas.openxmlformats.org/officeDocument/2006/relationships" xmlns:p="http://schemas.openxmlformats.org/presentationml/2006/main">
  <p:tag name="SHAPENAME" val="Titl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aLOQ9cRPUeWsXvbYOPC6w"/>
</p:tagLst>
</file>

<file path=ppt/tags/tag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Aegon template 2020 NL">
  <a:themeElements>
    <a:clrScheme name="Aegon 2019">
      <a:dk1>
        <a:srgbClr val="000000"/>
      </a:dk1>
      <a:lt1>
        <a:srgbClr val="FFFFFF"/>
      </a:lt1>
      <a:dk2>
        <a:srgbClr val="003C64"/>
      </a:dk2>
      <a:lt2>
        <a:srgbClr val="3395D3"/>
      </a:lt2>
      <a:accent1>
        <a:srgbClr val="0069B4"/>
      </a:accent1>
      <a:accent2>
        <a:srgbClr val="764AA0"/>
      </a:accent2>
      <a:accent3>
        <a:srgbClr val="EE0000"/>
      </a:accent3>
      <a:accent4>
        <a:srgbClr val="F27D00"/>
      </a:accent4>
      <a:accent5>
        <a:srgbClr val="FDC828"/>
      </a:accent5>
      <a:accent6>
        <a:srgbClr val="2BAEA3"/>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Template 2020" id="{72779230-8938-455B-BE30-D1BCDB1316C1}" vid="{1197CCF0-51EF-4678-A974-3821FE24E6F1}"/>
    </a:ext>
  </a:extLst>
</a:theme>
</file>

<file path=ppt/theme/theme2.xml><?xml version="1.0" encoding="utf-8"?>
<a:theme xmlns:a="http://schemas.openxmlformats.org/drawingml/2006/main" name="Aegon template 2019">
  <a:themeElements>
    <a:clrScheme name="Aegon 2019">
      <a:dk1>
        <a:srgbClr val="000000"/>
      </a:dk1>
      <a:lt1>
        <a:srgbClr val="FFFFFF"/>
      </a:lt1>
      <a:dk2>
        <a:srgbClr val="003C64"/>
      </a:dk2>
      <a:lt2>
        <a:srgbClr val="3395D3"/>
      </a:lt2>
      <a:accent1>
        <a:srgbClr val="0069B4"/>
      </a:accent1>
      <a:accent2>
        <a:srgbClr val="764AA0"/>
      </a:accent2>
      <a:accent3>
        <a:srgbClr val="EE0000"/>
      </a:accent3>
      <a:accent4>
        <a:srgbClr val="F27D00"/>
      </a:accent4>
      <a:accent5>
        <a:srgbClr val="FDC828"/>
      </a:accent5>
      <a:accent6>
        <a:srgbClr val="2BAEA3"/>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20_v3" id="{29F477CA-AB8C-463D-9F5E-7CA4DE371A67}" vid="{DDCCE641-7288-47FA-B4F9-6C9E2575529B}"/>
    </a:ext>
  </a:extLst>
</a:theme>
</file>

<file path=ppt/theme/theme3.xml><?xml version="1.0" encoding="utf-8"?>
<a:theme xmlns:a="http://schemas.openxmlformats.org/drawingml/2006/main" name="1_Aegon template 2019">
  <a:themeElements>
    <a:clrScheme name="Aegon 2019">
      <a:dk1>
        <a:srgbClr val="000000"/>
      </a:dk1>
      <a:lt1>
        <a:srgbClr val="FFFFFF"/>
      </a:lt1>
      <a:dk2>
        <a:srgbClr val="003C64"/>
      </a:dk2>
      <a:lt2>
        <a:srgbClr val="3395D3"/>
      </a:lt2>
      <a:accent1>
        <a:srgbClr val="0069B4"/>
      </a:accent1>
      <a:accent2>
        <a:srgbClr val="764AA0"/>
      </a:accent2>
      <a:accent3>
        <a:srgbClr val="EE0000"/>
      </a:accent3>
      <a:accent4>
        <a:srgbClr val="F27D00"/>
      </a:accent4>
      <a:accent5>
        <a:srgbClr val="FDC828"/>
      </a:accent5>
      <a:accent6>
        <a:srgbClr val="2BAEA3"/>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20_v3" id="{29F477CA-AB8C-463D-9F5E-7CA4DE371A67}" vid="{DDCCE641-7288-47FA-B4F9-6C9E2575529B}"/>
    </a:ext>
  </a:extLst>
</a:theme>
</file>

<file path=ppt/theme/theme4.xml><?xml version="1.0" encoding="utf-8"?>
<a:theme xmlns:a="http://schemas.openxmlformats.org/drawingml/2006/main" name="Kames Theme">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AEGON_master_Widescreen_Corporate.potx" id="{BDF0D4F8-E407-4569-9AC9-B5C2EAB6E8A9}" vid="{32773DEA-138A-4E21-8D70-758B20F7A5CC}"/>
    </a:ext>
  </a:extLst>
</a:theme>
</file>

<file path=ppt/theme/theme5.xml><?xml version="1.0" encoding="utf-8"?>
<a:theme xmlns:a="http://schemas.openxmlformats.org/drawingml/2006/main" name="PPT Theme1 Aegon">
  <a:themeElements>
    <a:clrScheme name="Aegon Asset Management">
      <a:dk1>
        <a:srgbClr val="000000"/>
      </a:dk1>
      <a:lt1>
        <a:sysClr val="window" lastClr="FFFFFF"/>
      </a:lt1>
      <a:dk2>
        <a:srgbClr val="001F5B"/>
      </a:dk2>
      <a:lt2>
        <a:srgbClr val="FFFFFF"/>
      </a:lt2>
      <a:accent1>
        <a:srgbClr val="0069B4"/>
      </a:accent1>
      <a:accent2>
        <a:srgbClr val="FFB819"/>
      </a:accent2>
      <a:accent3>
        <a:srgbClr val="001F5B"/>
      </a:accent3>
      <a:accent4>
        <a:srgbClr val="C3002F"/>
      </a:accent4>
      <a:accent5>
        <a:srgbClr val="63A70A"/>
      </a:accent5>
      <a:accent6>
        <a:srgbClr val="D75F00"/>
      </a:accent6>
      <a:hlink>
        <a:srgbClr val="007BC8"/>
      </a:hlink>
      <a:folHlink>
        <a:srgbClr val="E84B3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chorCtr="0"/>
      <a:lstStyle>
        <a:defPPr>
          <a:defRPr sz="2000" dirty="0" smtClean="0">
            <a:solidFill>
              <a:schemeClr val="tx1"/>
            </a:solidFill>
          </a:defRPr>
        </a:defPPr>
      </a:lstStyle>
    </a:txDef>
  </a:objectDefaults>
  <a:extraClrSchemeLst/>
  <a:extLst>
    <a:ext uri="{05A4C25C-085E-4340-85A3-A5531E510DB2}">
      <thm15:themeFamily xmlns:thm15="http://schemas.microsoft.com/office/thememl/2012/main" name="PPT Theme1 Aegon" id="{43EF5401-5D43-44F3-9F64-056179008D20}" vid="{3340B473-65F1-4B62-BDC7-0A8BA5B047D6}"/>
    </a:ext>
  </a:extLst>
</a:theme>
</file>

<file path=ppt/theme/theme6.xml><?xml version="1.0" encoding="utf-8"?>
<a:theme xmlns:a="http://schemas.openxmlformats.org/drawingml/2006/main" name="2_Aegon template 2019">
  <a:themeElements>
    <a:clrScheme name="Aegon 2019">
      <a:dk1>
        <a:srgbClr val="000000"/>
      </a:dk1>
      <a:lt1>
        <a:srgbClr val="FFFFFF"/>
      </a:lt1>
      <a:dk2>
        <a:srgbClr val="003C64"/>
      </a:dk2>
      <a:lt2>
        <a:srgbClr val="3395D3"/>
      </a:lt2>
      <a:accent1>
        <a:srgbClr val="0069B4"/>
      </a:accent1>
      <a:accent2>
        <a:srgbClr val="764AA0"/>
      </a:accent2>
      <a:accent3>
        <a:srgbClr val="EE0000"/>
      </a:accent3>
      <a:accent4>
        <a:srgbClr val="F27D00"/>
      </a:accent4>
      <a:accent5>
        <a:srgbClr val="FDC828"/>
      </a:accent5>
      <a:accent6>
        <a:srgbClr val="2BAEA3"/>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2304CE3-721E-499A-AF7C-857D8C278AE7}" vid="{6F6B8743-627F-4BB5-A2BA-B64445E1464B}"/>
    </a:ext>
  </a:extLst>
</a:theme>
</file>

<file path=ppt/theme/theme7.xml><?xml version="1.0" encoding="utf-8"?>
<a:theme xmlns:a="http://schemas.openxmlformats.org/drawingml/2006/main" name="White">
  <a:themeElements>
    <a:clrScheme name="Scheme1">
      <a:dk1>
        <a:srgbClr val="000000"/>
      </a:dk1>
      <a:lt1>
        <a:srgbClr val="FFFFFF"/>
      </a:lt1>
      <a:dk2>
        <a:srgbClr val="003C64"/>
      </a:dk2>
      <a:lt2>
        <a:srgbClr val="3395D3"/>
      </a:lt2>
      <a:accent1>
        <a:srgbClr val="0069B4"/>
      </a:accent1>
      <a:accent2>
        <a:srgbClr val="764AA0"/>
      </a:accent2>
      <a:accent3>
        <a:srgbClr val="EE0000"/>
      </a:accent3>
      <a:accent4>
        <a:srgbClr val="F27D00"/>
      </a:accent4>
      <a:accent5>
        <a:srgbClr val="FDC828"/>
      </a:accent5>
      <a:accent6>
        <a:srgbClr val="2BAEA3"/>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003C64"/>
        </a:dk2>
        <a:lt2>
          <a:srgbClr val="3395D3"/>
        </a:lt2>
        <a:accent1>
          <a:srgbClr val="0069B4"/>
        </a:accent1>
        <a:accent2>
          <a:srgbClr val="764AA0"/>
        </a:accent2>
        <a:accent3>
          <a:srgbClr val="EE0000"/>
        </a:accent3>
        <a:accent4>
          <a:srgbClr val="F27D00"/>
        </a:accent4>
        <a:accent5>
          <a:srgbClr val="FDC828"/>
        </a:accent5>
        <a:accent6>
          <a:srgbClr val="2BAEA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AM6907 OFF v3.potx" id="{4009AE8D-C9A1-479E-BD18-C9E76740347E}" vid="{6A07909A-FDD7-47B7-B987-74D341240F1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7EF133F08835044AA6F2D66E441E542" ma:contentTypeVersion="4" ma:contentTypeDescription="Een nieuw document maken." ma:contentTypeScope="" ma:versionID="3f9efa691e3847dea881c3a70eea167f">
  <xsd:schema xmlns:xsd="http://www.w3.org/2001/XMLSchema" xmlns:xs="http://www.w3.org/2001/XMLSchema" xmlns:p="http://schemas.microsoft.com/office/2006/metadata/properties" xmlns:ns2="42d59c02-bef3-4bc2-8e5f-836ec907a1c5" targetNamespace="http://schemas.microsoft.com/office/2006/metadata/properties" ma:root="true" ma:fieldsID="d7b32215196a4b1ceea351903997cf19" ns2:_="">
    <xsd:import namespace="42d59c02-bef3-4bc2-8e5f-836ec907a1c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d59c02-bef3-4bc2-8e5f-836ec907a1c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863F078-999F-4605-98C4-5853474D15E6}">
  <ds:schemaRefs>
    <ds:schemaRef ds:uri="http://schemas.microsoft.com/sharepoint/v3/contenttype/forms"/>
  </ds:schemaRefs>
</ds:datastoreItem>
</file>

<file path=customXml/itemProps2.xml><?xml version="1.0" encoding="utf-8"?>
<ds:datastoreItem xmlns:ds="http://schemas.openxmlformats.org/officeDocument/2006/customXml" ds:itemID="{0D235422-DF25-4ED3-BF76-DD2021CCA0AA}">
  <ds:schemaRef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http://purl.org/dc/terms/"/>
    <ds:schemaRef ds:uri="42d59c02-bef3-4bc2-8e5f-836ec907a1c5"/>
    <ds:schemaRef ds:uri="http://www.w3.org/XML/1998/namespace"/>
    <ds:schemaRef ds:uri="http://purl.org/dc/dcmitype/"/>
  </ds:schemaRefs>
</ds:datastoreItem>
</file>

<file path=customXml/itemProps3.xml><?xml version="1.0" encoding="utf-8"?>
<ds:datastoreItem xmlns:ds="http://schemas.openxmlformats.org/officeDocument/2006/customXml" ds:itemID="{2DE04177-D979-4A92-B88C-9316953A3C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d59c02-bef3-4bc2-8e5f-836ec907a1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4272813</vt:lpwstr>
  </property>
  <property fmtid="{D5CDD505-2E9C-101B-9397-08002B2CF9AE}" pid="4" name="OptimizationTime">
    <vt:lpwstr>20220308_2055</vt:lpwstr>
  </property>
</Properties>
</file>

<file path=docProps/app.xml><?xml version="1.0" encoding="utf-8"?>
<Properties xmlns="http://schemas.openxmlformats.org/officeDocument/2006/extended-properties" xmlns:vt="http://schemas.openxmlformats.org/officeDocument/2006/docPropsVTypes">
  <Template>office theme</Template>
  <TotalTime>0</TotalTime>
  <Words>7048</Words>
  <Application>Microsoft Office PowerPoint</Application>
  <PresentationFormat>Widescreen</PresentationFormat>
  <Paragraphs>808</Paragraphs>
  <Slides>29</Slides>
  <Notes>14</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29</vt:i4>
      </vt:variant>
    </vt:vector>
  </HeadingPairs>
  <TitlesOfParts>
    <vt:vector size="48" baseType="lpstr">
      <vt:lpstr>Arial</vt:lpstr>
      <vt:lpstr>Arial-BoldMT</vt:lpstr>
      <vt:lpstr>ArialMT</vt:lpstr>
      <vt:lpstr>Calibri</vt:lpstr>
      <vt:lpstr>Calibri Light</vt:lpstr>
      <vt:lpstr>Corbel</vt:lpstr>
      <vt:lpstr>EYInterstate Light</vt:lpstr>
      <vt:lpstr>Georgia</vt:lpstr>
      <vt:lpstr>Segoe UI</vt:lpstr>
      <vt:lpstr>Verdana</vt:lpstr>
      <vt:lpstr>Wingdings</vt:lpstr>
      <vt:lpstr>Aegon template 2020 NL</vt:lpstr>
      <vt:lpstr>Aegon template 2019</vt:lpstr>
      <vt:lpstr>1_Aegon template 2019</vt:lpstr>
      <vt:lpstr>Kames Theme</vt:lpstr>
      <vt:lpstr>PPT Theme1 Aegon</vt:lpstr>
      <vt:lpstr>2_Aegon template 2019</vt:lpstr>
      <vt:lpstr>White</vt:lpstr>
      <vt:lpstr>think-cell Slide</vt:lpstr>
      <vt:lpstr>Building a new data strategy for Aegon Asset Management</vt:lpstr>
      <vt:lpstr>PowerPoint Presentation</vt:lpstr>
      <vt:lpstr>PowerPoint Presentation</vt:lpstr>
      <vt:lpstr>PowerPoint Presentation</vt:lpstr>
      <vt:lpstr>Data Strategy Summary</vt:lpstr>
      <vt:lpstr>PowerPoint Presentation</vt:lpstr>
      <vt:lpstr>PowerPoint Presentation</vt:lpstr>
      <vt:lpstr>PowerPoint Presentation</vt:lpstr>
      <vt:lpstr>Strategic Data Objec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Design Principles</vt:lpstr>
      <vt:lpstr>PowerPoint Presentation</vt:lpstr>
      <vt:lpstr>PowerPoint Presentation</vt:lpstr>
      <vt:lpstr>PowerPoint Presentation</vt:lpstr>
      <vt:lpstr>PowerPoint Presentation</vt:lpstr>
      <vt:lpstr>PowerPoint Presentation</vt:lpstr>
      <vt:lpstr>Key Use Cases</vt:lpstr>
      <vt:lpstr>PowerPoint Presentation</vt:lpstr>
      <vt:lpstr>PowerPoint Presentation</vt:lpstr>
      <vt:lpstr>PowerPoint Presentation</vt:lpstr>
      <vt:lpstr>PowerPoint Presentation</vt:lpstr>
      <vt:lpstr>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AM Data Strategy</dc:title>
  <dc:creator>Asli Aksekili;jennifer.allermann@nl.ey.com</dc:creator>
  <cp:lastModifiedBy>Jennifer Allermann</cp:lastModifiedBy>
  <cp:revision>2</cp:revision>
  <cp:lastPrinted>2022-01-21T09:26:17Z</cp:lastPrinted>
  <dcterms:created xsi:type="dcterms:W3CDTF">2021-12-13T14:09:22Z</dcterms:created>
  <dcterms:modified xsi:type="dcterms:W3CDTF">2022-03-08T19:5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EF133F08835044AA6F2D66E441E542</vt:lpwstr>
  </property>
</Properties>
</file>